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31.xml" ContentType="application/vnd.openxmlformats-officedocument.drawingml.chart+xml"/>
  <Override PartName="/ppt/theme/themeOverride31.xml" ContentType="application/vnd.openxmlformats-officedocument.themeOverride+xml"/>
  <Override PartName="/ppt/charts/chart32.xml" ContentType="application/vnd.openxmlformats-officedocument.drawingml.chart+xml"/>
  <Override PartName="/ppt/theme/themeOverride32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33.xml" ContentType="application/vnd.openxmlformats-officedocument.drawingml.chart+xml"/>
  <Override PartName="/ppt/theme/themeOverride33.xml" ContentType="application/vnd.openxmlformats-officedocument.themeOverride+xml"/>
  <Override PartName="/ppt/charts/chart34.xml" ContentType="application/vnd.openxmlformats-officedocument.drawingml.chart+xml"/>
  <Override PartName="/ppt/theme/themeOverride34.xml" ContentType="application/vnd.openxmlformats-officedocument.themeOverr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35.xml" ContentType="application/vnd.openxmlformats-officedocument.drawingml.chart+xml"/>
  <Override PartName="/ppt/theme/themeOverride35.xml" ContentType="application/vnd.openxmlformats-officedocument.themeOverride+xml"/>
  <Override PartName="/ppt/charts/chart36.xml" ContentType="application/vnd.openxmlformats-officedocument.drawingml.chart+xml"/>
  <Override PartName="/ppt/theme/themeOverride36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charts/chart37.xml" ContentType="application/vnd.openxmlformats-officedocument.drawingml.chart+xml"/>
  <Override PartName="/ppt/theme/themeOverride37.xml" ContentType="application/vnd.openxmlformats-officedocument.themeOverride+xml"/>
  <Override PartName="/ppt/charts/chart38.xml" ContentType="application/vnd.openxmlformats-officedocument.drawingml.chart+xml"/>
  <Override PartName="/ppt/theme/themeOverride38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39.xml" ContentType="application/vnd.openxmlformats-officedocument.drawingml.chart+xml"/>
  <Override PartName="/ppt/theme/themeOverride39.xml" ContentType="application/vnd.openxmlformats-officedocument.themeOverride+xml"/>
  <Override PartName="/ppt/charts/chart40.xml" ContentType="application/vnd.openxmlformats-officedocument.drawingml.chart+xml"/>
  <Override PartName="/ppt/theme/themeOverride40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charts/chart41.xml" ContentType="application/vnd.openxmlformats-officedocument.drawingml.chart+xml"/>
  <Override PartName="/ppt/theme/themeOverride41.xml" ContentType="application/vnd.openxmlformats-officedocument.themeOverride+xml"/>
  <Override PartName="/ppt/charts/chart42.xml" ContentType="application/vnd.openxmlformats-officedocument.drawingml.chart+xml"/>
  <Override PartName="/ppt/theme/themeOverride42.xml" ContentType="application/vnd.openxmlformats-officedocument.themeOverr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43.xml" ContentType="application/vnd.openxmlformats-officedocument.drawingml.chart+xml"/>
  <Override PartName="/ppt/theme/themeOverride43.xml" ContentType="application/vnd.openxmlformats-officedocument.themeOverride+xml"/>
  <Override PartName="/ppt/charts/chart44.xml" ContentType="application/vnd.openxmlformats-officedocument.drawingml.chart+xml"/>
  <Override PartName="/ppt/theme/themeOverride44.xml" ContentType="application/vnd.openxmlformats-officedocument.themeOverr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charts/chart45.xml" ContentType="application/vnd.openxmlformats-officedocument.drawingml.chart+xml"/>
  <Override PartName="/ppt/theme/themeOverride45.xml" ContentType="application/vnd.openxmlformats-officedocument.themeOverride+xml"/>
  <Override PartName="/ppt/charts/chart46.xml" ContentType="application/vnd.openxmlformats-officedocument.drawingml.chart+xml"/>
  <Override PartName="/ppt/theme/themeOverride46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87" r:id="rId4"/>
  </p:sldMasterIdLst>
  <p:notesMasterIdLst>
    <p:notesMasterId r:id="rId34"/>
  </p:notesMasterIdLst>
  <p:sldIdLst>
    <p:sldId id="4629" r:id="rId5"/>
    <p:sldId id="4630" r:id="rId6"/>
    <p:sldId id="4631" r:id="rId7"/>
    <p:sldId id="4632" r:id="rId8"/>
    <p:sldId id="4633" r:id="rId9"/>
    <p:sldId id="4634" r:id="rId10"/>
    <p:sldId id="4635" r:id="rId11"/>
    <p:sldId id="4636" r:id="rId12"/>
    <p:sldId id="4637" r:id="rId13"/>
    <p:sldId id="4638" r:id="rId14"/>
    <p:sldId id="4639" r:id="rId15"/>
    <p:sldId id="4640" r:id="rId16"/>
    <p:sldId id="4641" r:id="rId17"/>
    <p:sldId id="4642" r:id="rId18"/>
    <p:sldId id="4643" r:id="rId19"/>
    <p:sldId id="4644" r:id="rId20"/>
    <p:sldId id="4645" r:id="rId21"/>
    <p:sldId id="4646" r:id="rId22"/>
    <p:sldId id="4647" r:id="rId23"/>
    <p:sldId id="4648" r:id="rId24"/>
    <p:sldId id="4649" r:id="rId25"/>
    <p:sldId id="4650" r:id="rId26"/>
    <p:sldId id="4651" r:id="rId27"/>
    <p:sldId id="4652" r:id="rId28"/>
    <p:sldId id="1624" r:id="rId29"/>
    <p:sldId id="4470" r:id="rId30"/>
    <p:sldId id="4472" r:id="rId31"/>
    <p:sldId id="4518" r:id="rId32"/>
    <p:sldId id="4519" r:id="rId33"/>
  </p:sldIdLst>
  <p:sldSz cx="12192000" cy="6858000"/>
  <p:notesSz cx="6858000" cy="9144000"/>
  <p:custDataLst>
    <p:tags r:id="rId3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33CC"/>
    <a:srgbClr val="0000FF"/>
    <a:srgbClr val="00FF00"/>
    <a:srgbClr val="D31145"/>
    <a:srgbClr val="3333CC"/>
    <a:srgbClr val="FF9900"/>
    <a:srgbClr val="00B050"/>
    <a:srgbClr val="800000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4641" autoAdjust="0"/>
  </p:normalViewPr>
  <p:slideViewPr>
    <p:cSldViewPr snapToGrid="0">
      <p:cViewPr varScale="1">
        <p:scale>
          <a:sx n="98" d="100"/>
          <a:sy n="98" d="100"/>
        </p:scale>
        <p:origin x="660" y="102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0.xlsx"/><Relationship Id="rId1" Type="http://schemas.openxmlformats.org/officeDocument/2006/relationships/themeOverride" Target="../theme/themeOverride31.xml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1.xlsx"/><Relationship Id="rId1" Type="http://schemas.openxmlformats.org/officeDocument/2006/relationships/themeOverride" Target="../theme/themeOverride32.xml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2.xlsx"/><Relationship Id="rId1" Type="http://schemas.openxmlformats.org/officeDocument/2006/relationships/themeOverride" Target="../theme/themeOverride33.xml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3.xlsx"/><Relationship Id="rId1" Type="http://schemas.openxmlformats.org/officeDocument/2006/relationships/themeOverride" Target="../theme/themeOverride34.xml"/></Relationships>
</file>

<file path=ppt/charts/_rels/chart3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4.xlsx"/><Relationship Id="rId1" Type="http://schemas.openxmlformats.org/officeDocument/2006/relationships/themeOverride" Target="../theme/themeOverride35.xml"/></Relationships>
</file>

<file path=ppt/charts/_rels/chart3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5.xlsx"/><Relationship Id="rId1" Type="http://schemas.openxmlformats.org/officeDocument/2006/relationships/themeOverride" Target="../theme/themeOverride36.xml"/></Relationships>
</file>

<file path=ppt/charts/_rels/chart3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6.xlsx"/><Relationship Id="rId1" Type="http://schemas.openxmlformats.org/officeDocument/2006/relationships/themeOverride" Target="../theme/themeOverride37.xml"/></Relationships>
</file>

<file path=ppt/charts/_rels/chart3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7.xlsx"/><Relationship Id="rId1" Type="http://schemas.openxmlformats.org/officeDocument/2006/relationships/themeOverride" Target="../theme/themeOverride38.xml"/></Relationships>
</file>

<file path=ppt/charts/_rels/chart3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8.xlsx"/><Relationship Id="rId1" Type="http://schemas.openxmlformats.org/officeDocument/2006/relationships/themeOverride" Target="../theme/themeOverride39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4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9.xlsx"/><Relationship Id="rId1" Type="http://schemas.openxmlformats.org/officeDocument/2006/relationships/themeOverride" Target="../theme/themeOverride40.xml"/></Relationships>
</file>

<file path=ppt/charts/_rels/chart4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0.xlsx"/><Relationship Id="rId1" Type="http://schemas.openxmlformats.org/officeDocument/2006/relationships/themeOverride" Target="../theme/themeOverride41.xml"/></Relationships>
</file>

<file path=ppt/charts/_rels/chart4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1.xlsx"/><Relationship Id="rId1" Type="http://schemas.openxmlformats.org/officeDocument/2006/relationships/themeOverride" Target="../theme/themeOverride42.xml"/></Relationships>
</file>

<file path=ppt/charts/_rels/chart4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2.xlsx"/><Relationship Id="rId1" Type="http://schemas.openxmlformats.org/officeDocument/2006/relationships/themeOverride" Target="../theme/themeOverride43.xml"/></Relationships>
</file>

<file path=ppt/charts/_rels/chart4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3.xlsx"/><Relationship Id="rId1" Type="http://schemas.openxmlformats.org/officeDocument/2006/relationships/themeOverride" Target="../theme/themeOverride44.xml"/></Relationships>
</file>

<file path=ppt/charts/_rels/chart4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4.xlsx"/><Relationship Id="rId1" Type="http://schemas.openxmlformats.org/officeDocument/2006/relationships/themeOverride" Target="../theme/themeOverride45.xml"/></Relationships>
</file>

<file path=ppt/charts/_rels/chart4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5.xlsx"/><Relationship Id="rId1" Type="http://schemas.openxmlformats.org/officeDocument/2006/relationships/themeOverride" Target="../theme/themeOverride46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CR_testu_7dni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560.07520993943297</c:v>
                </c:pt>
                <c:pt idx="1">
                  <c:v>587.40711939708694</c:v>
                </c:pt>
                <c:pt idx="2">
                  <c:v>609.30067969085803</c:v>
                </c:pt>
                <c:pt idx="3">
                  <c:v>635.70750913609902</c:v>
                </c:pt>
                <c:pt idx="4">
                  <c:v>644.07060621801395</c:v>
                </c:pt>
                <c:pt idx="5">
                  <c:v>649.59305356484197</c:v>
                </c:pt>
                <c:pt idx="6">
                  <c:v>670.45874717815502</c:v>
                </c:pt>
                <c:pt idx="7">
                  <c:v>716.97438659018906</c:v>
                </c:pt>
                <c:pt idx="8">
                  <c:v>751.52005129615304</c:v>
                </c:pt>
                <c:pt idx="9">
                  <c:v>797.97962525288995</c:v>
                </c:pt>
                <c:pt idx="10">
                  <c:v>849.96164655645498</c:v>
                </c:pt>
                <c:pt idx="11">
                  <c:v>904.61612122921201</c:v>
                </c:pt>
                <c:pt idx="12">
                  <c:v>928.47197245840505</c:v>
                </c:pt>
                <c:pt idx="13">
                  <c:v>983.74316713943801</c:v>
                </c:pt>
                <c:pt idx="14">
                  <c:v>1024.3532452601</c:v>
                </c:pt>
                <c:pt idx="15">
                  <c:v>1071.8219974122001</c:v>
                </c:pt>
                <c:pt idx="16">
                  <c:v>1137.97923466355</c:v>
                </c:pt>
                <c:pt idx="17">
                  <c:v>1160.05967980831</c:v>
                </c:pt>
                <c:pt idx="18">
                  <c:v>1177.94456004829</c:v>
                </c:pt>
                <c:pt idx="19">
                  <c:v>1210.37842593804</c:v>
                </c:pt>
                <c:pt idx="20">
                  <c:v>1228.0483885993799</c:v>
                </c:pt>
                <c:pt idx="21">
                  <c:v>1246.1668749031101</c:v>
                </c:pt>
                <c:pt idx="22">
                  <c:v>1263.52847756031</c:v>
                </c:pt>
                <c:pt idx="23">
                  <c:v>1259.51045326397</c:v>
                </c:pt>
                <c:pt idx="24">
                  <c:v>1274.0127177009899</c:v>
                </c:pt>
                <c:pt idx="25">
                  <c:v>1275.4797637812801</c:v>
                </c:pt>
                <c:pt idx="26">
                  <c:v>1274.6107492241699</c:v>
                </c:pt>
                <c:pt idx="27">
                  <c:v>1207.40695680726</c:v>
                </c:pt>
                <c:pt idx="28">
                  <c:v>1169.3011356898901</c:v>
                </c:pt>
                <c:pt idx="29">
                  <c:v>1156.65837552025</c:v>
                </c:pt>
                <c:pt idx="30">
                  <c:v>1163.7413113728601</c:v>
                </c:pt>
                <c:pt idx="31">
                  <c:v>1168.47884234552</c:v>
                </c:pt>
                <c:pt idx="32">
                  <c:v>1166.7314689887401</c:v>
                </c:pt>
                <c:pt idx="33">
                  <c:v>1141.5767680451499</c:v>
                </c:pt>
                <c:pt idx="34">
                  <c:v>1193.43731419557</c:v>
                </c:pt>
                <c:pt idx="35">
                  <c:v>1237.6449256978501</c:v>
                </c:pt>
                <c:pt idx="36">
                  <c:v>1265.2945394021899</c:v>
                </c:pt>
                <c:pt idx="37">
                  <c:v>1276.0591068193601</c:v>
                </c:pt>
                <c:pt idx="38">
                  <c:v>1314.4078782430199</c:v>
                </c:pt>
                <c:pt idx="39">
                  <c:v>1341.7210992155699</c:v>
                </c:pt>
                <c:pt idx="40">
                  <c:v>1376.5564354405799</c:v>
                </c:pt>
                <c:pt idx="41">
                  <c:v>1416.54979355297</c:v>
                </c:pt>
                <c:pt idx="42">
                  <c:v>1496.7701158415</c:v>
                </c:pt>
                <c:pt idx="43">
                  <c:v>1597.7626893178499</c:v>
                </c:pt>
                <c:pt idx="44">
                  <c:v>1688.71020205335</c:v>
                </c:pt>
                <c:pt idx="45">
                  <c:v>1791.3099852482401</c:v>
                </c:pt>
                <c:pt idx="46">
                  <c:v>1895.5450108893101</c:v>
                </c:pt>
                <c:pt idx="47">
                  <c:v>1949.1435861539601</c:v>
                </c:pt>
                <c:pt idx="48">
                  <c:v>2034.3350454788899</c:v>
                </c:pt>
                <c:pt idx="49">
                  <c:v>2118.05945872353</c:v>
                </c:pt>
                <c:pt idx="50">
                  <c:v>2215.1087618439401</c:v>
                </c:pt>
                <c:pt idx="51">
                  <c:v>2323.6795160280299</c:v>
                </c:pt>
                <c:pt idx="52">
                  <c:v>2384.6880756345399</c:v>
                </c:pt>
                <c:pt idx="53">
                  <c:v>2477.3175520289701</c:v>
                </c:pt>
                <c:pt idx="54">
                  <c:v>2517.9930398474899</c:v>
                </c:pt>
                <c:pt idx="55">
                  <c:v>2559.4067228274298</c:v>
                </c:pt>
                <c:pt idx="56">
                  <c:v>2623.8819964198401</c:v>
                </c:pt>
                <c:pt idx="57">
                  <c:v>2576.0207860806599</c:v>
                </c:pt>
                <c:pt idx="58">
                  <c:v>2540.0641407497001</c:v>
                </c:pt>
                <c:pt idx="59">
                  <c:v>2554.73460155262</c:v>
                </c:pt>
                <c:pt idx="60">
                  <c:v>2527.6736751289</c:v>
                </c:pt>
                <c:pt idx="61">
                  <c:v>2518.7966447067602</c:v>
                </c:pt>
                <c:pt idx="62">
                  <c:v>2491.98801283188</c:v>
                </c:pt>
                <c:pt idx="63">
                  <c:v>2453.0131771574002</c:v>
                </c:pt>
                <c:pt idx="64">
                  <c:v>2503.1076614659401</c:v>
                </c:pt>
                <c:pt idx="65">
                  <c:v>2509.2374845784898</c:v>
                </c:pt>
                <c:pt idx="66">
                  <c:v>2448.5279407335802</c:v>
                </c:pt>
                <c:pt idx="67">
                  <c:v>2354.5902703821898</c:v>
                </c:pt>
                <c:pt idx="68">
                  <c:v>2289.9654889089902</c:v>
                </c:pt>
                <c:pt idx="69">
                  <c:v>2268.8381565042801</c:v>
                </c:pt>
                <c:pt idx="70">
                  <c:v>2212.2774563513999</c:v>
                </c:pt>
                <c:pt idx="71">
                  <c:v>2095.0445893238102</c:v>
                </c:pt>
                <c:pt idx="72">
                  <c:v>1982.3623684178799</c:v>
                </c:pt>
                <c:pt idx="73">
                  <c:v>1898.00254667986</c:v>
                </c:pt>
                <c:pt idx="74">
                  <c:v>1804.0929090561301</c:v>
                </c:pt>
                <c:pt idx="75">
                  <c:v>1760.1189036175899</c:v>
                </c:pt>
                <c:pt idx="76">
                  <c:v>1719.00423639924</c:v>
                </c:pt>
                <c:pt idx="77">
                  <c:v>1535.07216605242</c:v>
                </c:pt>
                <c:pt idx="78">
                  <c:v>1456.52446318027</c:v>
                </c:pt>
                <c:pt idx="79">
                  <c:v>1414.75569898344</c:v>
                </c:pt>
                <c:pt idx="80">
                  <c:v>1363.89498678583</c:v>
                </c:pt>
                <c:pt idx="81">
                  <c:v>1348.86010052349</c:v>
                </c:pt>
                <c:pt idx="82">
                  <c:v>1332.1245621171099</c:v>
                </c:pt>
                <c:pt idx="83">
                  <c:v>1309.63297030016</c:v>
                </c:pt>
                <c:pt idx="84">
                  <c:v>1375.42578209207</c:v>
                </c:pt>
                <c:pt idx="85">
                  <c:v>1357.83991761368</c:v>
                </c:pt>
                <c:pt idx="86">
                  <c:v>1300.37282593348</c:v>
                </c:pt>
                <c:pt idx="87">
                  <c:v>1277.39533350395</c:v>
                </c:pt>
                <c:pt idx="88">
                  <c:v>1256.2586568567001</c:v>
                </c:pt>
                <c:pt idx="89">
                  <c:v>1248.97014766799</c:v>
                </c:pt>
                <c:pt idx="90">
                  <c:v>1235.94427355382</c:v>
                </c:pt>
                <c:pt idx="91">
                  <c:v>1222.42315458451</c:v>
                </c:pt>
                <c:pt idx="92">
                  <c:v>1222.6193836780501</c:v>
                </c:pt>
                <c:pt idx="93">
                  <c:v>1224.22659339659</c:v>
                </c:pt>
                <c:pt idx="94">
                  <c:v>1218.4518515009199</c:v>
                </c:pt>
                <c:pt idx="95">
                  <c:v>1224.63774006877</c:v>
                </c:pt>
                <c:pt idx="96">
                  <c:v>1226.92707949343</c:v>
                </c:pt>
                <c:pt idx="97">
                  <c:v>1232.9728044230401</c:v>
                </c:pt>
                <c:pt idx="98">
                  <c:v>1261.1083187399599</c:v>
                </c:pt>
                <c:pt idx="99">
                  <c:v>1285.3753166413301</c:v>
                </c:pt>
                <c:pt idx="100">
                  <c:v>1330.64817179427</c:v>
                </c:pt>
                <c:pt idx="101">
                  <c:v>1383.7982234165399</c:v>
                </c:pt>
                <c:pt idx="102">
                  <c:v>1412.79340804802</c:v>
                </c:pt>
                <c:pt idx="103">
                  <c:v>1434.1076253037199</c:v>
                </c:pt>
                <c:pt idx="104">
                  <c:v>1466.4854257381701</c:v>
                </c:pt>
                <c:pt idx="105">
                  <c:v>1522.3639961849301</c:v>
                </c:pt>
                <c:pt idx="106">
                  <c:v>1589.86680436342</c:v>
                </c:pt>
                <c:pt idx="107">
                  <c:v>1643.4280026578699</c:v>
                </c:pt>
                <c:pt idx="108">
                  <c:v>1695.31658153594</c:v>
                </c:pt>
                <c:pt idx="109">
                  <c:v>1744.4486088618701</c:v>
                </c:pt>
                <c:pt idx="110">
                  <c:v>1768.9865897971799</c:v>
                </c:pt>
                <c:pt idx="111">
                  <c:v>1798.4957077689</c:v>
                </c:pt>
                <c:pt idx="112">
                  <c:v>1836.93792161806</c:v>
                </c:pt>
                <c:pt idx="113">
                  <c:v>1924.5495397633399</c:v>
                </c:pt>
                <c:pt idx="114">
                  <c:v>1732.1515856665601</c:v>
                </c:pt>
                <c:pt idx="115">
                  <c:v>1487.3417751089301</c:v>
                </c:pt>
                <c:pt idx="116">
                  <c:v>1369.3239917071701</c:v>
                </c:pt>
                <c:pt idx="117">
                  <c:v>1358.8677842941399</c:v>
                </c:pt>
                <c:pt idx="118">
                  <c:v>1346.4025647329399</c:v>
                </c:pt>
                <c:pt idx="119">
                  <c:v>1344.4028968273201</c:v>
                </c:pt>
                <c:pt idx="120">
                  <c:v>1284.3474499608801</c:v>
                </c:pt>
                <c:pt idx="121">
                  <c:v>1445.0123563591301</c:v>
                </c:pt>
                <c:pt idx="122">
                  <c:v>1433.4815610528899</c:v>
                </c:pt>
                <c:pt idx="123">
                  <c:v>1477.71720528282</c:v>
                </c:pt>
                <c:pt idx="124">
                  <c:v>1522.9339949804501</c:v>
                </c:pt>
                <c:pt idx="125">
                  <c:v>1588.1381194917401</c:v>
                </c:pt>
                <c:pt idx="126">
                  <c:v>1662.3594380634099</c:v>
                </c:pt>
                <c:pt idx="127">
                  <c:v>1696.0921536675601</c:v>
                </c:pt>
                <c:pt idx="128">
                  <c:v>1799.50488596426</c:v>
                </c:pt>
                <c:pt idx="129">
                  <c:v>2100.1839227260998</c:v>
                </c:pt>
                <c:pt idx="130">
                  <c:v>2171.5272145924901</c:v>
                </c:pt>
                <c:pt idx="131">
                  <c:v>2143.4571099734098</c:v>
                </c:pt>
                <c:pt idx="132">
                  <c:v>2132.5243461903501</c:v>
                </c:pt>
                <c:pt idx="133">
                  <c:v>2060.98482523042</c:v>
                </c:pt>
                <c:pt idx="134">
                  <c:v>1998.6026619691199</c:v>
                </c:pt>
                <c:pt idx="135">
                  <c:v>1917.6067675489701</c:v>
                </c:pt>
                <c:pt idx="136">
                  <c:v>1846.9175726610599</c:v>
                </c:pt>
                <c:pt idx="137">
                  <c:v>1812.40928492529</c:v>
                </c:pt>
                <c:pt idx="138">
                  <c:v>1779.8913208526001</c:v>
                </c:pt>
                <c:pt idx="139">
                  <c:v>1740.6922233569201</c:v>
                </c:pt>
                <c:pt idx="140">
                  <c:v>1698.0637888455301</c:v>
                </c:pt>
                <c:pt idx="141">
                  <c:v>1664.1722211180399</c:v>
                </c:pt>
                <c:pt idx="142">
                  <c:v>1615.9465853194199</c:v>
                </c:pt>
                <c:pt idx="143">
                  <c:v>1608.48987976482</c:v>
                </c:pt>
                <c:pt idx="144">
                  <c:v>1578.0930587508899</c:v>
                </c:pt>
                <c:pt idx="145">
                  <c:v>1569.2627495414999</c:v>
                </c:pt>
                <c:pt idx="146">
                  <c:v>1545.4909964952501</c:v>
                </c:pt>
                <c:pt idx="147">
                  <c:v>1523.5413707461801</c:v>
                </c:pt>
                <c:pt idx="148">
                  <c:v>1539.8096970250799</c:v>
                </c:pt>
                <c:pt idx="149">
                  <c:v>1546.1170607460699</c:v>
                </c:pt>
                <c:pt idx="150">
                  <c:v>1554.88196025762</c:v>
                </c:pt>
                <c:pt idx="151">
                  <c:v>1557.61982332466</c:v>
                </c:pt>
                <c:pt idx="152">
                  <c:v>1555.2463857170601</c:v>
                </c:pt>
                <c:pt idx="153">
                  <c:v>1557.46097120132</c:v>
                </c:pt>
                <c:pt idx="154">
                  <c:v>1562.56292763342</c:v>
                </c:pt>
                <c:pt idx="155">
                  <c:v>1574.7945411308699</c:v>
                </c:pt>
                <c:pt idx="156">
                  <c:v>1592.8102407665499</c:v>
                </c:pt>
                <c:pt idx="157">
                  <c:v>1591.51139105215</c:v>
                </c:pt>
                <c:pt idx="158">
                  <c:v>1595.90318505048</c:v>
                </c:pt>
                <c:pt idx="159">
                  <c:v>1597.5944929519601</c:v>
                </c:pt>
                <c:pt idx="160">
                  <c:v>1579.83108786512</c:v>
                </c:pt>
                <c:pt idx="161">
                  <c:v>1592.73548682615</c:v>
                </c:pt>
                <c:pt idx="162">
                  <c:v>1575.28044174345</c:v>
                </c:pt>
                <c:pt idx="163">
                  <c:v>1579.9151860480699</c:v>
                </c:pt>
                <c:pt idx="164">
                  <c:v>1578.6724017889701</c:v>
                </c:pt>
                <c:pt idx="165">
                  <c:v>1593.2400759238301</c:v>
                </c:pt>
                <c:pt idx="166">
                  <c:v>1598.57563841967</c:v>
                </c:pt>
                <c:pt idx="167">
                  <c:v>1631.5327818922001</c:v>
                </c:pt>
                <c:pt idx="168">
                  <c:v>1661.1073095617601</c:v>
                </c:pt>
                <c:pt idx="169">
                  <c:v>1687.80381052604</c:v>
                </c:pt>
                <c:pt idx="170">
                  <c:v>1742.3274658031</c:v>
                </c:pt>
                <c:pt idx="171">
                  <c:v>1802.5604532779901</c:v>
                </c:pt>
                <c:pt idx="172">
                  <c:v>1824.5194232696099</c:v>
                </c:pt>
                <c:pt idx="173">
                  <c:v>1835.6016949334601</c:v>
                </c:pt>
                <c:pt idx="174">
                  <c:v>1880.18307613772</c:v>
                </c:pt>
                <c:pt idx="175">
                  <c:v>1939.7245896639399</c:v>
                </c:pt>
                <c:pt idx="176">
                  <c:v>2008.8065748333099</c:v>
                </c:pt>
                <c:pt idx="177">
                  <c:v>2061.9846591832302</c:v>
                </c:pt>
                <c:pt idx="178">
                  <c:v>2102.8470318527402</c:v>
                </c:pt>
                <c:pt idx="179">
                  <c:v>2142.6161281439499</c:v>
                </c:pt>
                <c:pt idx="180">
                  <c:v>2162.5193647746501</c:v>
                </c:pt>
                <c:pt idx="181">
                  <c:v>2173.89130795754</c:v>
                </c:pt>
                <c:pt idx="182">
                  <c:v>2208.12861265937</c:v>
                </c:pt>
                <c:pt idx="183">
                  <c:v>2217.2766261154502</c:v>
                </c:pt>
                <c:pt idx="184">
                  <c:v>2218.1082637023701</c:v>
                </c:pt>
                <c:pt idx="185">
                  <c:v>2226.6302129076298</c:v>
                </c:pt>
                <c:pt idx="186">
                  <c:v>2216.7440042901198</c:v>
                </c:pt>
                <c:pt idx="187">
                  <c:v>2211.0627048199499</c:v>
                </c:pt>
                <c:pt idx="188">
                  <c:v>2189.4307833175699</c:v>
                </c:pt>
                <c:pt idx="189">
                  <c:v>2147.45644578465</c:v>
                </c:pt>
                <c:pt idx="190">
                  <c:v>2145.8212033384698</c:v>
                </c:pt>
                <c:pt idx="191">
                  <c:v>2103.0526051888301</c:v>
                </c:pt>
                <c:pt idx="192">
                  <c:v>2074.6741405656198</c:v>
                </c:pt>
                <c:pt idx="193">
                  <c:v>2035.70864913369</c:v>
                </c:pt>
                <c:pt idx="194">
                  <c:v>2009.43263908414</c:v>
                </c:pt>
                <c:pt idx="195">
                  <c:v>2015.6932815923899</c:v>
                </c:pt>
                <c:pt idx="196">
                  <c:v>1990.24890912976</c:v>
                </c:pt>
                <c:pt idx="197">
                  <c:v>1928.18445011515</c:v>
                </c:pt>
                <c:pt idx="198">
                  <c:v>1886.76142289266</c:v>
                </c:pt>
                <c:pt idx="199">
                  <c:v>1815.11911526468</c:v>
                </c:pt>
                <c:pt idx="200">
                  <c:v>1808.2884739609101</c:v>
                </c:pt>
                <c:pt idx="201">
                  <c:v>1805.1674969493299</c:v>
                </c:pt>
                <c:pt idx="202">
                  <c:v>1768.91183585679</c:v>
                </c:pt>
                <c:pt idx="203">
                  <c:v>1733.1981408321201</c:v>
                </c:pt>
                <c:pt idx="204">
                  <c:v>1675.95531097312</c:v>
                </c:pt>
                <c:pt idx="205">
                  <c:v>1646.81061846084</c:v>
                </c:pt>
                <c:pt idx="206">
                  <c:v>1600.1921923807599</c:v>
                </c:pt>
                <c:pt idx="207">
                  <c:v>1558.32064151589</c:v>
                </c:pt>
                <c:pt idx="208">
                  <c:v>1542.9587067642999</c:v>
                </c:pt>
                <c:pt idx="209">
                  <c:v>1518.69170886292</c:v>
                </c:pt>
                <c:pt idx="210">
                  <c:v>1475.9885204111399</c:v>
                </c:pt>
                <c:pt idx="211">
                  <c:v>1455.33774437647</c:v>
                </c:pt>
                <c:pt idx="212">
                  <c:v>1428.2861621953</c:v>
                </c:pt>
                <c:pt idx="213">
                  <c:v>1311.6980479036299</c:v>
                </c:pt>
                <c:pt idx="214">
                  <c:v>1271.97567282517</c:v>
                </c:pt>
                <c:pt idx="215">
                  <c:v>1279.32959171173</c:v>
                </c:pt>
                <c:pt idx="216">
                  <c:v>1098.0232535213499</c:v>
                </c:pt>
                <c:pt idx="217">
                  <c:v>1067.26200704798</c:v>
                </c:pt>
                <c:pt idx="218">
                  <c:v>1083.9788569692601</c:v>
                </c:pt>
                <c:pt idx="219">
                  <c:v>1060.66497180795</c:v>
                </c:pt>
                <c:pt idx="220">
                  <c:v>1136.35333645991</c:v>
                </c:pt>
                <c:pt idx="221">
                  <c:v>1162.02197074373</c:v>
                </c:pt>
                <c:pt idx="222">
                  <c:v>1150.5285524076901</c:v>
                </c:pt>
                <c:pt idx="223">
                  <c:v>1280.5723759708301</c:v>
                </c:pt>
                <c:pt idx="224">
                  <c:v>1267.4156824609499</c:v>
                </c:pt>
                <c:pt idx="225">
                  <c:v>1204.08975070214</c:v>
                </c:pt>
                <c:pt idx="226">
                  <c:v>1158.6954203960699</c:v>
                </c:pt>
                <c:pt idx="227">
                  <c:v>1125.6261460129399</c:v>
                </c:pt>
                <c:pt idx="228">
                  <c:v>1112.8805991752499</c:v>
                </c:pt>
                <c:pt idx="229">
                  <c:v>1115.8987895187799</c:v>
                </c:pt>
                <c:pt idx="230">
                  <c:v>1116.7397713482501</c:v>
                </c:pt>
                <c:pt idx="231">
                  <c:v>1098.36899049569</c:v>
                </c:pt>
                <c:pt idx="232">
                  <c:v>1081.5773866340101</c:v>
                </c:pt>
                <c:pt idx="233">
                  <c:v>1087.8940945975601</c:v>
                </c:pt>
                <c:pt idx="234">
                  <c:v>1078.8862447797201</c:v>
                </c:pt>
                <c:pt idx="235">
                  <c:v>1073.87773077312</c:v>
                </c:pt>
                <c:pt idx="236">
                  <c:v>1066.53315612911</c:v>
                </c:pt>
                <c:pt idx="237">
                  <c:v>1061.1975936332799</c:v>
                </c:pt>
                <c:pt idx="238">
                  <c:v>1040.52812911351</c:v>
                </c:pt>
                <c:pt idx="239">
                  <c:v>1045.4432006946099</c:v>
                </c:pt>
                <c:pt idx="240">
                  <c:v>1052.40466139408</c:v>
                </c:pt>
                <c:pt idx="241">
                  <c:v>1063.1038191134</c:v>
                </c:pt>
                <c:pt idx="242">
                  <c:v>1073.42920713074</c:v>
                </c:pt>
                <c:pt idx="243">
                  <c:v>1076.9613308144901</c:v>
                </c:pt>
                <c:pt idx="244">
                  <c:v>1064.4213573129</c:v>
                </c:pt>
                <c:pt idx="245">
                  <c:v>1061.3097245438701</c:v>
                </c:pt>
                <c:pt idx="246">
                  <c:v>1032.6883096143699</c:v>
                </c:pt>
                <c:pt idx="247">
                  <c:v>1004.80508984629</c:v>
                </c:pt>
                <c:pt idx="248">
                  <c:v>991.85396967251302</c:v>
                </c:pt>
                <c:pt idx="249">
                  <c:v>1008.76704868733</c:v>
                </c:pt>
                <c:pt idx="250">
                  <c:v>1009.71081718484</c:v>
                </c:pt>
                <c:pt idx="251">
                  <c:v>1033.3891278055901</c:v>
                </c:pt>
                <c:pt idx="252">
                  <c:v>1011.8880256989</c:v>
                </c:pt>
                <c:pt idx="253">
                  <c:v>998.67526673373902</c:v>
                </c:pt>
                <c:pt idx="254">
                  <c:v>983.68710168413998</c:v>
                </c:pt>
                <c:pt idx="255">
                  <c:v>978.13662160966305</c:v>
                </c:pt>
                <c:pt idx="256">
                  <c:v>1005.5152522800601</c:v>
                </c:pt>
                <c:pt idx="257">
                  <c:v>1017.0834245564999</c:v>
                </c:pt>
                <c:pt idx="258">
                  <c:v>1150.3790445269001</c:v>
                </c:pt>
                <c:pt idx="259">
                  <c:v>1217.90988543304</c:v>
                </c:pt>
                <c:pt idx="260">
                  <c:v>1311.5298515377301</c:v>
                </c:pt>
                <c:pt idx="261">
                  <c:v>1358.47532610705</c:v>
                </c:pt>
                <c:pt idx="262">
                  <c:v>1454.6462704277899</c:v>
                </c:pt>
                <c:pt idx="263">
                  <c:v>1406.39260190153</c:v>
                </c:pt>
                <c:pt idx="264">
                  <c:v>1381.57429368973</c:v>
                </c:pt>
                <c:pt idx="265">
                  <c:v>1323.6493341246</c:v>
                </c:pt>
                <c:pt idx="266">
                  <c:v>1292.7198912853401</c:v>
                </c:pt>
                <c:pt idx="267">
                  <c:v>1260.23930418284</c:v>
                </c:pt>
                <c:pt idx="268">
                  <c:v>1241.33590150495</c:v>
                </c:pt>
                <c:pt idx="269">
                  <c:v>1188.02699775934</c:v>
                </c:pt>
                <c:pt idx="270">
                  <c:v>1179.29013097544</c:v>
                </c:pt>
                <c:pt idx="271">
                  <c:v>1179.6545564348701</c:v>
                </c:pt>
                <c:pt idx="272">
                  <c:v>1161.72295498214</c:v>
                </c:pt>
                <c:pt idx="273">
                  <c:v>1202.54795068146</c:v>
                </c:pt>
                <c:pt idx="274">
                  <c:v>1244.2139282102401</c:v>
                </c:pt>
                <c:pt idx="275">
                  <c:v>1327.09735962541</c:v>
                </c:pt>
                <c:pt idx="276">
                  <c:v>1370.62284142156</c:v>
                </c:pt>
                <c:pt idx="277">
                  <c:v>1399.5245836275601</c:v>
                </c:pt>
                <c:pt idx="278">
                  <c:v>1412.8775062309701</c:v>
                </c:pt>
                <c:pt idx="279">
                  <c:v>1445.38612606112</c:v>
                </c:pt>
                <c:pt idx="280">
                  <c:v>1424.97830033273</c:v>
                </c:pt>
                <c:pt idx="281">
                  <c:v>1464.29887298156</c:v>
                </c:pt>
                <c:pt idx="282">
                  <c:v>1414.5594698898999</c:v>
                </c:pt>
                <c:pt idx="283">
                  <c:v>1428.14599855706</c:v>
                </c:pt>
                <c:pt idx="284">
                  <c:v>1430.6969767731</c:v>
                </c:pt>
                <c:pt idx="285">
                  <c:v>1436.5090956389699</c:v>
                </c:pt>
                <c:pt idx="286">
                  <c:v>1454.5341395171999</c:v>
                </c:pt>
                <c:pt idx="287">
                  <c:v>1493.63045034483</c:v>
                </c:pt>
                <c:pt idx="288">
                  <c:v>1497.1812625136899</c:v>
                </c:pt>
                <c:pt idx="289">
                  <c:v>1573.06585625919</c:v>
                </c:pt>
                <c:pt idx="290">
                  <c:v>1659.3132149922301</c:v>
                </c:pt>
                <c:pt idx="291">
                  <c:v>1670.51696180923</c:v>
                </c:pt>
                <c:pt idx="292">
                  <c:v>1674.41351095243</c:v>
                </c:pt>
                <c:pt idx="293">
                  <c:v>1648.2309433283799</c:v>
                </c:pt>
                <c:pt idx="294">
                  <c:v>1624.70214058842</c:v>
                </c:pt>
                <c:pt idx="295">
                  <c:v>1562.2919445994801</c:v>
                </c:pt>
                <c:pt idx="296">
                  <c:v>1569.5617653030799</c:v>
                </c:pt>
                <c:pt idx="297">
                  <c:v>1483.5106356635899</c:v>
                </c:pt>
                <c:pt idx="298">
                  <c:v>1580.5319060563399</c:v>
                </c:pt>
                <c:pt idx="299">
                  <c:v>1587.0635315985301</c:v>
                </c:pt>
                <c:pt idx="300">
                  <c:v>1601.1826820910201</c:v>
                </c:pt>
                <c:pt idx="301">
                  <c:v>1777.71411233853</c:v>
                </c:pt>
                <c:pt idx="302">
                  <c:v>1917.86840634036</c:v>
                </c:pt>
                <c:pt idx="303">
                  <c:v>2096.2967178254598</c:v>
                </c:pt>
                <c:pt idx="304">
                  <c:v>2298.5715362971901</c:v>
                </c:pt>
                <c:pt idx="305">
                  <c:v>2428.87699865171</c:v>
                </c:pt>
                <c:pt idx="306">
                  <c:v>2476.8970611142399</c:v>
                </c:pt>
                <c:pt idx="307">
                  <c:v>2291.94646832951</c:v>
                </c:pt>
                <c:pt idx="308">
                  <c:v>1970.0746894651199</c:v>
                </c:pt>
                <c:pt idx="309">
                  <c:v>1825.0894220651301</c:v>
                </c:pt>
                <c:pt idx="310">
                  <c:v>1664.1254999052901</c:v>
                </c:pt>
                <c:pt idx="311">
                  <c:v>1551.26573839092</c:v>
                </c:pt>
                <c:pt idx="312">
                  <c:v>1438.0976168724101</c:v>
                </c:pt>
                <c:pt idx="313">
                  <c:v>1451.5252934162199</c:v>
                </c:pt>
                <c:pt idx="314">
                  <c:v>1616.5633053276999</c:v>
                </c:pt>
                <c:pt idx="315">
                  <c:v>1814.66124737975</c:v>
                </c:pt>
                <c:pt idx="316">
                  <c:v>1866.7460553513599</c:v>
                </c:pt>
                <c:pt idx="317">
                  <c:v>1919.6998778800901</c:v>
                </c:pt>
                <c:pt idx="318">
                  <c:v>2004.6857638689301</c:v>
                </c:pt>
                <c:pt idx="319">
                  <c:v>2066.7595671260901</c:v>
                </c:pt>
                <c:pt idx="320">
                  <c:v>2064.7598992204698</c:v>
                </c:pt>
                <c:pt idx="321">
                  <c:v>2066.6380919729399</c:v>
                </c:pt>
                <c:pt idx="322">
                  <c:v>2064.55432588438</c:v>
                </c:pt>
                <c:pt idx="323">
                  <c:v>2066.4979283347002</c:v>
                </c:pt>
                <c:pt idx="324">
                  <c:v>2074.7395502634699</c:v>
                </c:pt>
                <c:pt idx="325">
                  <c:v>2077.5615115134601</c:v>
                </c:pt>
                <c:pt idx="326">
                  <c:v>2063.69465556981</c:v>
                </c:pt>
                <c:pt idx="327">
                  <c:v>2077.3372496922698</c:v>
                </c:pt>
                <c:pt idx="328">
                  <c:v>2090.8209916913702</c:v>
                </c:pt>
                <c:pt idx="329">
                  <c:v>2135.0379474361998</c:v>
                </c:pt>
                <c:pt idx="330">
                  <c:v>2168.2567297001201</c:v>
                </c:pt>
                <c:pt idx="331">
                  <c:v>2181.8152256396202</c:v>
                </c:pt>
                <c:pt idx="332">
                  <c:v>2222.82710618993</c:v>
                </c:pt>
                <c:pt idx="333">
                  <c:v>2283.6020597326901</c:v>
                </c:pt>
                <c:pt idx="334">
                  <c:v>2280.5932136317101</c:v>
                </c:pt>
                <c:pt idx="335">
                  <c:v>2301.4308745173798</c:v>
                </c:pt>
                <c:pt idx="336">
                  <c:v>2342.2558702166898</c:v>
                </c:pt>
                <c:pt idx="337">
                  <c:v>2325.7352493889498</c:v>
                </c:pt>
                <c:pt idx="338">
                  <c:v>2333.95818283262</c:v>
                </c:pt>
                <c:pt idx="339">
                  <c:v>2350.9366715452902</c:v>
                </c:pt>
                <c:pt idx="340">
                  <c:v>2362.4674668515299</c:v>
                </c:pt>
                <c:pt idx="341">
                  <c:v>2403.2177086104398</c:v>
                </c:pt>
                <c:pt idx="342">
                  <c:v>2400.3023049349599</c:v>
                </c:pt>
                <c:pt idx="343">
                  <c:v>2387.10823445489</c:v>
                </c:pt>
                <c:pt idx="344">
                  <c:v>2401.7319740450498</c:v>
                </c:pt>
                <c:pt idx="345">
                  <c:v>2388.7901981138202</c:v>
                </c:pt>
                <c:pt idx="346">
                  <c:v>2394.95739819657</c:v>
                </c:pt>
                <c:pt idx="347">
                  <c:v>2408.0673704936999</c:v>
                </c:pt>
                <c:pt idx="348">
                  <c:v>2379.0721858622101</c:v>
                </c:pt>
                <c:pt idx="349">
                  <c:v>2394.5836284945899</c:v>
                </c:pt>
                <c:pt idx="350">
                  <c:v>2353.4035515783899</c:v>
                </c:pt>
                <c:pt idx="351">
                  <c:v>2345.8440593557398</c:v>
                </c:pt>
                <c:pt idx="352">
                  <c:v>2323.2683693558502</c:v>
                </c:pt>
                <c:pt idx="353">
                  <c:v>2261.61505701342</c:v>
                </c:pt>
                <c:pt idx="354">
                  <c:v>2168.3408278830698</c:v>
                </c:pt>
                <c:pt idx="355">
                  <c:v>2166.7523066496301</c:v>
                </c:pt>
                <c:pt idx="356">
                  <c:v>2131.1787752632099</c:v>
                </c:pt>
                <c:pt idx="357">
                  <c:v>2089.8491904662101</c:v>
                </c:pt>
                <c:pt idx="358">
                  <c:v>2038.41847947308</c:v>
                </c:pt>
                <c:pt idx="359">
                  <c:v>1970.8969828094901</c:v>
                </c:pt>
                <c:pt idx="360">
                  <c:v>1816.79173468107</c:v>
                </c:pt>
                <c:pt idx="361">
                  <c:v>1702.7452543628899</c:v>
                </c:pt>
                <c:pt idx="362">
                  <c:v>1642.7832499219501</c:v>
                </c:pt>
                <c:pt idx="363">
                  <c:v>1609.4803694750799</c:v>
                </c:pt>
                <c:pt idx="364">
                  <c:v>1700.4839476658799</c:v>
                </c:pt>
                <c:pt idx="365">
                  <c:v>1909.7015383519899</c:v>
                </c:pt>
                <c:pt idx="366">
                  <c:v>2205.11042231584</c:v>
                </c:pt>
                <c:pt idx="367">
                  <c:v>2140.28941174909</c:v>
                </c:pt>
                <c:pt idx="368">
                  <c:v>2133.1223777135301</c:v>
                </c:pt>
                <c:pt idx="369">
                  <c:v>2122.20830241557</c:v>
                </c:pt>
                <c:pt idx="370">
                  <c:v>2305.8880782135502</c:v>
                </c:pt>
                <c:pt idx="371">
                  <c:v>2346.1991405726299</c:v>
                </c:pt>
                <c:pt idx="372">
                  <c:v>2153.13774525483</c:v>
                </c:pt>
                <c:pt idx="373">
                  <c:v>1843.1238101859101</c:v>
                </c:pt>
                <c:pt idx="374">
                  <c:v>1893.6107526815399</c:v>
                </c:pt>
                <c:pt idx="375">
                  <c:v>1894.6386193619901</c:v>
                </c:pt>
                <c:pt idx="376">
                  <c:v>1891.42419992492</c:v>
                </c:pt>
                <c:pt idx="377">
                  <c:v>1650.41749608499</c:v>
                </c:pt>
                <c:pt idx="378">
                  <c:v>1457.8233128946699</c:v>
                </c:pt>
                <c:pt idx="379">
                  <c:v>1414.4286504942099</c:v>
                </c:pt>
                <c:pt idx="380">
                  <c:v>1390.12427562263</c:v>
                </c:pt>
                <c:pt idx="381">
                  <c:v>1389.3487034910099</c:v>
                </c:pt>
                <c:pt idx="382">
                  <c:v>1387.9657555936701</c:v>
                </c:pt>
                <c:pt idx="383">
                  <c:v>1385.1437943436799</c:v>
                </c:pt>
                <c:pt idx="384">
                  <c:v>1407.59800919043</c:v>
                </c:pt>
                <c:pt idx="385">
                  <c:v>1418.83913297763</c:v>
                </c:pt>
                <c:pt idx="386">
                  <c:v>1442.6108860238801</c:v>
                </c:pt>
                <c:pt idx="387">
                  <c:v>1514.5335209283401</c:v>
                </c:pt>
                <c:pt idx="388">
                  <c:v>1578.1958454189401</c:v>
                </c:pt>
                <c:pt idx="389">
                  <c:v>1595.5107268633899</c:v>
                </c:pt>
                <c:pt idx="390">
                  <c:v>1597.3141656754699</c:v>
                </c:pt>
                <c:pt idx="391">
                  <c:v>1595.5481038335899</c:v>
                </c:pt>
                <c:pt idx="392">
                  <c:v>1506.36665293997</c:v>
                </c:pt>
                <c:pt idx="393">
                  <c:v>1463.9437917646701</c:v>
                </c:pt>
                <c:pt idx="394">
                  <c:v>1432.9956604403101</c:v>
                </c:pt>
                <c:pt idx="395">
                  <c:v>1366.5207189422799</c:v>
                </c:pt>
                <c:pt idx="396">
                  <c:v>1325.28457657078</c:v>
                </c:pt>
                <c:pt idx="397">
                  <c:v>1323.00458138867</c:v>
                </c:pt>
                <c:pt idx="398">
                  <c:v>1300.16725259739</c:v>
                </c:pt>
                <c:pt idx="399">
                  <c:v>1374.06152267983</c:v>
                </c:pt>
                <c:pt idx="400">
                  <c:v>1386.53608648358</c:v>
                </c:pt>
                <c:pt idx="401">
                  <c:v>1337.8432385574799</c:v>
                </c:pt>
                <c:pt idx="402">
                  <c:v>1322.7990080525799</c:v>
                </c:pt>
                <c:pt idx="403">
                  <c:v>1330.3211233050299</c:v>
                </c:pt>
                <c:pt idx="404">
                  <c:v>1329.7885014797</c:v>
                </c:pt>
                <c:pt idx="405">
                  <c:v>1325.99473900455</c:v>
                </c:pt>
                <c:pt idx="406">
                  <c:v>1346.9445308008101</c:v>
                </c:pt>
                <c:pt idx="407">
                  <c:v>1428.56648947179</c:v>
                </c:pt>
                <c:pt idx="408">
                  <c:v>1472.5218064252299</c:v>
                </c:pt>
                <c:pt idx="409">
                  <c:v>1516.60794277436</c:v>
                </c:pt>
                <c:pt idx="410">
                  <c:v>1538.7351091318701</c:v>
                </c:pt>
                <c:pt idx="411">
                  <c:v>1560.60063669799</c:v>
                </c:pt>
                <c:pt idx="412">
                  <c:v>1614.8533089411201</c:v>
                </c:pt>
                <c:pt idx="413">
                  <c:v>1699.36263855993</c:v>
                </c:pt>
                <c:pt idx="414">
                  <c:v>1725.49848497123</c:v>
                </c:pt>
                <c:pt idx="415">
                  <c:v>1843.83397261968</c:v>
                </c:pt>
                <c:pt idx="416">
                  <c:v>1968.5609221720799</c:v>
                </c:pt>
                <c:pt idx="417">
                  <c:v>2084.4762510001801</c:v>
                </c:pt>
                <c:pt idx="418">
                  <c:v>2148.9048033798399</c:v>
                </c:pt>
                <c:pt idx="419">
                  <c:v>2272.0992971541</c:v>
                </c:pt>
                <c:pt idx="420">
                  <c:v>2532.4485830717599</c:v>
                </c:pt>
                <c:pt idx="421">
                  <c:v>2811.0471746888302</c:v>
                </c:pt>
                <c:pt idx="422">
                  <c:v>2814.53257715984</c:v>
                </c:pt>
                <c:pt idx="423">
                  <c:v>2810.4491431656602</c:v>
                </c:pt>
                <c:pt idx="424">
                  <c:v>2884.9601332563702</c:v>
                </c:pt>
                <c:pt idx="425">
                  <c:v>2955.1821160168001</c:v>
                </c:pt>
                <c:pt idx="426">
                  <c:v>3177.6124656680799</c:v>
                </c:pt>
                <c:pt idx="427">
                  <c:v>3163.0915127459598</c:v>
                </c:pt>
                <c:pt idx="428">
                  <c:v>2963.0125912733902</c:v>
                </c:pt>
                <c:pt idx="429">
                  <c:v>2976.6178084256399</c:v>
                </c:pt>
                <c:pt idx="430">
                  <c:v>3027.49720910835</c:v>
                </c:pt>
                <c:pt idx="431">
                  <c:v>3000.0251360124498</c:v>
                </c:pt>
                <c:pt idx="432">
                  <c:v>2940.4275570309401</c:v>
                </c:pt>
                <c:pt idx="433">
                  <c:v>2806.0666934098799</c:v>
                </c:pt>
                <c:pt idx="434">
                  <c:v>2891.8281515303402</c:v>
                </c:pt>
                <c:pt idx="435">
                  <c:v>3090.9259275352101</c:v>
                </c:pt>
                <c:pt idx="436">
                  <c:v>3282.7165058662599</c:v>
                </c:pt>
                <c:pt idx="437">
                  <c:v>3495.12048326179</c:v>
                </c:pt>
                <c:pt idx="438">
                  <c:v>3597.0568252356502</c:v>
                </c:pt>
                <c:pt idx="439">
                  <c:v>3691.25613437843</c:v>
                </c:pt>
                <c:pt idx="440">
                  <c:v>3850.2857983304998</c:v>
                </c:pt>
                <c:pt idx="441">
                  <c:v>4096.5065895131202</c:v>
                </c:pt>
                <c:pt idx="442">
                  <c:v>4075.40728983607</c:v>
                </c:pt>
                <c:pt idx="443">
                  <c:v>4076.7808934908599</c:v>
                </c:pt>
                <c:pt idx="444">
                  <c:v>4249.9951176332597</c:v>
                </c:pt>
                <c:pt idx="445">
                  <c:v>4435.0952182987903</c:v>
                </c:pt>
                <c:pt idx="446">
                  <c:v>4507.4476883605403</c:v>
                </c:pt>
                <c:pt idx="447">
                  <c:v>4612.9254982606999</c:v>
                </c:pt>
                <c:pt idx="448">
                  <c:v>4698.2851539515304</c:v>
                </c:pt>
                <c:pt idx="449">
                  <c:v>5068.1489625507902</c:v>
                </c:pt>
                <c:pt idx="450">
                  <c:v>5411.1293853347897</c:v>
                </c:pt>
                <c:pt idx="451">
                  <c:v>5488.5931560711797</c:v>
                </c:pt>
                <c:pt idx="452">
                  <c:v>5569.1031498787497</c:v>
                </c:pt>
                <c:pt idx="453">
                  <c:v>5697.84812372748</c:v>
                </c:pt>
                <c:pt idx="454">
                  <c:v>5781.8902412188099</c:v>
                </c:pt>
                <c:pt idx="455">
                  <c:v>5869.0066145089704</c:v>
                </c:pt>
                <c:pt idx="456">
                  <c:v>5861.1667950098299</c:v>
                </c:pt>
                <c:pt idx="457">
                  <c:v>5862.8954798815103</c:v>
                </c:pt>
                <c:pt idx="458">
                  <c:v>5862.5030216944297</c:v>
                </c:pt>
                <c:pt idx="459">
                  <c:v>5838.4789740993401</c:v>
                </c:pt>
                <c:pt idx="460">
                  <c:v>5739.2898394350696</c:v>
                </c:pt>
                <c:pt idx="461">
                  <c:v>5740.2990176304302</c:v>
                </c:pt>
                <c:pt idx="462">
                  <c:v>5648.0246224528801</c:v>
                </c:pt>
                <c:pt idx="463">
                  <c:v>5537.3981349078704</c:v>
                </c:pt>
                <c:pt idx="464">
                  <c:v>5409.8492241054901</c:v>
                </c:pt>
                <c:pt idx="465">
                  <c:v>5291.2240649380001</c:v>
                </c:pt>
                <c:pt idx="466">
                  <c:v>5205.3130989367401</c:v>
                </c:pt>
                <c:pt idx="467">
                  <c:v>5103.4982321160296</c:v>
                </c:pt>
                <c:pt idx="468">
                  <c:v>5063.23389096969</c:v>
                </c:pt>
                <c:pt idx="469">
                  <c:v>4993.6660051877298</c:v>
                </c:pt>
                <c:pt idx="470">
                  <c:v>4869.2661041245701</c:v>
                </c:pt>
                <c:pt idx="471">
                  <c:v>4784.0839890421903</c:v>
                </c:pt>
                <c:pt idx="472">
                  <c:v>4687.8943562363502</c:v>
                </c:pt>
                <c:pt idx="473">
                  <c:v>4567.3723158312796</c:v>
                </c:pt>
                <c:pt idx="474">
                  <c:v>4579.9122893328804</c:v>
                </c:pt>
                <c:pt idx="475">
                  <c:v>4490.5719863159102</c:v>
                </c:pt>
                <c:pt idx="476">
                  <c:v>4357.71554574534</c:v>
                </c:pt>
                <c:pt idx="477">
                  <c:v>4388.2899073677199</c:v>
                </c:pt>
                <c:pt idx="478">
                  <c:v>4489.9646105501897</c:v>
                </c:pt>
                <c:pt idx="479">
                  <c:v>3965.2106374483401</c:v>
                </c:pt>
                <c:pt idx="480">
                  <c:v>3627.28544988369</c:v>
                </c:pt>
                <c:pt idx="481">
                  <c:v>3546.3362766762898</c:v>
                </c:pt>
                <c:pt idx="482">
                  <c:v>3382.3635084154698</c:v>
                </c:pt>
                <c:pt idx="483">
                  <c:v>3166.20314551499</c:v>
                </c:pt>
                <c:pt idx="484">
                  <c:v>2841.9018635877001</c:v>
                </c:pt>
                <c:pt idx="485">
                  <c:v>2376.6707155269601</c:v>
                </c:pt>
                <c:pt idx="486">
                  <c:v>2514.4235391935299</c:v>
                </c:pt>
                <c:pt idx="487">
                  <c:v>2468.52461978977</c:v>
                </c:pt>
                <c:pt idx="488">
                  <c:v>2454.8259602120202</c:v>
                </c:pt>
                <c:pt idx="489">
                  <c:v>2619.32200605562</c:v>
                </c:pt>
                <c:pt idx="490">
                  <c:v>2732.4901275741399</c:v>
                </c:pt>
                <c:pt idx="491">
                  <c:v>2821.5687917997102</c:v>
                </c:pt>
                <c:pt idx="492">
                  <c:v>2986.8217212898298</c:v>
                </c:pt>
                <c:pt idx="493">
                  <c:v>3293.4997617685299</c:v>
                </c:pt>
                <c:pt idx="494">
                  <c:v>3589.39454634496</c:v>
                </c:pt>
                <c:pt idx="495">
                  <c:v>3629.2477408191098</c:v>
                </c:pt>
                <c:pt idx="496">
                  <c:v>3612.52154665528</c:v>
                </c:pt>
                <c:pt idx="497">
                  <c:v>3673.4460080788399</c:v>
                </c:pt>
                <c:pt idx="498">
                  <c:v>3783.6239719814698</c:v>
                </c:pt>
                <c:pt idx="499">
                  <c:v>3903.3424075272701</c:v>
                </c:pt>
                <c:pt idx="500">
                  <c:v>4028.20017647536</c:v>
                </c:pt>
                <c:pt idx="501">
                  <c:v>4223.9059924347102</c:v>
                </c:pt>
                <c:pt idx="502">
                  <c:v>4322.3382434524601</c:v>
                </c:pt>
                <c:pt idx="503">
                  <c:v>4514.0447236005703</c:v>
                </c:pt>
                <c:pt idx="504">
                  <c:v>4809.7713118111096</c:v>
                </c:pt>
                <c:pt idx="505">
                  <c:v>5157.9471334526897</c:v>
                </c:pt>
                <c:pt idx="506">
                  <c:v>5494.8537985794301</c:v>
                </c:pt>
                <c:pt idx="507">
                  <c:v>5888.3491965866897</c:v>
                </c:pt>
                <c:pt idx="508">
                  <c:v>6128.0196737420301</c:v>
                </c:pt>
                <c:pt idx="509">
                  <c:v>6294.29112567006</c:v>
                </c:pt>
                <c:pt idx="510">
                  <c:v>6554.41614976652</c:v>
                </c:pt>
                <c:pt idx="511">
                  <c:v>6904.9186878029604</c:v>
                </c:pt>
                <c:pt idx="512">
                  <c:v>7300.5539173540901</c:v>
                </c:pt>
                <c:pt idx="513">
                  <c:v>7601.3544292690804</c:v>
                </c:pt>
                <c:pt idx="514">
                  <c:v>7907.4531267097</c:v>
                </c:pt>
                <c:pt idx="515">
                  <c:v>8065.17459670482</c:v>
                </c:pt>
                <c:pt idx="516">
                  <c:v>8162.5883252846697</c:v>
                </c:pt>
                <c:pt idx="517">
                  <c:v>8150.5435966382001</c:v>
                </c:pt>
                <c:pt idx="518">
                  <c:v>8236.2957105161095</c:v>
                </c:pt>
                <c:pt idx="519">
                  <c:v>8148.7962232814198</c:v>
                </c:pt>
                <c:pt idx="520">
                  <c:v>8103.8504166177199</c:v>
                </c:pt>
                <c:pt idx="521">
                  <c:v>7770.6907927533903</c:v>
                </c:pt>
                <c:pt idx="522">
                  <c:v>7480.6081270428203</c:v>
                </c:pt>
                <c:pt idx="523">
                  <c:v>7265.3728441547601</c:v>
                </c:pt>
                <c:pt idx="524">
                  <c:v>7107.2682602150999</c:v>
                </c:pt>
                <c:pt idx="525">
                  <c:v>6703.2512450969498</c:v>
                </c:pt>
                <c:pt idx="526">
                  <c:v>6259.51185490035</c:v>
                </c:pt>
                <c:pt idx="527">
                  <c:v>5804.0174075763298</c:v>
                </c:pt>
                <c:pt idx="528">
                  <c:v>5439.6853905664402</c:v>
                </c:pt>
                <c:pt idx="529">
                  <c:v>5187.9421520369897</c:v>
                </c:pt>
                <c:pt idx="530">
                  <c:v>5071.4661686559102</c:v>
                </c:pt>
                <c:pt idx="531">
                  <c:v>4834.6176527505604</c:v>
                </c:pt>
                <c:pt idx="532">
                  <c:v>4560.7379036210496</c:v>
                </c:pt>
                <c:pt idx="533">
                  <c:v>4296.6696091686399</c:v>
                </c:pt>
                <c:pt idx="534">
                  <c:v>4051.7009464876701</c:v>
                </c:pt>
                <c:pt idx="535">
                  <c:v>3808.07785473384</c:v>
                </c:pt>
                <c:pt idx="536">
                  <c:v>3694.51727502824</c:v>
                </c:pt>
                <c:pt idx="537">
                  <c:v>3616.5208824665201</c:v>
                </c:pt>
                <c:pt idx="538">
                  <c:v>3334.8106580804201</c:v>
                </c:pt>
                <c:pt idx="539">
                  <c:v>2967.7501222460501</c:v>
                </c:pt>
                <c:pt idx="540">
                  <c:v>2761.1395752312901</c:v>
                </c:pt>
                <c:pt idx="541">
                  <c:v>2569.0873581088399</c:v>
                </c:pt>
                <c:pt idx="542">
                  <c:v>2359.7482922695899</c:v>
                </c:pt>
                <c:pt idx="543">
                  <c:v>2044.8005971344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Z_indik_testu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1.4189059288700001</c:v>
                </c:pt>
                <c:pt idx="1">
                  <c:v>3.0283915324400001</c:v>
                </c:pt>
                <c:pt idx="2">
                  <c:v>4.4704065910599997</c:v>
                </c:pt>
                <c:pt idx="3">
                  <c:v>5.8654141000199997</c:v>
                </c:pt>
                <c:pt idx="4">
                  <c:v>5.8031476739599999</c:v>
                </c:pt>
                <c:pt idx="5">
                  <c:v>6.8880482860600001</c:v>
                </c:pt>
                <c:pt idx="6">
                  <c:v>3.7789737368899998</c:v>
                </c:pt>
                <c:pt idx="7">
                  <c:v>2.0036193795899999</c:v>
                </c:pt>
                <c:pt idx="8">
                  <c:v>1.2529980177</c:v>
                </c:pt>
                <c:pt idx="9">
                  <c:v>0.83687762977000002</c:v>
                </c:pt>
                <c:pt idx="10">
                  <c:v>0.56195162027000001</c:v>
                </c:pt>
                <c:pt idx="11">
                  <c:v>0.53479945957999997</c:v>
                </c:pt>
                <c:pt idx="12">
                  <c:v>0.55155735015999996</c:v>
                </c:pt>
                <c:pt idx="13">
                  <c:v>0.33990459792</c:v>
                </c:pt>
                <c:pt idx="14">
                  <c:v>0.2328545216</c:v>
                </c:pt>
                <c:pt idx="15">
                  <c:v>0.21714402689000001</c:v>
                </c:pt>
                <c:pt idx="16">
                  <c:v>0.35760720950000002</c:v>
                </c:pt>
                <c:pt idx="17">
                  <c:v>0.30307996573000001</c:v>
                </c:pt>
                <c:pt idx="18">
                  <c:v>0.24429478123000001</c:v>
                </c:pt>
                <c:pt idx="19">
                  <c:v>0.28284869370999999</c:v>
                </c:pt>
                <c:pt idx="20">
                  <c:v>0.27935062097000002</c:v>
                </c:pt>
                <c:pt idx="21">
                  <c:v>0.26284493575000001</c:v>
                </c:pt>
                <c:pt idx="22">
                  <c:v>0.12844651686</c:v>
                </c:pt>
                <c:pt idx="23">
                  <c:v>7.3342004200000005E-2</c:v>
                </c:pt>
                <c:pt idx="24">
                  <c:v>5.3908715459999999E-2</c:v>
                </c:pt>
                <c:pt idx="25">
                  <c:v>9.7499664969999997E-2</c:v>
                </c:pt>
                <c:pt idx="26">
                  <c:v>0.16275110136000001</c:v>
                </c:pt>
                <c:pt idx="27">
                  <c:v>0.14383757790999999</c:v>
                </c:pt>
                <c:pt idx="28">
                  <c:v>0.11582009739</c:v>
                </c:pt>
                <c:pt idx="29">
                  <c:v>0.13858681002000001</c:v>
                </c:pt>
                <c:pt idx="30">
                  <c:v>0.21347003128</c:v>
                </c:pt>
                <c:pt idx="31">
                  <c:v>0.25466455474999999</c:v>
                </c:pt>
                <c:pt idx="32">
                  <c:v>0.30601585024</c:v>
                </c:pt>
                <c:pt idx="33">
                  <c:v>0.35536592387999999</c:v>
                </c:pt>
                <c:pt idx="34">
                  <c:v>0.38613388622</c:v>
                </c:pt>
                <c:pt idx="35">
                  <c:v>0.42424337850999999</c:v>
                </c:pt>
                <c:pt idx="36">
                  <c:v>0.43781872184999998</c:v>
                </c:pt>
                <c:pt idx="37">
                  <c:v>0.44394683470000001</c:v>
                </c:pt>
                <c:pt idx="38">
                  <c:v>0.57990409013999999</c:v>
                </c:pt>
                <c:pt idx="39">
                  <c:v>0.57720169802999999</c:v>
                </c:pt>
                <c:pt idx="40">
                  <c:v>0.52358088119000001</c:v>
                </c:pt>
                <c:pt idx="41">
                  <c:v>0.44610249085999998</c:v>
                </c:pt>
                <c:pt idx="42">
                  <c:v>0.39060438661000002</c:v>
                </c:pt>
                <c:pt idx="43">
                  <c:v>0.35005402692999998</c:v>
                </c:pt>
                <c:pt idx="44">
                  <c:v>0.23067506541999999</c:v>
                </c:pt>
                <c:pt idx="45">
                  <c:v>0.15252285783</c:v>
                </c:pt>
                <c:pt idx="46">
                  <c:v>0.13045307990999999</c:v>
                </c:pt>
                <c:pt idx="47">
                  <c:v>0.15118374303000001</c:v>
                </c:pt>
                <c:pt idx="48">
                  <c:v>0.13701955767999999</c:v>
                </c:pt>
                <c:pt idx="49">
                  <c:v>9.953641329E-2</c:v>
                </c:pt>
                <c:pt idx="50">
                  <c:v>0.10016345511999999</c:v>
                </c:pt>
                <c:pt idx="51">
                  <c:v>8.2076369129999993E-2</c:v>
                </c:pt>
                <c:pt idx="52">
                  <c:v>0.11492427697</c:v>
                </c:pt>
                <c:pt idx="53">
                  <c:v>0.11264698187</c:v>
                </c:pt>
                <c:pt idx="54">
                  <c:v>0.12040551602000001</c:v>
                </c:pt>
                <c:pt idx="55">
                  <c:v>9.6876314359999993E-2</c:v>
                </c:pt>
                <c:pt idx="56">
                  <c:v>7.1827785059999996E-2</c:v>
                </c:pt>
                <c:pt idx="57">
                  <c:v>4.8393940140000001E-2</c:v>
                </c:pt>
                <c:pt idx="58">
                  <c:v>1.9392794870000001E-2</c:v>
                </c:pt>
                <c:pt idx="59">
                  <c:v>-1.3233647980000001E-2</c:v>
                </c:pt>
                <c:pt idx="60">
                  <c:v>-2.5105290400000001E-2</c:v>
                </c:pt>
                <c:pt idx="61">
                  <c:v>-2.7263292179999999E-2</c:v>
                </c:pt>
                <c:pt idx="62">
                  <c:v>-3.7537229399999997E-2</c:v>
                </c:pt>
                <c:pt idx="63">
                  <c:v>-6.4906735539999996E-2</c:v>
                </c:pt>
                <c:pt idx="64">
                  <c:v>-4.0270787070000001E-2</c:v>
                </c:pt>
                <c:pt idx="65">
                  <c:v>-2.2437029970000001E-2</c:v>
                </c:pt>
                <c:pt idx="66">
                  <c:v>-1.039064621E-2</c:v>
                </c:pt>
                <c:pt idx="67">
                  <c:v>-1.5354675890000001E-2</c:v>
                </c:pt>
                <c:pt idx="68">
                  <c:v>-1.6688763129999999E-2</c:v>
                </c:pt>
                <c:pt idx="69">
                  <c:v>-4.2833908249999997E-2</c:v>
                </c:pt>
                <c:pt idx="70">
                  <c:v>-6.9934748709999994E-2</c:v>
                </c:pt>
                <c:pt idx="71">
                  <c:v>-0.11481798318</c:v>
                </c:pt>
                <c:pt idx="72">
                  <c:v>-0.1426851807</c:v>
                </c:pt>
                <c:pt idx="73">
                  <c:v>-0.17942723892000001</c:v>
                </c:pt>
                <c:pt idx="74">
                  <c:v>-0.18858141053999999</c:v>
                </c:pt>
                <c:pt idx="75">
                  <c:v>-0.16475592301</c:v>
                </c:pt>
                <c:pt idx="76">
                  <c:v>-0.15120888512</c:v>
                </c:pt>
                <c:pt idx="77">
                  <c:v>-0.14239793884999999</c:v>
                </c:pt>
                <c:pt idx="78">
                  <c:v>-0.13081252936000001</c:v>
                </c:pt>
                <c:pt idx="79">
                  <c:v>-0.10265579679</c:v>
                </c:pt>
                <c:pt idx="80">
                  <c:v>-9.0717853710000004E-2</c:v>
                </c:pt>
                <c:pt idx="81">
                  <c:v>-8.3978946210000002E-2</c:v>
                </c:pt>
                <c:pt idx="82">
                  <c:v>-5.7503606589999999E-2</c:v>
                </c:pt>
                <c:pt idx="83">
                  <c:v>-9.6383196810000002E-2</c:v>
                </c:pt>
                <c:pt idx="84">
                  <c:v>-8.6156244100000001E-2</c:v>
                </c:pt>
                <c:pt idx="85">
                  <c:v>-7.4272928010000003E-2</c:v>
                </c:pt>
                <c:pt idx="86">
                  <c:v>-8.5640286740000002E-2</c:v>
                </c:pt>
                <c:pt idx="87">
                  <c:v>-0.10341010145</c:v>
                </c:pt>
                <c:pt idx="88">
                  <c:v>-8.7660138279999994E-2</c:v>
                </c:pt>
                <c:pt idx="89">
                  <c:v>-5.4415064819999998E-2</c:v>
                </c:pt>
                <c:pt idx="90">
                  <c:v>-0.10238939869999999</c:v>
                </c:pt>
                <c:pt idx="91">
                  <c:v>-9.6213447369999996E-2</c:v>
                </c:pt>
                <c:pt idx="92">
                  <c:v>-0.10310026073</c:v>
                </c:pt>
                <c:pt idx="93">
                  <c:v>-5.866224556E-2</c:v>
                </c:pt>
                <c:pt idx="94">
                  <c:v>-3.5946846759999998E-2</c:v>
                </c:pt>
                <c:pt idx="95">
                  <c:v>-3.25762187E-3</c:v>
                </c:pt>
                <c:pt idx="96">
                  <c:v>4.7666894270000003E-2</c:v>
                </c:pt>
                <c:pt idx="97">
                  <c:v>1.4680065920000001E-2</c:v>
                </c:pt>
                <c:pt idx="98">
                  <c:v>4.1067903590000003E-2</c:v>
                </c:pt>
                <c:pt idx="99">
                  <c:v>7.6287420450000004E-2</c:v>
                </c:pt>
                <c:pt idx="100">
                  <c:v>7.3043838520000001E-2</c:v>
                </c:pt>
                <c:pt idx="101">
                  <c:v>3.8835377990000003E-2</c:v>
                </c:pt>
                <c:pt idx="102">
                  <c:v>4.7595410960000001E-2</c:v>
                </c:pt>
                <c:pt idx="103">
                  <c:v>0.10173440588</c:v>
                </c:pt>
                <c:pt idx="104">
                  <c:v>3.9381205939999997E-2</c:v>
                </c:pt>
                <c:pt idx="105">
                  <c:v>3.7934842230000002E-2</c:v>
                </c:pt>
                <c:pt idx="106">
                  <c:v>1.4265233130000001E-2</c:v>
                </c:pt>
                <c:pt idx="107">
                  <c:v>1.691540792E-2</c:v>
                </c:pt>
                <c:pt idx="108">
                  <c:v>2.051988045E-2</c:v>
                </c:pt>
                <c:pt idx="109">
                  <c:v>2.226567644E-2</c:v>
                </c:pt>
                <c:pt idx="110">
                  <c:v>5.1430259460000002E-2</c:v>
                </c:pt>
                <c:pt idx="111">
                  <c:v>1.7762889000000001E-3</c:v>
                </c:pt>
                <c:pt idx="112">
                  <c:v>-1.35289587E-2</c:v>
                </c:pt>
                <c:pt idx="113">
                  <c:v>2.5190992089999999E-2</c:v>
                </c:pt>
                <c:pt idx="114">
                  <c:v>4.2896666280000002E-2</c:v>
                </c:pt>
                <c:pt idx="115">
                  <c:v>4.9689898699999999E-2</c:v>
                </c:pt>
                <c:pt idx="116">
                  <c:v>6.4466599289999996E-2</c:v>
                </c:pt>
                <c:pt idx="117">
                  <c:v>9.4382191800000001E-2</c:v>
                </c:pt>
                <c:pt idx="118">
                  <c:v>0.13214330262999999</c:v>
                </c:pt>
                <c:pt idx="119">
                  <c:v>0.24869183595</c:v>
                </c:pt>
                <c:pt idx="120">
                  <c:v>0.34733534257999998</c:v>
                </c:pt>
                <c:pt idx="121">
                  <c:v>0.38064647599000001</c:v>
                </c:pt>
                <c:pt idx="122">
                  <c:v>0.39751406531</c:v>
                </c:pt>
                <c:pt idx="123">
                  <c:v>0.37537977548000001</c:v>
                </c:pt>
                <c:pt idx="124">
                  <c:v>0.36415588565000001</c:v>
                </c:pt>
                <c:pt idx="125">
                  <c:v>0.18318881970000001</c:v>
                </c:pt>
                <c:pt idx="126">
                  <c:v>4.9319945400000002E-2</c:v>
                </c:pt>
                <c:pt idx="127">
                  <c:v>-1.7665498929999999E-2</c:v>
                </c:pt>
                <c:pt idx="128">
                  <c:v>-5.7951328509999997E-2</c:v>
                </c:pt>
                <c:pt idx="129">
                  <c:v>-7.6005729630000005E-2</c:v>
                </c:pt>
                <c:pt idx="130">
                  <c:v>-6.5955416919999996E-2</c:v>
                </c:pt>
                <c:pt idx="131">
                  <c:v>-4.254190243E-2</c:v>
                </c:pt>
                <c:pt idx="132">
                  <c:v>-8.8801056040000007E-2</c:v>
                </c:pt>
                <c:pt idx="133">
                  <c:v>-0.13378022412999999</c:v>
                </c:pt>
                <c:pt idx="134">
                  <c:v>-0.16931316089000001</c:v>
                </c:pt>
                <c:pt idx="135">
                  <c:v>-0.18592667730000001</c:v>
                </c:pt>
                <c:pt idx="136">
                  <c:v>-0.20763989535999999</c:v>
                </c:pt>
                <c:pt idx="137">
                  <c:v>-0.23710001744</c:v>
                </c:pt>
                <c:pt idx="138">
                  <c:v>-0.20193172364</c:v>
                </c:pt>
                <c:pt idx="139">
                  <c:v>-0.19488613725000001</c:v>
                </c:pt>
                <c:pt idx="140">
                  <c:v>-0.16277781094999999</c:v>
                </c:pt>
                <c:pt idx="141">
                  <c:v>-0.11159125615</c:v>
                </c:pt>
                <c:pt idx="142">
                  <c:v>-4.9719636960000001E-2</c:v>
                </c:pt>
                <c:pt idx="143">
                  <c:v>-4.6316487890000001E-2</c:v>
                </c:pt>
                <c:pt idx="144">
                  <c:v>-1.470437562E-2</c:v>
                </c:pt>
                <c:pt idx="145">
                  <c:v>1.41824434E-2</c:v>
                </c:pt>
                <c:pt idx="146">
                  <c:v>-4.0179030650000003E-2</c:v>
                </c:pt>
                <c:pt idx="147">
                  <c:v>-4.7724770780000002E-2</c:v>
                </c:pt>
                <c:pt idx="148">
                  <c:v>-4.1543317539999999E-2</c:v>
                </c:pt>
                <c:pt idx="149">
                  <c:v>-4.4404315909999999E-2</c:v>
                </c:pt>
                <c:pt idx="150">
                  <c:v>-4.9788243519999997E-2</c:v>
                </c:pt>
                <c:pt idx="151">
                  <c:v>-4.4914269270000001E-2</c:v>
                </c:pt>
                <c:pt idx="152">
                  <c:v>-3.5810909100000001E-3</c:v>
                </c:pt>
                <c:pt idx="153">
                  <c:v>-4.0570702620000003E-2</c:v>
                </c:pt>
                <c:pt idx="154">
                  <c:v>-2.9436106229999998E-2</c:v>
                </c:pt>
                <c:pt idx="155">
                  <c:v>-1.488286711E-2</c:v>
                </c:pt>
                <c:pt idx="156">
                  <c:v>-1.3119681940000001E-2</c:v>
                </c:pt>
                <c:pt idx="157">
                  <c:v>-1.122873401E-2</c:v>
                </c:pt>
                <c:pt idx="158">
                  <c:v>6.5261035599999996E-3</c:v>
                </c:pt>
                <c:pt idx="159">
                  <c:v>3.108688595E-2</c:v>
                </c:pt>
                <c:pt idx="160">
                  <c:v>2.4453771199999998E-3</c:v>
                </c:pt>
                <c:pt idx="161">
                  <c:v>2.0490251269999999E-2</c:v>
                </c:pt>
                <c:pt idx="162">
                  <c:v>1.8280970949999999E-2</c:v>
                </c:pt>
                <c:pt idx="163">
                  <c:v>4.9059479910000002E-2</c:v>
                </c:pt>
                <c:pt idx="164">
                  <c:v>3.5051140969999998E-2</c:v>
                </c:pt>
                <c:pt idx="165">
                  <c:v>3.5385627359999998E-2</c:v>
                </c:pt>
                <c:pt idx="166">
                  <c:v>6.0417021190000003E-2</c:v>
                </c:pt>
                <c:pt idx="167">
                  <c:v>8.1995123300000004E-3</c:v>
                </c:pt>
                <c:pt idx="168">
                  <c:v>2.2317278879999999E-2</c:v>
                </c:pt>
                <c:pt idx="169">
                  <c:v>2.880511861E-2</c:v>
                </c:pt>
                <c:pt idx="170">
                  <c:v>4.4591175130000001E-2</c:v>
                </c:pt>
                <c:pt idx="171">
                  <c:v>3.6114787600000003E-2</c:v>
                </c:pt>
                <c:pt idx="172">
                  <c:v>6.1485893370000003E-2</c:v>
                </c:pt>
                <c:pt idx="173">
                  <c:v>8.7719393140000004E-2</c:v>
                </c:pt>
                <c:pt idx="174">
                  <c:v>3.463967909E-2</c:v>
                </c:pt>
                <c:pt idx="175">
                  <c:v>5.0672028969999998E-2</c:v>
                </c:pt>
                <c:pt idx="176">
                  <c:v>5.1001056060000001E-2</c:v>
                </c:pt>
                <c:pt idx="177">
                  <c:v>7.0167615690000004E-2</c:v>
                </c:pt>
                <c:pt idx="178">
                  <c:v>6.043733968E-2</c:v>
                </c:pt>
                <c:pt idx="179">
                  <c:v>4.7943923159999999E-2</c:v>
                </c:pt>
                <c:pt idx="180">
                  <c:v>6.0764592489999998E-2</c:v>
                </c:pt>
                <c:pt idx="181">
                  <c:v>3.38217779E-3</c:v>
                </c:pt>
                <c:pt idx="182">
                  <c:v>3.1272262800000001E-3</c:v>
                </c:pt>
                <c:pt idx="183">
                  <c:v>-7.3852654400000002E-3</c:v>
                </c:pt>
                <c:pt idx="184">
                  <c:v>-1.5070978909999999E-2</c:v>
                </c:pt>
                <c:pt idx="185">
                  <c:v>-5.7566875609999998E-2</c:v>
                </c:pt>
                <c:pt idx="186">
                  <c:v>-3.2419441100000002E-2</c:v>
                </c:pt>
                <c:pt idx="187">
                  <c:v>-1.3054446500000001E-2</c:v>
                </c:pt>
                <c:pt idx="188">
                  <c:v>-7.6845943740000006E-2</c:v>
                </c:pt>
                <c:pt idx="189">
                  <c:v>-9.57708798E-2</c:v>
                </c:pt>
                <c:pt idx="190">
                  <c:v>-0.12334146003</c:v>
                </c:pt>
                <c:pt idx="191">
                  <c:v>-0.14419414797999999</c:v>
                </c:pt>
                <c:pt idx="192">
                  <c:v>-0.14508445637</c:v>
                </c:pt>
                <c:pt idx="193">
                  <c:v>-0.15649711576</c:v>
                </c:pt>
                <c:pt idx="194">
                  <c:v>-0.11929573541999999</c:v>
                </c:pt>
                <c:pt idx="195">
                  <c:v>-0.14192063763000001</c:v>
                </c:pt>
                <c:pt idx="196">
                  <c:v>-0.12622170965000001</c:v>
                </c:pt>
                <c:pt idx="197">
                  <c:v>-9.4763325600000003E-2</c:v>
                </c:pt>
                <c:pt idx="198">
                  <c:v>-7.7936383050000002E-2</c:v>
                </c:pt>
                <c:pt idx="199">
                  <c:v>-0.13402698334999999</c:v>
                </c:pt>
                <c:pt idx="200">
                  <c:v>-0.11168609090999999</c:v>
                </c:pt>
                <c:pt idx="201">
                  <c:v>-8.0405341840000005E-2</c:v>
                </c:pt>
                <c:pt idx="202">
                  <c:v>-0.13306175347999999</c:v>
                </c:pt>
                <c:pt idx="203">
                  <c:v>-0.14379242735</c:v>
                </c:pt>
                <c:pt idx="204">
                  <c:v>-0.15372920884999999</c:v>
                </c:pt>
                <c:pt idx="205">
                  <c:v>-0.19109990440999999</c:v>
                </c:pt>
                <c:pt idx="206">
                  <c:v>-0.18832422176999999</c:v>
                </c:pt>
                <c:pt idx="207">
                  <c:v>-0.17303096268000001</c:v>
                </c:pt>
                <c:pt idx="208">
                  <c:v>-0.13178433899</c:v>
                </c:pt>
                <c:pt idx="209">
                  <c:v>-0.16275984038999999</c:v>
                </c:pt>
                <c:pt idx="210">
                  <c:v>-0.15622535101000001</c:v>
                </c:pt>
                <c:pt idx="211">
                  <c:v>-0.14181429825</c:v>
                </c:pt>
                <c:pt idx="212">
                  <c:v>-0.15826053434000001</c:v>
                </c:pt>
                <c:pt idx="213">
                  <c:v>-0.16470510479</c:v>
                </c:pt>
                <c:pt idx="214">
                  <c:v>-0.15234810558</c:v>
                </c:pt>
                <c:pt idx="215">
                  <c:v>-0.10130483799999999</c:v>
                </c:pt>
                <c:pt idx="216">
                  <c:v>-0.1031822469</c:v>
                </c:pt>
                <c:pt idx="217">
                  <c:v>-0.21967798613</c:v>
                </c:pt>
                <c:pt idx="218">
                  <c:v>-0.19694763968000001</c:v>
                </c:pt>
                <c:pt idx="219">
                  <c:v>-0.21144919462</c:v>
                </c:pt>
                <c:pt idx="220">
                  <c:v>-0.22999883247</c:v>
                </c:pt>
                <c:pt idx="221">
                  <c:v>-0.21450916346000001</c:v>
                </c:pt>
                <c:pt idx="222">
                  <c:v>-0.22726263729000001</c:v>
                </c:pt>
                <c:pt idx="223">
                  <c:v>-0.21344125520000001</c:v>
                </c:pt>
                <c:pt idx="224">
                  <c:v>-0.12663541548999999</c:v>
                </c:pt>
                <c:pt idx="225">
                  <c:v>-0.16568296972999999</c:v>
                </c:pt>
                <c:pt idx="226">
                  <c:v>-0.2276754251</c:v>
                </c:pt>
                <c:pt idx="227">
                  <c:v>-0.24259014364000001</c:v>
                </c:pt>
                <c:pt idx="228">
                  <c:v>-0.23201683483999999</c:v>
                </c:pt>
                <c:pt idx="229">
                  <c:v>-0.16495129189999999</c:v>
                </c:pt>
                <c:pt idx="230">
                  <c:v>-0.18004311449999999</c:v>
                </c:pt>
                <c:pt idx="231">
                  <c:v>-0.24509161074999999</c:v>
                </c:pt>
                <c:pt idx="232">
                  <c:v>-0.20520561977999999</c:v>
                </c:pt>
                <c:pt idx="233">
                  <c:v>-0.20707978646</c:v>
                </c:pt>
                <c:pt idx="234">
                  <c:v>-0.20417472373000001</c:v>
                </c:pt>
                <c:pt idx="235">
                  <c:v>-0.17721900571999999</c:v>
                </c:pt>
                <c:pt idx="236">
                  <c:v>-0.12799574644</c:v>
                </c:pt>
                <c:pt idx="237">
                  <c:v>-0.17953521741</c:v>
                </c:pt>
                <c:pt idx="238">
                  <c:v>-0.14685619233</c:v>
                </c:pt>
                <c:pt idx="239">
                  <c:v>-0.14039297933</c:v>
                </c:pt>
                <c:pt idx="240">
                  <c:v>-0.16730298043</c:v>
                </c:pt>
                <c:pt idx="241">
                  <c:v>-0.17593542049999999</c:v>
                </c:pt>
                <c:pt idx="242">
                  <c:v>-0.14979520003999999</c:v>
                </c:pt>
                <c:pt idx="243">
                  <c:v>-0.11914760701</c:v>
                </c:pt>
                <c:pt idx="244">
                  <c:v>-0.1799255548</c:v>
                </c:pt>
                <c:pt idx="245">
                  <c:v>-0.18869528857000001</c:v>
                </c:pt>
                <c:pt idx="246">
                  <c:v>-0.19310017293000001</c:v>
                </c:pt>
                <c:pt idx="247">
                  <c:v>-0.22918057164</c:v>
                </c:pt>
                <c:pt idx="248">
                  <c:v>-0.25763611415999998</c:v>
                </c:pt>
                <c:pt idx="249">
                  <c:v>-0.26100555910000001</c:v>
                </c:pt>
                <c:pt idx="250">
                  <c:v>-0.19675234844</c:v>
                </c:pt>
                <c:pt idx="251">
                  <c:v>-0.24991129309999999</c:v>
                </c:pt>
                <c:pt idx="252">
                  <c:v>-0.25417769977999999</c:v>
                </c:pt>
                <c:pt idx="253">
                  <c:v>-0.26414440069</c:v>
                </c:pt>
                <c:pt idx="254">
                  <c:v>-0.29452948175999999</c:v>
                </c:pt>
                <c:pt idx="255">
                  <c:v>-0.32715467906000001</c:v>
                </c:pt>
                <c:pt idx="256">
                  <c:v>-0.29241151071999999</c:v>
                </c:pt>
                <c:pt idx="257">
                  <c:v>-0.24513276143000001</c:v>
                </c:pt>
                <c:pt idx="258">
                  <c:v>-0.32721188036999999</c:v>
                </c:pt>
                <c:pt idx="259">
                  <c:v>-0.32795023721</c:v>
                </c:pt>
                <c:pt idx="260">
                  <c:v>-0.34334004928</c:v>
                </c:pt>
                <c:pt idx="261">
                  <c:v>-0.38870029887000002</c:v>
                </c:pt>
                <c:pt idx="262">
                  <c:v>-0.42131993128</c:v>
                </c:pt>
                <c:pt idx="263">
                  <c:v>-0.41629119580000001</c:v>
                </c:pt>
                <c:pt idx="264">
                  <c:v>-0.34475551422</c:v>
                </c:pt>
                <c:pt idx="265">
                  <c:v>-0.36919540115999999</c:v>
                </c:pt>
                <c:pt idx="266">
                  <c:v>-0.36144710042</c:v>
                </c:pt>
                <c:pt idx="267">
                  <c:v>-0.32829083864000003</c:v>
                </c:pt>
                <c:pt idx="268">
                  <c:v>-0.29371973205000002</c:v>
                </c:pt>
                <c:pt idx="269">
                  <c:v>-0.28259011026999997</c:v>
                </c:pt>
                <c:pt idx="270">
                  <c:v>-0.24842389759</c:v>
                </c:pt>
                <c:pt idx="271">
                  <c:v>-0.2035054644</c:v>
                </c:pt>
                <c:pt idx="272">
                  <c:v>-0.22710482728</c:v>
                </c:pt>
                <c:pt idx="273">
                  <c:v>-0.18141479111</c:v>
                </c:pt>
                <c:pt idx="274">
                  <c:v>-0.20641446076</c:v>
                </c:pt>
                <c:pt idx="275">
                  <c:v>-0.24282025496000001</c:v>
                </c:pt>
                <c:pt idx="276">
                  <c:v>-0.28335512864000001</c:v>
                </c:pt>
                <c:pt idx="277">
                  <c:v>-0.27890048111999999</c:v>
                </c:pt>
                <c:pt idx="278">
                  <c:v>-0.22820778041000001</c:v>
                </c:pt>
                <c:pt idx="279">
                  <c:v>-0.31189184847000001</c:v>
                </c:pt>
                <c:pt idx="280">
                  <c:v>-0.31397368842000001</c:v>
                </c:pt>
                <c:pt idx="281">
                  <c:v>-0.29471736400999998</c:v>
                </c:pt>
                <c:pt idx="282">
                  <c:v>-0.29545321810000003</c:v>
                </c:pt>
                <c:pt idx="283">
                  <c:v>-0.33581834728999999</c:v>
                </c:pt>
                <c:pt idx="284">
                  <c:v>-0.33452334513999998</c:v>
                </c:pt>
                <c:pt idx="285">
                  <c:v>-0.29524607492999999</c:v>
                </c:pt>
                <c:pt idx="286">
                  <c:v>-0.33238624173999998</c:v>
                </c:pt>
                <c:pt idx="287">
                  <c:v>-0.36820396821000001</c:v>
                </c:pt>
                <c:pt idx="288">
                  <c:v>-0.39804716847999999</c:v>
                </c:pt>
                <c:pt idx="289">
                  <c:v>-0.42026262709000001</c:v>
                </c:pt>
                <c:pt idx="290">
                  <c:v>-0.44398429527</c:v>
                </c:pt>
                <c:pt idx="291">
                  <c:v>-0.42994317305000002</c:v>
                </c:pt>
                <c:pt idx="292">
                  <c:v>-0.35874064705999997</c:v>
                </c:pt>
                <c:pt idx="293">
                  <c:v>-0.41374489790000002</c:v>
                </c:pt>
                <c:pt idx="294">
                  <c:v>-0.37764848661</c:v>
                </c:pt>
                <c:pt idx="295">
                  <c:v>-0.28296658861000001</c:v>
                </c:pt>
                <c:pt idx="296">
                  <c:v>-0.24565029962000001</c:v>
                </c:pt>
                <c:pt idx="297">
                  <c:v>-0.17531024814999999</c:v>
                </c:pt>
                <c:pt idx="298">
                  <c:v>-0.17234588648999999</c:v>
                </c:pt>
                <c:pt idx="299">
                  <c:v>-0.11792997316000001</c:v>
                </c:pt>
                <c:pt idx="300">
                  <c:v>-6.3381183159999993E-2</c:v>
                </c:pt>
                <c:pt idx="301">
                  <c:v>7.8421052860000007E-2</c:v>
                </c:pt>
                <c:pt idx="302">
                  <c:v>0.12573209846</c:v>
                </c:pt>
                <c:pt idx="303">
                  <c:v>0.16814504496999999</c:v>
                </c:pt>
                <c:pt idx="304">
                  <c:v>0.16812790781</c:v>
                </c:pt>
                <c:pt idx="305">
                  <c:v>0.21720146243999999</c:v>
                </c:pt>
                <c:pt idx="306">
                  <c:v>0.34638041138999998</c:v>
                </c:pt>
                <c:pt idx="307">
                  <c:v>0.41192582049999998</c:v>
                </c:pt>
                <c:pt idx="308">
                  <c:v>0.49078435689</c:v>
                </c:pt>
                <c:pt idx="309">
                  <c:v>0.72426080866999998</c:v>
                </c:pt>
                <c:pt idx="310">
                  <c:v>0.77901699431000004</c:v>
                </c:pt>
                <c:pt idx="311">
                  <c:v>0.94488577486000003</c:v>
                </c:pt>
                <c:pt idx="312">
                  <c:v>0.90465768874999997</c:v>
                </c:pt>
                <c:pt idx="313">
                  <c:v>0.78890436195000002</c:v>
                </c:pt>
                <c:pt idx="314">
                  <c:v>0.48950233977000002</c:v>
                </c:pt>
                <c:pt idx="315">
                  <c:v>0.42451613854999998</c:v>
                </c:pt>
                <c:pt idx="316">
                  <c:v>0.28968298835</c:v>
                </c:pt>
                <c:pt idx="317">
                  <c:v>0.16684446989999999</c:v>
                </c:pt>
                <c:pt idx="318">
                  <c:v>-2.914204863E-2</c:v>
                </c:pt>
                <c:pt idx="319">
                  <c:v>-4.7385654940000001E-2</c:v>
                </c:pt>
                <c:pt idx="320">
                  <c:v>-3.6859411760000002E-2</c:v>
                </c:pt>
                <c:pt idx="321">
                  <c:v>-8.0670814770000002E-2</c:v>
                </c:pt>
                <c:pt idx="322">
                  <c:v>-0.10512443193</c:v>
                </c:pt>
                <c:pt idx="323">
                  <c:v>-7.0310781409999995E-2</c:v>
                </c:pt>
                <c:pt idx="324">
                  <c:v>-1.9334433700000001E-2</c:v>
                </c:pt>
                <c:pt idx="325">
                  <c:v>-3.6918881600000002E-2</c:v>
                </c:pt>
                <c:pt idx="326">
                  <c:v>-8.6789524709999996E-2</c:v>
                </c:pt>
                <c:pt idx="327">
                  <c:v>-0.12301748785</c:v>
                </c:pt>
                <c:pt idx="328">
                  <c:v>-0.21175026578</c:v>
                </c:pt>
                <c:pt idx="329">
                  <c:v>-0.22648992719</c:v>
                </c:pt>
                <c:pt idx="330">
                  <c:v>-0.22165162768999999</c:v>
                </c:pt>
                <c:pt idx="331">
                  <c:v>-0.14054729777</c:v>
                </c:pt>
                <c:pt idx="332">
                  <c:v>-0.18238309738</c:v>
                </c:pt>
                <c:pt idx="333">
                  <c:v>-0.14098296293000001</c:v>
                </c:pt>
                <c:pt idx="334">
                  <c:v>-0.12190426408</c:v>
                </c:pt>
                <c:pt idx="335">
                  <c:v>-0.20952843692000001</c:v>
                </c:pt>
                <c:pt idx="336">
                  <c:v>-0.14244205430000001</c:v>
                </c:pt>
                <c:pt idx="337">
                  <c:v>-1.4030824189999999E-2</c:v>
                </c:pt>
                <c:pt idx="338">
                  <c:v>2.2400998209999998E-2</c:v>
                </c:pt>
                <c:pt idx="339">
                  <c:v>3.1847577689999997E-2</c:v>
                </c:pt>
                <c:pt idx="340">
                  <c:v>5.6780476500000003E-2</c:v>
                </c:pt>
                <c:pt idx="341">
                  <c:v>9.589921085E-2</c:v>
                </c:pt>
                <c:pt idx="342">
                  <c:v>8.3670416309999995E-2</c:v>
                </c:pt>
                <c:pt idx="343">
                  <c:v>7.79363483E-2</c:v>
                </c:pt>
                <c:pt idx="344">
                  <c:v>0.11690928532</c:v>
                </c:pt>
                <c:pt idx="345">
                  <c:v>0.24351924821000001</c:v>
                </c:pt>
                <c:pt idx="346">
                  <c:v>0.16158374482000001</c:v>
                </c:pt>
                <c:pt idx="347">
                  <c:v>9.5910596959999997E-2</c:v>
                </c:pt>
                <c:pt idx="348">
                  <c:v>3.8665982520000003E-2</c:v>
                </c:pt>
                <c:pt idx="349">
                  <c:v>-5.4539780240000002E-2</c:v>
                </c:pt>
                <c:pt idx="350">
                  <c:v>-5.8212369999999999E-3</c:v>
                </c:pt>
                <c:pt idx="351">
                  <c:v>4.4171297159999998E-2</c:v>
                </c:pt>
                <c:pt idx="352">
                  <c:v>6.0011381129999999E-2</c:v>
                </c:pt>
                <c:pt idx="353">
                  <c:v>9.7900581899999992E-3</c:v>
                </c:pt>
                <c:pt idx="354">
                  <c:v>4.18045872E-2</c:v>
                </c:pt>
                <c:pt idx="355">
                  <c:v>4.6129516180000003E-2</c:v>
                </c:pt>
                <c:pt idx="356">
                  <c:v>-5.9682991630000001E-2</c:v>
                </c:pt>
                <c:pt idx="357">
                  <c:v>-7.9951416469999995E-2</c:v>
                </c:pt>
                <c:pt idx="358">
                  <c:v>2.1964789509999999E-2</c:v>
                </c:pt>
                <c:pt idx="359">
                  <c:v>0.16255980263</c:v>
                </c:pt>
                <c:pt idx="360">
                  <c:v>0.18337633475000001</c:v>
                </c:pt>
                <c:pt idx="361">
                  <c:v>0.26676207548999997</c:v>
                </c:pt>
                <c:pt idx="362">
                  <c:v>0.25065384028999999</c:v>
                </c:pt>
                <c:pt idx="363">
                  <c:v>0.23263982959000001</c:v>
                </c:pt>
                <c:pt idx="364">
                  <c:v>0.25709372987000001</c:v>
                </c:pt>
                <c:pt idx="365">
                  <c:v>0.25626687732999998</c:v>
                </c:pt>
                <c:pt idx="366">
                  <c:v>0.33423741065000001</c:v>
                </c:pt>
                <c:pt idx="367">
                  <c:v>0.36397771838999998</c:v>
                </c:pt>
                <c:pt idx="368">
                  <c:v>0.39548729278</c:v>
                </c:pt>
                <c:pt idx="369">
                  <c:v>0.33022281313000001</c:v>
                </c:pt>
                <c:pt idx="370">
                  <c:v>0.33310297412000001</c:v>
                </c:pt>
                <c:pt idx="371">
                  <c:v>0.59477528145000003</c:v>
                </c:pt>
                <c:pt idx="372">
                  <c:v>0.75173366414999998</c:v>
                </c:pt>
                <c:pt idx="373">
                  <c:v>0.78012582563999999</c:v>
                </c:pt>
                <c:pt idx="374">
                  <c:v>0.60258051378999999</c:v>
                </c:pt>
                <c:pt idx="375">
                  <c:v>0.56413805515000004</c:v>
                </c:pt>
                <c:pt idx="376">
                  <c:v>0.45853109112000001</c:v>
                </c:pt>
                <c:pt idx="377">
                  <c:v>0.38837653792999999</c:v>
                </c:pt>
                <c:pt idx="378">
                  <c:v>0.33702337779000002</c:v>
                </c:pt>
                <c:pt idx="379">
                  <c:v>0.31384929413000001</c:v>
                </c:pt>
                <c:pt idx="380">
                  <c:v>0.30420471503000002</c:v>
                </c:pt>
                <c:pt idx="381">
                  <c:v>0.21072117436999999</c:v>
                </c:pt>
                <c:pt idx="382">
                  <c:v>0.21949626259999999</c:v>
                </c:pt>
                <c:pt idx="383">
                  <c:v>0.15923193792000001</c:v>
                </c:pt>
                <c:pt idx="384">
                  <c:v>5.6169608019999998E-2</c:v>
                </c:pt>
                <c:pt idx="385">
                  <c:v>4.3347032760000001E-2</c:v>
                </c:pt>
                <c:pt idx="386">
                  <c:v>1.7254132790000001E-2</c:v>
                </c:pt>
                <c:pt idx="387">
                  <c:v>3.3777918699999999E-2</c:v>
                </c:pt>
                <c:pt idx="388">
                  <c:v>-7.2343138899999999E-3</c:v>
                </c:pt>
                <c:pt idx="389">
                  <c:v>3.3783282159999997E-2</c:v>
                </c:pt>
                <c:pt idx="390">
                  <c:v>-6.1452146600000004E-3</c:v>
                </c:pt>
                <c:pt idx="391">
                  <c:v>-2.0426747160000001E-2</c:v>
                </c:pt>
                <c:pt idx="392">
                  <c:v>1.11531585E-2</c:v>
                </c:pt>
                <c:pt idx="393">
                  <c:v>9.084716189E-2</c:v>
                </c:pt>
                <c:pt idx="394">
                  <c:v>0.3447419451</c:v>
                </c:pt>
                <c:pt idx="395">
                  <c:v>0.37952040409999999</c:v>
                </c:pt>
                <c:pt idx="396">
                  <c:v>0.42737695368</c:v>
                </c:pt>
                <c:pt idx="397">
                  <c:v>0.35998379434</c:v>
                </c:pt>
                <c:pt idx="398">
                  <c:v>0.36931892704000002</c:v>
                </c:pt>
                <c:pt idx="399">
                  <c:v>0.48394856582000001</c:v>
                </c:pt>
                <c:pt idx="400">
                  <c:v>0.49031621447000001</c:v>
                </c:pt>
                <c:pt idx="401">
                  <c:v>0.45843247446000002</c:v>
                </c:pt>
                <c:pt idx="402">
                  <c:v>0.29568379406</c:v>
                </c:pt>
                <c:pt idx="403">
                  <c:v>0.2766555926</c:v>
                </c:pt>
                <c:pt idx="404">
                  <c:v>0.22289037897</c:v>
                </c:pt>
                <c:pt idx="405">
                  <c:v>0.2006593367</c:v>
                </c:pt>
                <c:pt idx="406">
                  <c:v>0.20557004145999999</c:v>
                </c:pt>
                <c:pt idx="407">
                  <c:v>0.20897493529</c:v>
                </c:pt>
                <c:pt idx="408">
                  <c:v>0.33741672432999997</c:v>
                </c:pt>
                <c:pt idx="409">
                  <c:v>0.30504297852000001</c:v>
                </c:pt>
                <c:pt idx="410">
                  <c:v>0.35224964165</c:v>
                </c:pt>
                <c:pt idx="411">
                  <c:v>0.28783155462999999</c:v>
                </c:pt>
                <c:pt idx="412">
                  <c:v>0.27048166769999998</c:v>
                </c:pt>
                <c:pt idx="413">
                  <c:v>0.39682462027999998</c:v>
                </c:pt>
                <c:pt idx="414">
                  <c:v>0.49600120408999998</c:v>
                </c:pt>
                <c:pt idx="415">
                  <c:v>0.60218196591999995</c:v>
                </c:pt>
                <c:pt idx="416">
                  <c:v>0.5923257623</c:v>
                </c:pt>
                <c:pt idx="417">
                  <c:v>0.61445082456</c:v>
                </c:pt>
                <c:pt idx="418">
                  <c:v>0.48385716818000002</c:v>
                </c:pt>
                <c:pt idx="419">
                  <c:v>0.36434182574000001</c:v>
                </c:pt>
                <c:pt idx="420">
                  <c:v>0.31576694518999998</c:v>
                </c:pt>
                <c:pt idx="421">
                  <c:v>0.23063432546000001</c:v>
                </c:pt>
                <c:pt idx="422">
                  <c:v>0.23402098971999999</c:v>
                </c:pt>
                <c:pt idx="423">
                  <c:v>0.19357930602000001</c:v>
                </c:pt>
                <c:pt idx="424">
                  <c:v>0.23277407173</c:v>
                </c:pt>
                <c:pt idx="425">
                  <c:v>0.18284974862</c:v>
                </c:pt>
                <c:pt idx="426">
                  <c:v>0.19644057265000001</c:v>
                </c:pt>
                <c:pt idx="427">
                  <c:v>0.36942281048999998</c:v>
                </c:pt>
                <c:pt idx="428">
                  <c:v>0.58144593391999999</c:v>
                </c:pt>
                <c:pt idx="429">
                  <c:v>0.67421718804999997</c:v>
                </c:pt>
                <c:pt idx="430">
                  <c:v>0.68253808666000004</c:v>
                </c:pt>
                <c:pt idx="431">
                  <c:v>0.69551054141000002</c:v>
                </c:pt>
                <c:pt idx="432">
                  <c:v>0.63066889037999996</c:v>
                </c:pt>
                <c:pt idx="433">
                  <c:v>0.50520575083999997</c:v>
                </c:pt>
                <c:pt idx="434">
                  <c:v>0.39778668292000002</c:v>
                </c:pt>
                <c:pt idx="435">
                  <c:v>0.25180232120000001</c:v>
                </c:pt>
                <c:pt idx="436">
                  <c:v>0.17335351277</c:v>
                </c:pt>
                <c:pt idx="437">
                  <c:v>0.11912963102</c:v>
                </c:pt>
                <c:pt idx="438">
                  <c:v>0.13774667230000001</c:v>
                </c:pt>
                <c:pt idx="439">
                  <c:v>0.11097545775999999</c:v>
                </c:pt>
                <c:pt idx="440">
                  <c:v>1.576504477E-2</c:v>
                </c:pt>
                <c:pt idx="441">
                  <c:v>1.52690585E-2</c:v>
                </c:pt>
                <c:pt idx="442">
                  <c:v>6.201270239E-2</c:v>
                </c:pt>
                <c:pt idx="443">
                  <c:v>0.10016262929</c:v>
                </c:pt>
                <c:pt idx="444">
                  <c:v>0.15373530105</c:v>
                </c:pt>
                <c:pt idx="445">
                  <c:v>0.16934786629000001</c:v>
                </c:pt>
                <c:pt idx="446">
                  <c:v>0.18249859299999999</c:v>
                </c:pt>
                <c:pt idx="447">
                  <c:v>0.13552909116</c:v>
                </c:pt>
                <c:pt idx="448">
                  <c:v>0.16354655710999999</c:v>
                </c:pt>
                <c:pt idx="449">
                  <c:v>0.14284336723999999</c:v>
                </c:pt>
                <c:pt idx="450">
                  <c:v>0.13631849942999999</c:v>
                </c:pt>
                <c:pt idx="451">
                  <c:v>9.563524139E-2</c:v>
                </c:pt>
                <c:pt idx="452">
                  <c:v>7.7234809609999996E-2</c:v>
                </c:pt>
                <c:pt idx="453">
                  <c:v>8.2479644000000005E-2</c:v>
                </c:pt>
                <c:pt idx="454">
                  <c:v>2.396687003E-2</c:v>
                </c:pt>
                <c:pt idx="455">
                  <c:v>2.5651858279999998E-2</c:v>
                </c:pt>
                <c:pt idx="456">
                  <c:v>3.9321891150000003E-2</c:v>
                </c:pt>
                <c:pt idx="457">
                  <c:v>-1.5847111109999999E-2</c:v>
                </c:pt>
                <c:pt idx="458">
                  <c:v>-2.1301164359999999E-2</c:v>
                </c:pt>
                <c:pt idx="459">
                  <c:v>-2.104058449E-2</c:v>
                </c:pt>
                <c:pt idx="460">
                  <c:v>-2.7530194290000001E-2</c:v>
                </c:pt>
                <c:pt idx="461">
                  <c:v>-6.7016036340000001E-2</c:v>
                </c:pt>
                <c:pt idx="462">
                  <c:v>-5.8607272449999998E-2</c:v>
                </c:pt>
                <c:pt idx="463">
                  <c:v>-9.6828680959999996E-2</c:v>
                </c:pt>
                <c:pt idx="464">
                  <c:v>-8.6969958779999995E-2</c:v>
                </c:pt>
                <c:pt idx="465">
                  <c:v>-9.5965239120000004E-2</c:v>
                </c:pt>
                <c:pt idx="466">
                  <c:v>-9.5298033719999994E-2</c:v>
                </c:pt>
                <c:pt idx="467">
                  <c:v>-8.6268348349999996E-2</c:v>
                </c:pt>
                <c:pt idx="468">
                  <c:v>-0.11556937963</c:v>
                </c:pt>
                <c:pt idx="469">
                  <c:v>-0.118504122</c:v>
                </c:pt>
                <c:pt idx="470">
                  <c:v>-0.11535276546000001</c:v>
                </c:pt>
                <c:pt idx="471">
                  <c:v>-0.12293423923000001</c:v>
                </c:pt>
                <c:pt idx="472">
                  <c:v>-0.12638103771</c:v>
                </c:pt>
                <c:pt idx="473">
                  <c:v>-0.13277917275000001</c:v>
                </c:pt>
                <c:pt idx="474">
                  <c:v>-0.11976510424</c:v>
                </c:pt>
                <c:pt idx="475">
                  <c:v>-0.14704133893999999</c:v>
                </c:pt>
                <c:pt idx="476">
                  <c:v>-0.15115534689999999</c:v>
                </c:pt>
                <c:pt idx="477">
                  <c:v>-0.15336582957</c:v>
                </c:pt>
                <c:pt idx="478">
                  <c:v>-0.14836329097000001</c:v>
                </c:pt>
                <c:pt idx="479">
                  <c:v>-0.14240565964999999</c:v>
                </c:pt>
                <c:pt idx="480">
                  <c:v>-0.14322380525</c:v>
                </c:pt>
                <c:pt idx="481">
                  <c:v>-0.13645731186000001</c:v>
                </c:pt>
                <c:pt idx="482">
                  <c:v>-0.14659320938000001</c:v>
                </c:pt>
                <c:pt idx="483">
                  <c:v>-9.9627774360000004E-2</c:v>
                </c:pt>
                <c:pt idx="484">
                  <c:v>-9.7061475100000006E-3</c:v>
                </c:pt>
                <c:pt idx="485">
                  <c:v>7.780953501E-2</c:v>
                </c:pt>
                <c:pt idx="486">
                  <c:v>0.11856574369</c:v>
                </c:pt>
                <c:pt idx="487">
                  <c:v>0.15610799794999999</c:v>
                </c:pt>
                <c:pt idx="488">
                  <c:v>0.15266832256999999</c:v>
                </c:pt>
                <c:pt idx="489">
                  <c:v>6.2086313429999998E-2</c:v>
                </c:pt>
                <c:pt idx="490">
                  <c:v>8.0523124730000006E-2</c:v>
                </c:pt>
                <c:pt idx="491">
                  <c:v>3.206267308E-2</c:v>
                </c:pt>
                <c:pt idx="492">
                  <c:v>-8.3681416489999993E-2</c:v>
                </c:pt>
                <c:pt idx="493">
                  <c:v>-0.14994384491000001</c:v>
                </c:pt>
                <c:pt idx="494">
                  <c:v>-0.15461217300999999</c:v>
                </c:pt>
                <c:pt idx="495">
                  <c:v>-0.12561145517</c:v>
                </c:pt>
                <c:pt idx="496">
                  <c:v>-0.18247528381</c:v>
                </c:pt>
                <c:pt idx="497">
                  <c:v>-0.14815121189</c:v>
                </c:pt>
                <c:pt idx="498">
                  <c:v>-7.7130446909999997E-2</c:v>
                </c:pt>
                <c:pt idx="499">
                  <c:v>4.6639963329999999E-2</c:v>
                </c:pt>
                <c:pt idx="500">
                  <c:v>0.17612694692</c:v>
                </c:pt>
                <c:pt idx="501">
                  <c:v>0.23210385628999999</c:v>
                </c:pt>
                <c:pt idx="502">
                  <c:v>0.31817375196999997</c:v>
                </c:pt>
                <c:pt idx="503">
                  <c:v>0.37302942862999999</c:v>
                </c:pt>
                <c:pt idx="504">
                  <c:v>0.49626713424000002</c:v>
                </c:pt>
                <c:pt idx="505">
                  <c:v>0.56911826104999996</c:v>
                </c:pt>
                <c:pt idx="506">
                  <c:v>0.56446224675000001</c:v>
                </c:pt>
                <c:pt idx="507">
                  <c:v>0.522475362</c:v>
                </c:pt>
                <c:pt idx="508">
                  <c:v>0.48565502830000001</c:v>
                </c:pt>
                <c:pt idx="509">
                  <c:v>0.42545590215000001</c:v>
                </c:pt>
                <c:pt idx="510">
                  <c:v>0.26146986346000001</c:v>
                </c:pt>
                <c:pt idx="511">
                  <c:v>0.17660569788</c:v>
                </c:pt>
                <c:pt idx="512">
                  <c:v>0.20738336188000001</c:v>
                </c:pt>
                <c:pt idx="513">
                  <c:v>0.17465731589</c:v>
                </c:pt>
                <c:pt idx="514">
                  <c:v>0.19146069615</c:v>
                </c:pt>
                <c:pt idx="515">
                  <c:v>0.14044269089</c:v>
                </c:pt>
                <c:pt idx="516">
                  <c:v>0.1811237487</c:v>
                </c:pt>
                <c:pt idx="517">
                  <c:v>0.12546870772999999</c:v>
                </c:pt>
                <c:pt idx="518">
                  <c:v>0.12196227585</c:v>
                </c:pt>
                <c:pt idx="519">
                  <c:v>0.11461106649</c:v>
                </c:pt>
                <c:pt idx="520">
                  <c:v>0.11115015435</c:v>
                </c:pt>
                <c:pt idx="521">
                  <c:v>9.4976022209999997E-2</c:v>
                </c:pt>
                <c:pt idx="522">
                  <c:v>0.11521609752</c:v>
                </c:pt>
                <c:pt idx="523">
                  <c:v>9.7423524669999997E-2</c:v>
                </c:pt>
                <c:pt idx="524">
                  <c:v>4.6204323640000003E-2</c:v>
                </c:pt>
                <c:pt idx="525">
                  <c:v>-1.4266177430000001E-2</c:v>
                </c:pt>
                <c:pt idx="526">
                  <c:v>1.6913398529999998E-2</c:v>
                </c:pt>
                <c:pt idx="527">
                  <c:v>7.2635581999999999E-3</c:v>
                </c:pt>
                <c:pt idx="528">
                  <c:v>1.8228426610000001E-2</c:v>
                </c:pt>
                <c:pt idx="529">
                  <c:v>-4.6320465300000002E-2</c:v>
                </c:pt>
                <c:pt idx="530">
                  <c:v>-2.7454398399999998E-3</c:v>
                </c:pt>
                <c:pt idx="531">
                  <c:v>-6.7646378399999998E-2</c:v>
                </c:pt>
                <c:pt idx="532">
                  <c:v>-4.8449822029999999E-2</c:v>
                </c:pt>
                <c:pt idx="533">
                  <c:v>-4.7638687020000001E-2</c:v>
                </c:pt>
                <c:pt idx="534">
                  <c:v>-4.5876257589999997E-2</c:v>
                </c:pt>
                <c:pt idx="535">
                  <c:v>-8.0863146260000004E-2</c:v>
                </c:pt>
                <c:pt idx="536">
                  <c:v>-5.0381904040000001E-2</c:v>
                </c:pt>
                <c:pt idx="537">
                  <c:v>-3.917749374E-2</c:v>
                </c:pt>
                <c:pt idx="538">
                  <c:v>-3.779194701E-2</c:v>
                </c:pt>
                <c:pt idx="539">
                  <c:v>-3.6858724189999997E-2</c:v>
                </c:pt>
                <c:pt idx="540">
                  <c:v>7.4361313399999998E-3</c:v>
                </c:pt>
                <c:pt idx="541">
                  <c:v>2.8366206870000001E-2</c:v>
                </c:pt>
                <c:pt idx="542">
                  <c:v>6.6593119640000004E-2</c:v>
                </c:pt>
                <c:pt idx="543">
                  <c:v>7.781039036999999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1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Z_indik_testu_65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1.3173188686E-2</c:v>
                </c:pt>
                <c:pt idx="1">
                  <c:v>2.2382671480000001E-2</c:v>
                </c:pt>
                <c:pt idx="2">
                  <c:v>3.1992084432000002E-2</c:v>
                </c:pt>
                <c:pt idx="3">
                  <c:v>4.2370279397999998E-2</c:v>
                </c:pt>
                <c:pt idx="4">
                  <c:v>4.9746797735999999E-2</c:v>
                </c:pt>
                <c:pt idx="5">
                  <c:v>5.3348796752000001E-2</c:v>
                </c:pt>
                <c:pt idx="6">
                  <c:v>6.0120240480000003E-2</c:v>
                </c:pt>
                <c:pt idx="7">
                  <c:v>6.6720691518000003E-2</c:v>
                </c:pt>
                <c:pt idx="8">
                  <c:v>7.2200263503999995E-2</c:v>
                </c:pt>
                <c:pt idx="9">
                  <c:v>7.7059120768000006E-2</c:v>
                </c:pt>
                <c:pt idx="10">
                  <c:v>7.9605414085000006E-2</c:v>
                </c:pt>
                <c:pt idx="11">
                  <c:v>9.7085342839E-2</c:v>
                </c:pt>
                <c:pt idx="12">
                  <c:v>0.100224078223</c:v>
                </c:pt>
                <c:pt idx="13">
                  <c:v>9.9980472562999995E-2</c:v>
                </c:pt>
                <c:pt idx="14">
                  <c:v>0.102381398837</c:v>
                </c:pt>
                <c:pt idx="15">
                  <c:v>0.107541427122</c:v>
                </c:pt>
                <c:pt idx="16">
                  <c:v>0.116071428571</c:v>
                </c:pt>
                <c:pt idx="17">
                  <c:v>0.122629969418</c:v>
                </c:pt>
                <c:pt idx="18">
                  <c:v>0.11622125543800001</c:v>
                </c:pt>
                <c:pt idx="19">
                  <c:v>0.11477652782</c:v>
                </c:pt>
                <c:pt idx="20">
                  <c:v>0.116051902609</c:v>
                </c:pt>
                <c:pt idx="21">
                  <c:v>0.122344944774</c:v>
                </c:pt>
                <c:pt idx="22">
                  <c:v>0.12366560376999999</c:v>
                </c:pt>
                <c:pt idx="23">
                  <c:v>0.130281211791</c:v>
                </c:pt>
                <c:pt idx="24">
                  <c:v>0.14078110808300001</c:v>
                </c:pt>
                <c:pt idx="25">
                  <c:v>0.14407209951700001</c:v>
                </c:pt>
                <c:pt idx="26">
                  <c:v>0.146060378303</c:v>
                </c:pt>
                <c:pt idx="27">
                  <c:v>0.156983606557</c:v>
                </c:pt>
                <c:pt idx="28">
                  <c:v>0.16034571723400001</c:v>
                </c:pt>
                <c:pt idx="29">
                  <c:v>0.16682738669200001</c:v>
                </c:pt>
                <c:pt idx="30">
                  <c:v>0.17779069767399999</c:v>
                </c:pt>
                <c:pt idx="31">
                  <c:v>0.18621603711000001</c:v>
                </c:pt>
                <c:pt idx="32">
                  <c:v>0.194694960212</c:v>
                </c:pt>
                <c:pt idx="33">
                  <c:v>0.20254605671699999</c:v>
                </c:pt>
                <c:pt idx="34">
                  <c:v>0.21259988849600001</c:v>
                </c:pt>
                <c:pt idx="35">
                  <c:v>0.222019147084</c:v>
                </c:pt>
                <c:pt idx="36">
                  <c:v>0.239334290783</c:v>
                </c:pt>
                <c:pt idx="37">
                  <c:v>0.25448680836900001</c:v>
                </c:pt>
                <c:pt idx="38">
                  <c:v>0.287648323644</c:v>
                </c:pt>
                <c:pt idx="39">
                  <c:v>0.29792219965599998</c:v>
                </c:pt>
                <c:pt idx="40">
                  <c:v>0.30487246066899998</c:v>
                </c:pt>
                <c:pt idx="41">
                  <c:v>0.30794474547799999</c:v>
                </c:pt>
                <c:pt idx="42">
                  <c:v>0.31860248224400001</c:v>
                </c:pt>
                <c:pt idx="43">
                  <c:v>0.32557826788499999</c:v>
                </c:pt>
                <c:pt idx="44">
                  <c:v>0.33374004623600001</c:v>
                </c:pt>
                <c:pt idx="45">
                  <c:v>0.32429365031899998</c:v>
                </c:pt>
                <c:pt idx="46">
                  <c:v>0.333835930083</c:v>
                </c:pt>
                <c:pt idx="47">
                  <c:v>0.33923639317600002</c:v>
                </c:pt>
                <c:pt idx="48">
                  <c:v>0.34646801952200001</c:v>
                </c:pt>
                <c:pt idx="49">
                  <c:v>0.35447852162400001</c:v>
                </c:pt>
                <c:pt idx="50">
                  <c:v>0.36672349444699998</c:v>
                </c:pt>
                <c:pt idx="51">
                  <c:v>0.369977678571</c:v>
                </c:pt>
                <c:pt idx="52">
                  <c:v>0.38683416670100002</c:v>
                </c:pt>
                <c:pt idx="53">
                  <c:v>0.39261704920599999</c:v>
                </c:pt>
                <c:pt idx="54">
                  <c:v>0.39581299066499998</c:v>
                </c:pt>
                <c:pt idx="55">
                  <c:v>0.39486739527699999</c:v>
                </c:pt>
                <c:pt idx="56">
                  <c:v>0.39848237713599999</c:v>
                </c:pt>
                <c:pt idx="57">
                  <c:v>0.40264825229500001</c:v>
                </c:pt>
                <c:pt idx="58">
                  <c:v>0.40501944149800001</c:v>
                </c:pt>
                <c:pt idx="59">
                  <c:v>0.39465247936699999</c:v>
                </c:pt>
                <c:pt idx="60">
                  <c:v>0.38924284085499999</c:v>
                </c:pt>
                <c:pt idx="61">
                  <c:v>0.388030823631</c:v>
                </c:pt>
                <c:pt idx="62">
                  <c:v>0.39471555675300002</c:v>
                </c:pt>
                <c:pt idx="63">
                  <c:v>0.386629281805</c:v>
                </c:pt>
                <c:pt idx="64">
                  <c:v>0.38894360186400001</c:v>
                </c:pt>
                <c:pt idx="65">
                  <c:v>0.38689338937700002</c:v>
                </c:pt>
                <c:pt idx="66">
                  <c:v>0.382804013035</c:v>
                </c:pt>
                <c:pt idx="67">
                  <c:v>0.38046029469199999</c:v>
                </c:pt>
                <c:pt idx="68">
                  <c:v>0.37622214832</c:v>
                </c:pt>
                <c:pt idx="69">
                  <c:v>0.35846046465199999</c:v>
                </c:pt>
                <c:pt idx="70">
                  <c:v>0.34730677607100002</c:v>
                </c:pt>
                <c:pt idx="71">
                  <c:v>0.32751695529000002</c:v>
                </c:pt>
                <c:pt idx="72">
                  <c:v>0.317669302165</c:v>
                </c:pt>
                <c:pt idx="73">
                  <c:v>0.30982753705799998</c:v>
                </c:pt>
                <c:pt idx="74">
                  <c:v>0.30532725642500003</c:v>
                </c:pt>
                <c:pt idx="75">
                  <c:v>0.29828301671200003</c:v>
                </c:pt>
                <c:pt idx="76">
                  <c:v>0.29032016756399998</c:v>
                </c:pt>
                <c:pt idx="77">
                  <c:v>0.29043698543300001</c:v>
                </c:pt>
                <c:pt idx="78">
                  <c:v>0.27553315936200001</c:v>
                </c:pt>
                <c:pt idx="79">
                  <c:v>0.26439729540599999</c:v>
                </c:pt>
                <c:pt idx="80">
                  <c:v>0.25834235653100002</c:v>
                </c:pt>
                <c:pt idx="81">
                  <c:v>0.247086131963</c:v>
                </c:pt>
                <c:pt idx="82">
                  <c:v>0.24750161587</c:v>
                </c:pt>
                <c:pt idx="83">
                  <c:v>0.23999802185800001</c:v>
                </c:pt>
                <c:pt idx="84">
                  <c:v>0.23992879894999999</c:v>
                </c:pt>
                <c:pt idx="85">
                  <c:v>0.24094754653100001</c:v>
                </c:pt>
                <c:pt idx="86">
                  <c:v>0.237246161466</c:v>
                </c:pt>
                <c:pt idx="87">
                  <c:v>0.22850406340900001</c:v>
                </c:pt>
                <c:pt idx="88">
                  <c:v>0.225278356805</c:v>
                </c:pt>
                <c:pt idx="89">
                  <c:v>0.22455120359</c:v>
                </c:pt>
                <c:pt idx="90">
                  <c:v>0.21959777940700001</c:v>
                </c:pt>
                <c:pt idx="91">
                  <c:v>0.215793963954</c:v>
                </c:pt>
                <c:pt idx="92">
                  <c:v>0.21387868136499999</c:v>
                </c:pt>
                <c:pt idx="93">
                  <c:v>0.211420582858</c:v>
                </c:pt>
                <c:pt idx="94">
                  <c:v>0.21382113821099999</c:v>
                </c:pt>
                <c:pt idx="95">
                  <c:v>0.22452892199800001</c:v>
                </c:pt>
                <c:pt idx="96">
                  <c:v>0.223210364514</c:v>
                </c:pt>
                <c:pt idx="97">
                  <c:v>0.236315999316</c:v>
                </c:pt>
                <c:pt idx="98">
                  <c:v>0.24147262784000001</c:v>
                </c:pt>
                <c:pt idx="99">
                  <c:v>0.25576836917500001</c:v>
                </c:pt>
                <c:pt idx="100">
                  <c:v>0.26356632115700002</c:v>
                </c:pt>
                <c:pt idx="101">
                  <c:v>0.263889628722</c:v>
                </c:pt>
                <c:pt idx="102">
                  <c:v>0.260622931876</c:v>
                </c:pt>
                <c:pt idx="103">
                  <c:v>0.26483470643399998</c:v>
                </c:pt>
                <c:pt idx="104">
                  <c:v>0.26636545669200001</c:v>
                </c:pt>
                <c:pt idx="105">
                  <c:v>0.26948480845400002</c:v>
                </c:pt>
                <c:pt idx="106">
                  <c:v>0.26813349814499998</c:v>
                </c:pt>
                <c:pt idx="107">
                  <c:v>0.26951448821099999</c:v>
                </c:pt>
                <c:pt idx="108">
                  <c:v>0.27930494231500003</c:v>
                </c:pt>
                <c:pt idx="109">
                  <c:v>0.27669117307000002</c:v>
                </c:pt>
                <c:pt idx="110">
                  <c:v>0.27869450268899998</c:v>
                </c:pt>
                <c:pt idx="111">
                  <c:v>0.28292317191400002</c:v>
                </c:pt>
                <c:pt idx="112">
                  <c:v>0.285768357305</c:v>
                </c:pt>
                <c:pt idx="113">
                  <c:v>0.299548018079</c:v>
                </c:pt>
                <c:pt idx="114">
                  <c:v>0.30522912935199997</c:v>
                </c:pt>
                <c:pt idx="115">
                  <c:v>0.30575486894100001</c:v>
                </c:pt>
                <c:pt idx="116">
                  <c:v>0.31006534623300003</c:v>
                </c:pt>
                <c:pt idx="117">
                  <c:v>0.30630719762500003</c:v>
                </c:pt>
                <c:pt idx="118">
                  <c:v>0.31734458940900001</c:v>
                </c:pt>
                <c:pt idx="119">
                  <c:v>0.33884789881299998</c:v>
                </c:pt>
                <c:pt idx="120">
                  <c:v>0.34945740521000002</c:v>
                </c:pt>
                <c:pt idx="121">
                  <c:v>0.36118088025</c:v>
                </c:pt>
                <c:pt idx="122">
                  <c:v>0.36733749710800001</c:v>
                </c:pt>
                <c:pt idx="123">
                  <c:v>0.36924803591400002</c:v>
                </c:pt>
                <c:pt idx="124">
                  <c:v>0.37762545361200001</c:v>
                </c:pt>
                <c:pt idx="125">
                  <c:v>0.37508749824999998</c:v>
                </c:pt>
                <c:pt idx="126">
                  <c:v>0.37512193481099998</c:v>
                </c:pt>
                <c:pt idx="127">
                  <c:v>0.381261873812</c:v>
                </c:pt>
                <c:pt idx="128">
                  <c:v>0.37771533215399999</c:v>
                </c:pt>
                <c:pt idx="129">
                  <c:v>0.37305656859199998</c:v>
                </c:pt>
                <c:pt idx="130">
                  <c:v>0.38269905532999998</c:v>
                </c:pt>
                <c:pt idx="131">
                  <c:v>0.38014607325499999</c:v>
                </c:pt>
                <c:pt idx="132">
                  <c:v>0.375013908979</c:v>
                </c:pt>
                <c:pt idx="133">
                  <c:v>0.36395881996700002</c:v>
                </c:pt>
                <c:pt idx="134">
                  <c:v>0.34947104177799998</c:v>
                </c:pt>
                <c:pt idx="135">
                  <c:v>0.32935897838099998</c:v>
                </c:pt>
                <c:pt idx="136">
                  <c:v>0.32457398205799998</c:v>
                </c:pt>
                <c:pt idx="137">
                  <c:v>0.31073736026999998</c:v>
                </c:pt>
                <c:pt idx="138">
                  <c:v>0.30917453569800002</c:v>
                </c:pt>
                <c:pt idx="139">
                  <c:v>0.30707890826000001</c:v>
                </c:pt>
                <c:pt idx="140">
                  <c:v>0.30413935193800001</c:v>
                </c:pt>
                <c:pt idx="141">
                  <c:v>0.29513125939599999</c:v>
                </c:pt>
                <c:pt idx="142">
                  <c:v>0.30151521241099999</c:v>
                </c:pt>
                <c:pt idx="143">
                  <c:v>0.29297574474999999</c:v>
                </c:pt>
                <c:pt idx="144">
                  <c:v>0.28867465908599999</c:v>
                </c:pt>
                <c:pt idx="145">
                  <c:v>0.28512447875800001</c:v>
                </c:pt>
                <c:pt idx="146">
                  <c:v>0.28091850742500002</c:v>
                </c:pt>
                <c:pt idx="147">
                  <c:v>0.27677741144599999</c:v>
                </c:pt>
                <c:pt idx="148">
                  <c:v>0.271711528694</c:v>
                </c:pt>
                <c:pt idx="149">
                  <c:v>0.27137343736800001</c:v>
                </c:pt>
                <c:pt idx="150">
                  <c:v>0.269618384988</c:v>
                </c:pt>
                <c:pt idx="151">
                  <c:v>0.26914929672900001</c:v>
                </c:pt>
                <c:pt idx="152">
                  <c:v>0.27142187566499998</c:v>
                </c:pt>
                <c:pt idx="153">
                  <c:v>0.27157885842200002</c:v>
                </c:pt>
                <c:pt idx="154">
                  <c:v>0.27004449668300001</c:v>
                </c:pt>
                <c:pt idx="155">
                  <c:v>0.27360641891800003</c:v>
                </c:pt>
                <c:pt idx="156">
                  <c:v>0.27015706806200002</c:v>
                </c:pt>
                <c:pt idx="157">
                  <c:v>0.27227180868900003</c:v>
                </c:pt>
                <c:pt idx="158">
                  <c:v>0.27697025709899997</c:v>
                </c:pt>
                <c:pt idx="159">
                  <c:v>0.27617290679599998</c:v>
                </c:pt>
                <c:pt idx="160">
                  <c:v>0.27853900830599998</c:v>
                </c:pt>
                <c:pt idx="161">
                  <c:v>0.27977484968600003</c:v>
                </c:pt>
                <c:pt idx="162">
                  <c:v>0.28241240765499998</c:v>
                </c:pt>
                <c:pt idx="163">
                  <c:v>0.28892710676</c:v>
                </c:pt>
                <c:pt idx="164">
                  <c:v>0.28667166350599999</c:v>
                </c:pt>
                <c:pt idx="165">
                  <c:v>0.28344131517400001</c:v>
                </c:pt>
                <c:pt idx="166">
                  <c:v>0.28462420606900002</c:v>
                </c:pt>
                <c:pt idx="167">
                  <c:v>0.28624292555500003</c:v>
                </c:pt>
                <c:pt idx="168">
                  <c:v>0.29827019925499998</c:v>
                </c:pt>
                <c:pt idx="169">
                  <c:v>0.29695058742199998</c:v>
                </c:pt>
                <c:pt idx="170">
                  <c:v>0.29796072507499999</c:v>
                </c:pt>
                <c:pt idx="171">
                  <c:v>0.30446858916699998</c:v>
                </c:pt>
                <c:pt idx="172">
                  <c:v>0.30995099428900003</c:v>
                </c:pt>
                <c:pt idx="173">
                  <c:v>0.31172130156</c:v>
                </c:pt>
                <c:pt idx="174">
                  <c:v>0.31532064167700002</c:v>
                </c:pt>
                <c:pt idx="175">
                  <c:v>0.31752340913400001</c:v>
                </c:pt>
                <c:pt idx="176">
                  <c:v>0.32492924176900001</c:v>
                </c:pt>
                <c:pt idx="177">
                  <c:v>0.330979473857</c:v>
                </c:pt>
                <c:pt idx="178">
                  <c:v>0.33431190032899999</c:v>
                </c:pt>
                <c:pt idx="179">
                  <c:v>0.33364199729299998</c:v>
                </c:pt>
                <c:pt idx="180">
                  <c:v>0.33408994183500001</c:v>
                </c:pt>
                <c:pt idx="181">
                  <c:v>0.33809992270299999</c:v>
                </c:pt>
                <c:pt idx="182">
                  <c:v>0.336567471201</c:v>
                </c:pt>
                <c:pt idx="183">
                  <c:v>0.33728510149599999</c:v>
                </c:pt>
                <c:pt idx="184">
                  <c:v>0.33722177527399999</c:v>
                </c:pt>
                <c:pt idx="185">
                  <c:v>0.32889289529900001</c:v>
                </c:pt>
                <c:pt idx="186">
                  <c:v>0.33647882627499998</c:v>
                </c:pt>
                <c:pt idx="187">
                  <c:v>0.33490362604899998</c:v>
                </c:pt>
                <c:pt idx="188">
                  <c:v>0.33116621983900002</c:v>
                </c:pt>
                <c:pt idx="189">
                  <c:v>0.32337517339299998</c:v>
                </c:pt>
                <c:pt idx="190">
                  <c:v>0.32047377326499998</c:v>
                </c:pt>
                <c:pt idx="191">
                  <c:v>0.30820918315399998</c:v>
                </c:pt>
                <c:pt idx="192">
                  <c:v>0.32274156074799998</c:v>
                </c:pt>
                <c:pt idx="193">
                  <c:v>0.31396105007300001</c:v>
                </c:pt>
                <c:pt idx="194">
                  <c:v>0.31228106325900001</c:v>
                </c:pt>
                <c:pt idx="195">
                  <c:v>0.30809567306000002</c:v>
                </c:pt>
                <c:pt idx="196">
                  <c:v>0.311347349115</c:v>
                </c:pt>
                <c:pt idx="197">
                  <c:v>0.30680764873400002</c:v>
                </c:pt>
                <c:pt idx="198">
                  <c:v>0.310026798454</c:v>
                </c:pt>
                <c:pt idx="199">
                  <c:v>0.28871919963199999</c:v>
                </c:pt>
                <c:pt idx="200">
                  <c:v>0.284985112717</c:v>
                </c:pt>
                <c:pt idx="201">
                  <c:v>0.28345364674000001</c:v>
                </c:pt>
                <c:pt idx="202">
                  <c:v>0.27644717800200003</c:v>
                </c:pt>
                <c:pt idx="203">
                  <c:v>0.26876379690899999</c:v>
                </c:pt>
                <c:pt idx="204">
                  <c:v>0.26283748014800001</c:v>
                </c:pt>
                <c:pt idx="205">
                  <c:v>0.25542959654899999</c:v>
                </c:pt>
                <c:pt idx="206">
                  <c:v>0.25526078608000002</c:v>
                </c:pt>
                <c:pt idx="207">
                  <c:v>0.253438035635</c:v>
                </c:pt>
                <c:pt idx="208">
                  <c:v>0.25253054805000003</c:v>
                </c:pt>
                <c:pt idx="209">
                  <c:v>0.25005034030000001</c:v>
                </c:pt>
                <c:pt idx="210">
                  <c:v>0.243309801346</c:v>
                </c:pt>
                <c:pt idx="211">
                  <c:v>0.24310474127100001</c:v>
                </c:pt>
                <c:pt idx="212">
                  <c:v>0.23716453978800001</c:v>
                </c:pt>
                <c:pt idx="213">
                  <c:v>0.235365398956</c:v>
                </c:pt>
                <c:pt idx="214">
                  <c:v>0.230846197827</c:v>
                </c:pt>
                <c:pt idx="215">
                  <c:v>0.22958989937300001</c:v>
                </c:pt>
                <c:pt idx="216">
                  <c:v>0.23227990970599999</c:v>
                </c:pt>
                <c:pt idx="217">
                  <c:v>0.20906079829300001</c:v>
                </c:pt>
                <c:pt idx="218">
                  <c:v>0.196455358631</c:v>
                </c:pt>
                <c:pt idx="219">
                  <c:v>0.19047348699800001</c:v>
                </c:pt>
                <c:pt idx="220">
                  <c:v>0.184536949437</c:v>
                </c:pt>
                <c:pt idx="221">
                  <c:v>0.182620963528</c:v>
                </c:pt>
                <c:pt idx="222">
                  <c:v>0.180692283264</c:v>
                </c:pt>
                <c:pt idx="223">
                  <c:v>0.17169687908799999</c:v>
                </c:pt>
                <c:pt idx="224">
                  <c:v>0.17382452738699999</c:v>
                </c:pt>
                <c:pt idx="225">
                  <c:v>0.162867924528</c:v>
                </c:pt>
                <c:pt idx="226">
                  <c:v>0.15293572788500001</c:v>
                </c:pt>
                <c:pt idx="227">
                  <c:v>0.147508270755</c:v>
                </c:pt>
                <c:pt idx="228">
                  <c:v>0.14550420392999999</c:v>
                </c:pt>
                <c:pt idx="229">
                  <c:v>0.14249853121799999</c:v>
                </c:pt>
                <c:pt idx="230">
                  <c:v>0.14022040062900001</c:v>
                </c:pt>
                <c:pt idx="231">
                  <c:v>0.13360481981399999</c:v>
                </c:pt>
                <c:pt idx="232">
                  <c:v>0.128388425025</c:v>
                </c:pt>
                <c:pt idx="233">
                  <c:v>0.12747098956200001</c:v>
                </c:pt>
                <c:pt idx="234">
                  <c:v>0.121087706771</c:v>
                </c:pt>
                <c:pt idx="235">
                  <c:v>0.116317693813</c:v>
                </c:pt>
                <c:pt idx="236">
                  <c:v>0.117044975615</c:v>
                </c:pt>
                <c:pt idx="237">
                  <c:v>0.114112829289</c:v>
                </c:pt>
                <c:pt idx="238">
                  <c:v>0.110888861107</c:v>
                </c:pt>
                <c:pt idx="239">
                  <c:v>0.107396915328</c:v>
                </c:pt>
                <c:pt idx="240">
                  <c:v>0.103504790721</c:v>
                </c:pt>
                <c:pt idx="241">
                  <c:v>0.100707709651</c:v>
                </c:pt>
                <c:pt idx="242">
                  <c:v>0.10287547977</c:v>
                </c:pt>
                <c:pt idx="243">
                  <c:v>0.10023702594800001</c:v>
                </c:pt>
                <c:pt idx="244">
                  <c:v>9.3400953933000005E-2</c:v>
                </c:pt>
                <c:pt idx="245">
                  <c:v>8.8276836157999999E-2</c:v>
                </c:pt>
                <c:pt idx="246">
                  <c:v>8.4062026348999994E-2</c:v>
                </c:pt>
                <c:pt idx="247">
                  <c:v>8.0265009380000002E-2</c:v>
                </c:pt>
                <c:pt idx="248">
                  <c:v>7.6503387492999994E-2</c:v>
                </c:pt>
                <c:pt idx="249">
                  <c:v>7.2117703810000003E-2</c:v>
                </c:pt>
                <c:pt idx="250">
                  <c:v>7.0841889116999998E-2</c:v>
                </c:pt>
                <c:pt idx="251">
                  <c:v>6.8339100346000006E-2</c:v>
                </c:pt>
                <c:pt idx="252">
                  <c:v>6.3821607074000003E-2</c:v>
                </c:pt>
                <c:pt idx="253">
                  <c:v>5.8439416925000001E-2</c:v>
                </c:pt>
                <c:pt idx="254">
                  <c:v>5.4773602443000002E-2</c:v>
                </c:pt>
                <c:pt idx="255">
                  <c:v>5.2649251224999999E-2</c:v>
                </c:pt>
                <c:pt idx="256">
                  <c:v>5.1811716898000001E-2</c:v>
                </c:pt>
                <c:pt idx="257">
                  <c:v>5.0834752981E-2</c:v>
                </c:pt>
                <c:pt idx="258">
                  <c:v>4.5545373112999998E-2</c:v>
                </c:pt>
                <c:pt idx="259">
                  <c:v>4.2943928495999997E-2</c:v>
                </c:pt>
                <c:pt idx="260">
                  <c:v>4.0792134438999997E-2</c:v>
                </c:pt>
                <c:pt idx="261">
                  <c:v>3.7978257799999998E-2</c:v>
                </c:pt>
                <c:pt idx="262">
                  <c:v>3.4358938252000003E-2</c:v>
                </c:pt>
                <c:pt idx="263">
                  <c:v>3.2037259190999999E-2</c:v>
                </c:pt>
                <c:pt idx="264">
                  <c:v>3.1504424778000001E-2</c:v>
                </c:pt>
                <c:pt idx="265">
                  <c:v>3.1172163935999999E-2</c:v>
                </c:pt>
                <c:pt idx="266">
                  <c:v>2.8391663389E-2</c:v>
                </c:pt>
                <c:pt idx="267">
                  <c:v>2.8280447773000001E-2</c:v>
                </c:pt>
                <c:pt idx="268">
                  <c:v>2.6447911062999999E-2</c:v>
                </c:pt>
                <c:pt idx="269">
                  <c:v>2.6566179934000001E-2</c:v>
                </c:pt>
                <c:pt idx="270">
                  <c:v>2.6465758717E-2</c:v>
                </c:pt>
                <c:pt idx="271">
                  <c:v>2.6529400118E-2</c:v>
                </c:pt>
                <c:pt idx="272">
                  <c:v>2.5298231179999998E-2</c:v>
                </c:pt>
                <c:pt idx="273">
                  <c:v>2.3909985934999999E-2</c:v>
                </c:pt>
                <c:pt idx="274">
                  <c:v>2.2169969768000002E-2</c:v>
                </c:pt>
                <c:pt idx="275">
                  <c:v>2.1659826720999999E-2</c:v>
                </c:pt>
                <c:pt idx="276">
                  <c:v>1.9978594363E-2</c:v>
                </c:pt>
                <c:pt idx="277">
                  <c:v>1.9188993482E-2</c:v>
                </c:pt>
                <c:pt idx="278">
                  <c:v>1.8387725279999999E-2</c:v>
                </c:pt>
                <c:pt idx="279">
                  <c:v>1.7634187153999999E-2</c:v>
                </c:pt>
                <c:pt idx="280">
                  <c:v>1.5423147904E-2</c:v>
                </c:pt>
                <c:pt idx="281">
                  <c:v>1.3791238507E-2</c:v>
                </c:pt>
                <c:pt idx="282">
                  <c:v>1.3248766737E-2</c:v>
                </c:pt>
                <c:pt idx="283">
                  <c:v>1.0577472841E-2</c:v>
                </c:pt>
                <c:pt idx="284">
                  <c:v>9.8740698340000002E-3</c:v>
                </c:pt>
                <c:pt idx="285">
                  <c:v>1.0626076967000001E-2</c:v>
                </c:pt>
                <c:pt idx="286">
                  <c:v>9.438202247E-3</c:v>
                </c:pt>
                <c:pt idx="287">
                  <c:v>9.4128193629999992E-3</c:v>
                </c:pt>
                <c:pt idx="288">
                  <c:v>1.0695187165E-2</c:v>
                </c:pt>
                <c:pt idx="289">
                  <c:v>8.7062776840000008E-3</c:v>
                </c:pt>
                <c:pt idx="290">
                  <c:v>8.8286299849999993E-3</c:v>
                </c:pt>
                <c:pt idx="291">
                  <c:v>9.3354430370000008E-3</c:v>
                </c:pt>
                <c:pt idx="292">
                  <c:v>9.1127098320000002E-3</c:v>
                </c:pt>
                <c:pt idx="293">
                  <c:v>8.6760925439999994E-3</c:v>
                </c:pt>
                <c:pt idx="294">
                  <c:v>7.975564228E-3</c:v>
                </c:pt>
                <c:pt idx="295">
                  <c:v>6.2728698370000001E-3</c:v>
                </c:pt>
                <c:pt idx="296">
                  <c:v>5.7616132509999999E-3</c:v>
                </c:pt>
                <c:pt idx="297">
                  <c:v>5.457522284E-3</c:v>
                </c:pt>
                <c:pt idx="298">
                  <c:v>5.1784723500000003E-3</c:v>
                </c:pt>
                <c:pt idx="299">
                  <c:v>4.4485634839999998E-3</c:v>
                </c:pt>
                <c:pt idx="300">
                  <c:v>4.0291634680000004E-3</c:v>
                </c:pt>
                <c:pt idx="301">
                  <c:v>3.0870152420000001E-3</c:v>
                </c:pt>
                <c:pt idx="302">
                  <c:v>2.1700532640000002E-3</c:v>
                </c:pt>
                <c:pt idx="303">
                  <c:v>3.0549898159999999E-3</c:v>
                </c:pt>
                <c:pt idx="304">
                  <c:v>2.9356259170000001E-3</c:v>
                </c:pt>
                <c:pt idx="305">
                  <c:v>3.807106598E-3</c:v>
                </c:pt>
                <c:pt idx="306">
                  <c:v>3.890209639E-3</c:v>
                </c:pt>
                <c:pt idx="307">
                  <c:v>3.836317135E-3</c:v>
                </c:pt>
                <c:pt idx="308">
                  <c:v>4.3750000000000004E-3</c:v>
                </c:pt>
                <c:pt idx="309">
                  <c:v>6.3946406819999999E-3</c:v>
                </c:pt>
                <c:pt idx="310">
                  <c:v>5.5882352940000001E-3</c:v>
                </c:pt>
                <c:pt idx="311">
                  <c:v>6.624423963E-3</c:v>
                </c:pt>
                <c:pt idx="312">
                  <c:v>5.7045065600000002E-3</c:v>
                </c:pt>
                <c:pt idx="313">
                  <c:v>6.4461883399999998E-3</c:v>
                </c:pt>
                <c:pt idx="314">
                  <c:v>9.2054263559999995E-3</c:v>
                </c:pt>
                <c:pt idx="315">
                  <c:v>1.0159965412E-2</c:v>
                </c:pt>
                <c:pt idx="316">
                  <c:v>9.6788385389999995E-3</c:v>
                </c:pt>
                <c:pt idx="317">
                  <c:v>9.9818511790000005E-3</c:v>
                </c:pt>
                <c:pt idx="318">
                  <c:v>1.0562571756E-2</c:v>
                </c:pt>
                <c:pt idx="319">
                  <c:v>1.0978956999000001E-2</c:v>
                </c:pt>
                <c:pt idx="320">
                  <c:v>1.1272141705999999E-2</c:v>
                </c:pt>
                <c:pt idx="321">
                  <c:v>9.2285849500000003E-3</c:v>
                </c:pt>
                <c:pt idx="322">
                  <c:v>8.4786821699999997E-3</c:v>
                </c:pt>
                <c:pt idx="323">
                  <c:v>9.0553108169999993E-3</c:v>
                </c:pt>
                <c:pt idx="324">
                  <c:v>9.2367525520000004E-3</c:v>
                </c:pt>
                <c:pt idx="325">
                  <c:v>9.320578857E-3</c:v>
                </c:pt>
                <c:pt idx="326">
                  <c:v>9.0597453469999992E-3</c:v>
                </c:pt>
                <c:pt idx="327">
                  <c:v>8.30078125E-3</c:v>
                </c:pt>
                <c:pt idx="328">
                  <c:v>1.0236412380999999E-2</c:v>
                </c:pt>
                <c:pt idx="329">
                  <c:v>1.0266438523E-2</c:v>
                </c:pt>
                <c:pt idx="330">
                  <c:v>1.0168650793E-2</c:v>
                </c:pt>
                <c:pt idx="331">
                  <c:v>1.1366506693E-2</c:v>
                </c:pt>
                <c:pt idx="332">
                  <c:v>1.0749936012E-2</c:v>
                </c:pt>
                <c:pt idx="333">
                  <c:v>1.0373443983E-2</c:v>
                </c:pt>
                <c:pt idx="334">
                  <c:v>1.0693792383E-2</c:v>
                </c:pt>
                <c:pt idx="335">
                  <c:v>1.0182207931E-2</c:v>
                </c:pt>
                <c:pt idx="336">
                  <c:v>1.0673234811E-2</c:v>
                </c:pt>
                <c:pt idx="337">
                  <c:v>1.0761589403E-2</c:v>
                </c:pt>
                <c:pt idx="338">
                  <c:v>1.0201190137999999E-2</c:v>
                </c:pt>
                <c:pt idx="339">
                  <c:v>1.1618022101999999E-2</c:v>
                </c:pt>
                <c:pt idx="340">
                  <c:v>1.1704253497E-2</c:v>
                </c:pt>
                <c:pt idx="341">
                  <c:v>1.1458034947E-2</c:v>
                </c:pt>
                <c:pt idx="342">
                  <c:v>1.1085844229E-2</c:v>
                </c:pt>
                <c:pt idx="343">
                  <c:v>1.0608598548E-2</c:v>
                </c:pt>
                <c:pt idx="344">
                  <c:v>1.1624688624E-2</c:v>
                </c:pt>
                <c:pt idx="345">
                  <c:v>1.1372867587000001E-2</c:v>
                </c:pt>
                <c:pt idx="346">
                  <c:v>1.059602649E-2</c:v>
                </c:pt>
                <c:pt idx="347">
                  <c:v>1.0260457774E-2</c:v>
                </c:pt>
                <c:pt idx="348">
                  <c:v>1.1041009463E-2</c:v>
                </c:pt>
                <c:pt idx="349">
                  <c:v>1.1283127787E-2</c:v>
                </c:pt>
                <c:pt idx="350">
                  <c:v>1.1823436678E-2</c:v>
                </c:pt>
                <c:pt idx="351">
                  <c:v>1.1303890641E-2</c:v>
                </c:pt>
                <c:pt idx="352">
                  <c:v>1.0715242432E-2</c:v>
                </c:pt>
                <c:pt idx="353">
                  <c:v>1.0549093859E-2</c:v>
                </c:pt>
                <c:pt idx="354">
                  <c:v>1.1634199134E-2</c:v>
                </c:pt>
                <c:pt idx="355">
                  <c:v>1.1021505375999999E-2</c:v>
                </c:pt>
                <c:pt idx="356">
                  <c:v>9.1719077560000004E-3</c:v>
                </c:pt>
                <c:pt idx="357">
                  <c:v>1.1119936457000001E-2</c:v>
                </c:pt>
                <c:pt idx="358">
                  <c:v>1.2001043568999999E-2</c:v>
                </c:pt>
                <c:pt idx="359">
                  <c:v>1.3154566152000001E-2</c:v>
                </c:pt>
                <c:pt idx="360">
                  <c:v>1.2999999999999999E-2</c:v>
                </c:pt>
                <c:pt idx="361">
                  <c:v>1.3052208835000001E-2</c:v>
                </c:pt>
                <c:pt idx="362">
                  <c:v>1.2740444666E-2</c:v>
                </c:pt>
                <c:pt idx="363">
                  <c:v>1.3151239251000001E-2</c:v>
                </c:pt>
                <c:pt idx="364">
                  <c:v>1.1653313911E-2</c:v>
                </c:pt>
                <c:pt idx="365">
                  <c:v>1.3759213758999999E-2</c:v>
                </c:pt>
                <c:pt idx="366">
                  <c:v>1.5228426394999999E-2</c:v>
                </c:pt>
                <c:pt idx="367">
                  <c:v>1.9443110897000002E-2</c:v>
                </c:pt>
                <c:pt idx="368">
                  <c:v>2.0510374432999998E-2</c:v>
                </c:pt>
                <c:pt idx="369">
                  <c:v>2.1827776444999999E-2</c:v>
                </c:pt>
                <c:pt idx="370">
                  <c:v>2.5035427491E-2</c:v>
                </c:pt>
                <c:pt idx="371">
                  <c:v>2.9404790135000001E-2</c:v>
                </c:pt>
                <c:pt idx="372">
                  <c:v>2.7681660899E-2</c:v>
                </c:pt>
                <c:pt idx="373">
                  <c:v>2.7415730337E-2</c:v>
                </c:pt>
                <c:pt idx="374">
                  <c:v>2.6379424049000001E-2</c:v>
                </c:pt>
                <c:pt idx="375">
                  <c:v>2.5495750708E-2</c:v>
                </c:pt>
                <c:pt idx="376">
                  <c:v>2.5233848161000001E-2</c:v>
                </c:pt>
                <c:pt idx="377">
                  <c:v>2.3599425404999999E-2</c:v>
                </c:pt>
                <c:pt idx="378">
                  <c:v>2.3246245628000001E-2</c:v>
                </c:pt>
                <c:pt idx="379">
                  <c:v>2.3090945918000001E-2</c:v>
                </c:pt>
                <c:pt idx="380">
                  <c:v>2.4603497355999999E-2</c:v>
                </c:pt>
                <c:pt idx="381">
                  <c:v>2.8072989773E-2</c:v>
                </c:pt>
                <c:pt idx="382">
                  <c:v>2.8444623764000001E-2</c:v>
                </c:pt>
                <c:pt idx="383">
                  <c:v>2.9500909273999999E-2</c:v>
                </c:pt>
                <c:pt idx="384">
                  <c:v>3.1093716024999999E-2</c:v>
                </c:pt>
                <c:pt idx="385">
                  <c:v>2.9320669006E-2</c:v>
                </c:pt>
                <c:pt idx="386">
                  <c:v>3.0662305805000001E-2</c:v>
                </c:pt>
                <c:pt idx="387">
                  <c:v>2.8918099089000001E-2</c:v>
                </c:pt>
                <c:pt idx="388">
                  <c:v>2.5641025641000001E-2</c:v>
                </c:pt>
                <c:pt idx="389">
                  <c:v>2.692003167E-2</c:v>
                </c:pt>
                <c:pt idx="390">
                  <c:v>2.7875932469000001E-2</c:v>
                </c:pt>
                <c:pt idx="391">
                  <c:v>2.9238690695E-2</c:v>
                </c:pt>
                <c:pt idx="392">
                  <c:v>3.1135531134999998E-2</c:v>
                </c:pt>
                <c:pt idx="393">
                  <c:v>3.0717399919999999E-2</c:v>
                </c:pt>
                <c:pt idx="394">
                  <c:v>3.6290322579999999E-2</c:v>
                </c:pt>
                <c:pt idx="395">
                  <c:v>4.0334855402999997E-2</c:v>
                </c:pt>
                <c:pt idx="396">
                  <c:v>4.1682384006000002E-2</c:v>
                </c:pt>
                <c:pt idx="397">
                  <c:v>4.1988326115000002E-2</c:v>
                </c:pt>
                <c:pt idx="398">
                  <c:v>4.2851865533000001E-2</c:v>
                </c:pt>
                <c:pt idx="399">
                  <c:v>4.7405189620000003E-2</c:v>
                </c:pt>
                <c:pt idx="400">
                  <c:v>5.4835002462000001E-2</c:v>
                </c:pt>
                <c:pt idx="401">
                  <c:v>5.6254029657999999E-2</c:v>
                </c:pt>
                <c:pt idx="402">
                  <c:v>5.9000793021000003E-2</c:v>
                </c:pt>
                <c:pt idx="403">
                  <c:v>5.8767471410000001E-2</c:v>
                </c:pt>
                <c:pt idx="404">
                  <c:v>5.8312262958000002E-2</c:v>
                </c:pt>
                <c:pt idx="405">
                  <c:v>6.1989205859000002E-2</c:v>
                </c:pt>
                <c:pt idx="406">
                  <c:v>6.2108957728999999E-2</c:v>
                </c:pt>
                <c:pt idx="407">
                  <c:v>6.0980934361000001E-2</c:v>
                </c:pt>
                <c:pt idx="408">
                  <c:v>6.2217029355000002E-2</c:v>
                </c:pt>
                <c:pt idx="409">
                  <c:v>6.5780265919999997E-2</c:v>
                </c:pt>
                <c:pt idx="410">
                  <c:v>7.0187440141999999E-2</c:v>
                </c:pt>
                <c:pt idx="411">
                  <c:v>7.1360994728999996E-2</c:v>
                </c:pt>
                <c:pt idx="412">
                  <c:v>7.7546882918999999E-2</c:v>
                </c:pt>
                <c:pt idx="413">
                  <c:v>8.7706771390999999E-2</c:v>
                </c:pt>
                <c:pt idx="414">
                  <c:v>9.4799815922E-2</c:v>
                </c:pt>
                <c:pt idx="415">
                  <c:v>0.100842127704</c:v>
                </c:pt>
                <c:pt idx="416">
                  <c:v>0.10988126383500001</c:v>
                </c:pt>
                <c:pt idx="417">
                  <c:v>0.112387122104</c:v>
                </c:pt>
                <c:pt idx="418">
                  <c:v>0.115458937198</c:v>
                </c:pt>
                <c:pt idx="419">
                  <c:v>0.12231343971899999</c:v>
                </c:pt>
                <c:pt idx="420">
                  <c:v>0.129394361294</c:v>
                </c:pt>
                <c:pt idx="421">
                  <c:v>0.13585837793300001</c:v>
                </c:pt>
                <c:pt idx="422">
                  <c:v>0.14511545293</c:v>
                </c:pt>
                <c:pt idx="423">
                  <c:v>0.15165023574700001</c:v>
                </c:pt>
                <c:pt idx="424">
                  <c:v>0.15704061251599999</c:v>
                </c:pt>
                <c:pt idx="425">
                  <c:v>0.158364850728</c:v>
                </c:pt>
                <c:pt idx="426">
                  <c:v>0.17242680350100001</c:v>
                </c:pt>
                <c:pt idx="427">
                  <c:v>0.18410398465799999</c:v>
                </c:pt>
                <c:pt idx="428">
                  <c:v>0.201718466805</c:v>
                </c:pt>
                <c:pt idx="429">
                  <c:v>0.209329446064</c:v>
                </c:pt>
                <c:pt idx="430">
                  <c:v>0.22311066688799999</c:v>
                </c:pt>
                <c:pt idx="431">
                  <c:v>0.22782400609100001</c:v>
                </c:pt>
                <c:pt idx="432">
                  <c:v>0.23121512541299999</c:v>
                </c:pt>
                <c:pt idx="433">
                  <c:v>0.23676703645</c:v>
                </c:pt>
                <c:pt idx="434">
                  <c:v>0.244041033893</c:v>
                </c:pt>
                <c:pt idx="435">
                  <c:v>0.24485125858099999</c:v>
                </c:pt>
                <c:pt idx="436">
                  <c:v>0.245352802728</c:v>
                </c:pt>
                <c:pt idx="437">
                  <c:v>0.247005988023</c:v>
                </c:pt>
                <c:pt idx="438">
                  <c:v>0.24757997603000001</c:v>
                </c:pt>
                <c:pt idx="439">
                  <c:v>0.24883487160699999</c:v>
                </c:pt>
                <c:pt idx="440">
                  <c:v>0.24798619102399999</c:v>
                </c:pt>
                <c:pt idx="441">
                  <c:v>0.249989243147</c:v>
                </c:pt>
                <c:pt idx="442">
                  <c:v>0.25773812261399998</c:v>
                </c:pt>
                <c:pt idx="443">
                  <c:v>0.256117747058</c:v>
                </c:pt>
                <c:pt idx="444">
                  <c:v>0.26417910447699999</c:v>
                </c:pt>
                <c:pt idx="445">
                  <c:v>0.271742289011</c:v>
                </c:pt>
                <c:pt idx="446">
                  <c:v>0.27186568078700002</c:v>
                </c:pt>
                <c:pt idx="447">
                  <c:v>0.274359181693</c:v>
                </c:pt>
                <c:pt idx="448">
                  <c:v>0.278671384912</c:v>
                </c:pt>
                <c:pt idx="449">
                  <c:v>0.26323518876699997</c:v>
                </c:pt>
                <c:pt idx="450">
                  <c:v>0.27501230401400001</c:v>
                </c:pt>
                <c:pt idx="451">
                  <c:v>0.27494252873500002</c:v>
                </c:pt>
                <c:pt idx="452">
                  <c:v>0.27203781438399999</c:v>
                </c:pt>
                <c:pt idx="453">
                  <c:v>0.27460720073200001</c:v>
                </c:pt>
                <c:pt idx="454">
                  <c:v>0.276079387186</c:v>
                </c:pt>
                <c:pt idx="455">
                  <c:v>0.27473329395000001</c:v>
                </c:pt>
                <c:pt idx="456">
                  <c:v>0.28500615222300002</c:v>
                </c:pt>
                <c:pt idx="457">
                  <c:v>0.28204679794300003</c:v>
                </c:pt>
                <c:pt idx="458">
                  <c:v>0.27899686520299999</c:v>
                </c:pt>
                <c:pt idx="459">
                  <c:v>0.27631578947300001</c:v>
                </c:pt>
                <c:pt idx="460">
                  <c:v>0.27116508591999999</c:v>
                </c:pt>
                <c:pt idx="461">
                  <c:v>0.269456837334</c:v>
                </c:pt>
                <c:pt idx="462">
                  <c:v>0.26591110324</c:v>
                </c:pt>
                <c:pt idx="463">
                  <c:v>0.262557324955</c:v>
                </c:pt>
                <c:pt idx="464">
                  <c:v>0.25790736298200001</c:v>
                </c:pt>
                <c:pt idx="465">
                  <c:v>0.25283821239999998</c:v>
                </c:pt>
                <c:pt idx="466">
                  <c:v>0.24878612716699999</c:v>
                </c:pt>
                <c:pt idx="467">
                  <c:v>0.24895202608200001</c:v>
                </c:pt>
                <c:pt idx="468">
                  <c:v>0.24139283193399999</c:v>
                </c:pt>
                <c:pt idx="469">
                  <c:v>0.23817148346799999</c:v>
                </c:pt>
                <c:pt idx="470">
                  <c:v>0.23250092262200001</c:v>
                </c:pt>
                <c:pt idx="471">
                  <c:v>0.22327189911799999</c:v>
                </c:pt>
                <c:pt idx="472">
                  <c:v>0.21405681621299999</c:v>
                </c:pt>
                <c:pt idx="473">
                  <c:v>0.210854289123</c:v>
                </c:pt>
                <c:pt idx="474">
                  <c:v>0.20885822390299999</c:v>
                </c:pt>
                <c:pt idx="475">
                  <c:v>0.20340297418100001</c:v>
                </c:pt>
                <c:pt idx="476">
                  <c:v>0.19607105930999999</c:v>
                </c:pt>
                <c:pt idx="477">
                  <c:v>0.189624501177</c:v>
                </c:pt>
                <c:pt idx="478">
                  <c:v>0.183247897277</c:v>
                </c:pt>
                <c:pt idx="479">
                  <c:v>0.178171159262</c:v>
                </c:pt>
                <c:pt idx="480">
                  <c:v>0.173847362378</c:v>
                </c:pt>
                <c:pt idx="481">
                  <c:v>0.171362502281</c:v>
                </c:pt>
                <c:pt idx="482">
                  <c:v>0.16939515121199999</c:v>
                </c:pt>
                <c:pt idx="483">
                  <c:v>0.162373297178</c:v>
                </c:pt>
                <c:pt idx="484">
                  <c:v>0.15906495600100001</c:v>
                </c:pt>
                <c:pt idx="485">
                  <c:v>0.158029172548</c:v>
                </c:pt>
                <c:pt idx="486">
                  <c:v>0.15987692307599999</c:v>
                </c:pt>
                <c:pt idx="487">
                  <c:v>0.15986899023600001</c:v>
                </c:pt>
                <c:pt idx="488">
                  <c:v>0.15789151837500001</c:v>
                </c:pt>
                <c:pt idx="489">
                  <c:v>0.15336563722300001</c:v>
                </c:pt>
                <c:pt idx="490">
                  <c:v>0.15016951036500001</c:v>
                </c:pt>
                <c:pt idx="491">
                  <c:v>0.14438046491699999</c:v>
                </c:pt>
                <c:pt idx="492">
                  <c:v>0.13869262573899999</c:v>
                </c:pt>
                <c:pt idx="493">
                  <c:v>0.13400670033500001</c:v>
                </c:pt>
                <c:pt idx="494">
                  <c:v>0.134773512382</c:v>
                </c:pt>
                <c:pt idx="495">
                  <c:v>0.13518545739599999</c:v>
                </c:pt>
                <c:pt idx="496">
                  <c:v>0.128102768821</c:v>
                </c:pt>
                <c:pt idx="497">
                  <c:v>0.12009803921499999</c:v>
                </c:pt>
                <c:pt idx="498">
                  <c:v>0.11967938087299999</c:v>
                </c:pt>
                <c:pt idx="499">
                  <c:v>0.11945431617500001</c:v>
                </c:pt>
                <c:pt idx="500">
                  <c:v>0.120845566647</c:v>
                </c:pt>
                <c:pt idx="501">
                  <c:v>0.121989528795</c:v>
                </c:pt>
                <c:pt idx="502">
                  <c:v>0.12153406105800001</c:v>
                </c:pt>
                <c:pt idx="503">
                  <c:v>0.12805479770100001</c:v>
                </c:pt>
                <c:pt idx="504">
                  <c:v>0.139557882489</c:v>
                </c:pt>
                <c:pt idx="505">
                  <c:v>0.14843397926900001</c:v>
                </c:pt>
                <c:pt idx="506">
                  <c:v>0.15832845977900001</c:v>
                </c:pt>
                <c:pt idx="507">
                  <c:v>0.172345200448</c:v>
                </c:pt>
                <c:pt idx="508">
                  <c:v>0.180095971208</c:v>
                </c:pt>
                <c:pt idx="509">
                  <c:v>0.18513427266900001</c:v>
                </c:pt>
                <c:pt idx="510">
                  <c:v>0.19641001417000001</c:v>
                </c:pt>
                <c:pt idx="511">
                  <c:v>0.20506477149999999</c:v>
                </c:pt>
                <c:pt idx="512">
                  <c:v>0.22505840616</c:v>
                </c:pt>
                <c:pt idx="513">
                  <c:v>0.234472635772</c:v>
                </c:pt>
                <c:pt idx="514">
                  <c:v>0.246964363406</c:v>
                </c:pt>
                <c:pt idx="515">
                  <c:v>0.24640049809299999</c:v>
                </c:pt>
                <c:pt idx="516">
                  <c:v>0.25652073555400001</c:v>
                </c:pt>
                <c:pt idx="517">
                  <c:v>0.26208853575399998</c:v>
                </c:pt>
                <c:pt idx="518">
                  <c:v>0.28111094630599998</c:v>
                </c:pt>
                <c:pt idx="519">
                  <c:v>0.28886209164600002</c:v>
                </c:pt>
                <c:pt idx="520">
                  <c:v>0.30035727045299998</c:v>
                </c:pt>
                <c:pt idx="521">
                  <c:v>0.30221801362099998</c:v>
                </c:pt>
                <c:pt idx="522">
                  <c:v>0.31655277697</c:v>
                </c:pt>
                <c:pt idx="523">
                  <c:v>0.31088689039900003</c:v>
                </c:pt>
                <c:pt idx="524">
                  <c:v>0.318381100764</c:v>
                </c:pt>
                <c:pt idx="525">
                  <c:v>0.315528714017</c:v>
                </c:pt>
                <c:pt idx="526">
                  <c:v>0.31776761207600002</c:v>
                </c:pt>
                <c:pt idx="527">
                  <c:v>0.31799429942899998</c:v>
                </c:pt>
                <c:pt idx="528">
                  <c:v>0.32366452788599998</c:v>
                </c:pt>
                <c:pt idx="529">
                  <c:v>0.31616733933500002</c:v>
                </c:pt>
                <c:pt idx="530">
                  <c:v>0.31548593250700002</c:v>
                </c:pt>
                <c:pt idx="531">
                  <c:v>0.31577087668300002</c:v>
                </c:pt>
                <c:pt idx="532">
                  <c:v>0.31650602409599998</c:v>
                </c:pt>
                <c:pt idx="533">
                  <c:v>0.30829331814099997</c:v>
                </c:pt>
                <c:pt idx="534">
                  <c:v>0.30500311397099999</c:v>
                </c:pt>
                <c:pt idx="535">
                  <c:v>0.29594737958799999</c:v>
                </c:pt>
                <c:pt idx="536">
                  <c:v>0.29446935724899997</c:v>
                </c:pt>
                <c:pt idx="537">
                  <c:v>0.293889344085</c:v>
                </c:pt>
                <c:pt idx="538">
                  <c:v>0.29340839576200001</c:v>
                </c:pt>
                <c:pt idx="539">
                  <c:v>0.28675186172599998</c:v>
                </c:pt>
                <c:pt idx="540">
                  <c:v>0.28304873369099998</c:v>
                </c:pt>
                <c:pt idx="541">
                  <c:v>0.281295143212</c:v>
                </c:pt>
                <c:pt idx="542">
                  <c:v>0.28311916189199998</c:v>
                </c:pt>
                <c:pt idx="543">
                  <c:v>0.281479390175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Z_indik_testu_65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84424641625999997</c:v>
                </c:pt>
                <c:pt idx="1">
                  <c:v>2.2691135181000002</c:v>
                </c:pt>
                <c:pt idx="2">
                  <c:v>3.1955333584500001</c:v>
                </c:pt>
                <c:pt idx="3">
                  <c:v>4.9006189104900004</c:v>
                </c:pt>
                <c:pt idx="4">
                  <c:v>5.70534468442</c:v>
                </c:pt>
                <c:pt idx="5">
                  <c:v>5.9789925935300001</c:v>
                </c:pt>
                <c:pt idx="6">
                  <c:v>4.01503006004</c:v>
                </c:pt>
                <c:pt idx="7">
                  <c:v>2.1861696381</c:v>
                </c:pt>
                <c:pt idx="8">
                  <c:v>1.5140131752499999</c:v>
                </c:pt>
                <c:pt idx="9">
                  <c:v>1.01228143738</c:v>
                </c:pt>
                <c:pt idx="10">
                  <c:v>0.69499013266999998</c:v>
                </c:pt>
                <c:pt idx="11">
                  <c:v>0.87400950961000001</c:v>
                </c:pt>
                <c:pt idx="12">
                  <c:v>0.84412303932999999</c:v>
                </c:pt>
                <c:pt idx="13">
                  <c:v>0.60464842415999998</c:v>
                </c:pt>
                <c:pt idx="14">
                  <c:v>0.44945206617</c:v>
                </c:pt>
                <c:pt idx="15">
                  <c:v>0.46419377451999999</c:v>
                </c:pt>
                <c:pt idx="16">
                  <c:v>0.48696108879</c:v>
                </c:pt>
                <c:pt idx="17">
                  <c:v>0.27401659761000002</c:v>
                </c:pt>
                <c:pt idx="18">
                  <c:v>0.16745390512</c:v>
                </c:pt>
                <c:pt idx="19">
                  <c:v>0.18961749277000001</c:v>
                </c:pt>
                <c:pt idx="20">
                  <c:v>0.17313336333000001</c:v>
                </c:pt>
                <c:pt idx="21">
                  <c:v>0.15117073397</c:v>
                </c:pt>
                <c:pt idx="22">
                  <c:v>0.1075810029</c:v>
                </c:pt>
                <c:pt idx="23">
                  <c:v>0.11369896251</c:v>
                </c:pt>
                <c:pt idx="24">
                  <c:v>0.13472398154000001</c:v>
                </c:pt>
                <c:pt idx="25">
                  <c:v>0.2452715634</c:v>
                </c:pt>
                <c:pt idx="26">
                  <c:v>0.30678340825</c:v>
                </c:pt>
                <c:pt idx="27">
                  <c:v>0.31965377048999999</c:v>
                </c:pt>
                <c:pt idx="28">
                  <c:v>0.29664180956000002</c:v>
                </c:pt>
                <c:pt idx="29">
                  <c:v>0.28366832099</c:v>
                </c:pt>
                <c:pt idx="30">
                  <c:v>0.28376843390000001</c:v>
                </c:pt>
                <c:pt idx="31">
                  <c:v>0.29715366337999999</c:v>
                </c:pt>
                <c:pt idx="32">
                  <c:v>0.35312997347000002</c:v>
                </c:pt>
                <c:pt idx="33">
                  <c:v>0.3552829629</c:v>
                </c:pt>
                <c:pt idx="34">
                  <c:v>0.35123436646</c:v>
                </c:pt>
                <c:pt idx="35">
                  <c:v>0.37253375287000001</c:v>
                </c:pt>
                <c:pt idx="36">
                  <c:v>0.36982974617999997</c:v>
                </c:pt>
                <c:pt idx="37">
                  <c:v>0.37247638943</c:v>
                </c:pt>
                <c:pt idx="38">
                  <c:v>0.49431851363000001</c:v>
                </c:pt>
                <c:pt idx="39">
                  <c:v>0.49734355291999999</c:v>
                </c:pt>
                <c:pt idx="40">
                  <c:v>0.44204294544</c:v>
                </c:pt>
                <c:pt idx="41">
                  <c:v>0.42655319388000001</c:v>
                </c:pt>
                <c:pt idx="42">
                  <c:v>0.38860110436</c:v>
                </c:pt>
                <c:pt idx="43">
                  <c:v>0.31130487640999999</c:v>
                </c:pt>
                <c:pt idx="44">
                  <c:v>0.19712364064999999</c:v>
                </c:pt>
                <c:pt idx="45">
                  <c:v>0.10787173529000001</c:v>
                </c:pt>
                <c:pt idx="46">
                  <c:v>0.10764519597</c:v>
                </c:pt>
                <c:pt idx="47">
                  <c:v>0.12184545704999999</c:v>
                </c:pt>
                <c:pt idx="48">
                  <c:v>0.12482001198999999</c:v>
                </c:pt>
                <c:pt idx="49">
                  <c:v>0.11477338421</c:v>
                </c:pt>
                <c:pt idx="50">
                  <c:v>0.11367143389999999</c:v>
                </c:pt>
                <c:pt idx="51">
                  <c:v>0.10755580881</c:v>
                </c:pt>
                <c:pt idx="52">
                  <c:v>0.15823192575</c:v>
                </c:pt>
                <c:pt idx="53">
                  <c:v>0.15706588647</c:v>
                </c:pt>
                <c:pt idx="54">
                  <c:v>0.15972495648999999</c:v>
                </c:pt>
                <c:pt idx="55">
                  <c:v>0.13172032553999999</c:v>
                </c:pt>
                <c:pt idx="56">
                  <c:v>0.10640128711000001</c:v>
                </c:pt>
                <c:pt idx="57">
                  <c:v>9.5235066209999997E-2</c:v>
                </c:pt>
                <c:pt idx="58">
                  <c:v>6.5034053410000001E-2</c:v>
                </c:pt>
                <c:pt idx="59">
                  <c:v>4.5107816500000002E-3</c:v>
                </c:pt>
                <c:pt idx="60">
                  <c:v>-1.686012311E-2</c:v>
                </c:pt>
                <c:pt idx="61">
                  <c:v>-8.0263645600000006E-3</c:v>
                </c:pt>
                <c:pt idx="62">
                  <c:v>1.8332630100000001E-3</c:v>
                </c:pt>
                <c:pt idx="63">
                  <c:v>-3.4690678599999997E-2</c:v>
                </c:pt>
                <c:pt idx="64">
                  <c:v>-2.8945777159999998E-2</c:v>
                </c:pt>
                <c:pt idx="65">
                  <c:v>-3.2479896389999999E-2</c:v>
                </c:pt>
                <c:pt idx="66">
                  <c:v>-2.844795202E-2</c:v>
                </c:pt>
                <c:pt idx="67">
                  <c:v>-2.730891953E-2</c:v>
                </c:pt>
                <c:pt idx="68">
                  <c:v>-3.7213710830000003E-2</c:v>
                </c:pt>
                <c:pt idx="69">
                  <c:v>-7.3906283990000002E-2</c:v>
                </c:pt>
                <c:pt idx="70">
                  <c:v>-0.11406279734999999</c:v>
                </c:pt>
                <c:pt idx="71">
                  <c:v>-0.15372285079</c:v>
                </c:pt>
                <c:pt idx="72">
                  <c:v>-0.16707249443</c:v>
                </c:pt>
                <c:pt idx="73">
                  <c:v>-0.18789719021000001</c:v>
                </c:pt>
                <c:pt idx="74">
                  <c:v>-0.19446051324999999</c:v>
                </c:pt>
                <c:pt idx="75">
                  <c:v>-0.18140794689</c:v>
                </c:pt>
                <c:pt idx="76">
                  <c:v>-0.1626662203</c:v>
                </c:pt>
                <c:pt idx="77">
                  <c:v>-0.14906806281000001</c:v>
                </c:pt>
                <c:pt idx="78">
                  <c:v>-0.15778689527</c:v>
                </c:pt>
                <c:pt idx="79">
                  <c:v>-0.16364274044999999</c:v>
                </c:pt>
                <c:pt idx="80">
                  <c:v>-0.17386743936999999</c:v>
                </c:pt>
                <c:pt idx="81">
                  <c:v>-0.18083156248999999</c:v>
                </c:pt>
                <c:pt idx="82">
                  <c:v>-0.13927866515000001</c:v>
                </c:pt>
                <c:pt idx="83">
                  <c:v>-0.16836427905000001</c:v>
                </c:pt>
                <c:pt idx="84">
                  <c:v>-0.14783588705</c:v>
                </c:pt>
                <c:pt idx="85">
                  <c:v>-0.12213834192</c:v>
                </c:pt>
                <c:pt idx="86">
                  <c:v>-0.11038102733000001</c:v>
                </c:pt>
                <c:pt idx="87">
                  <c:v>-0.11101170401</c:v>
                </c:pt>
                <c:pt idx="88">
                  <c:v>-8.3885209190000004E-2</c:v>
                </c:pt>
                <c:pt idx="89">
                  <c:v>-5.0539356309999998E-2</c:v>
                </c:pt>
                <c:pt idx="90">
                  <c:v>-9.4978197200000003E-2</c:v>
                </c:pt>
                <c:pt idx="91">
                  <c:v>-9.5850606719999995E-2</c:v>
                </c:pt>
                <c:pt idx="92">
                  <c:v>-0.1154335757</c:v>
                </c:pt>
                <c:pt idx="93">
                  <c:v>-0.10381529816</c:v>
                </c:pt>
                <c:pt idx="94">
                  <c:v>-5.8546782909999998E-2</c:v>
                </c:pt>
                <c:pt idx="95">
                  <c:v>1.4790012E-4</c:v>
                </c:pt>
                <c:pt idx="96">
                  <c:v>4.6971444479999999E-2</c:v>
                </c:pt>
                <c:pt idx="97">
                  <c:v>6.2918176000000006E-2</c:v>
                </c:pt>
                <c:pt idx="98">
                  <c:v>0.11683637556</c:v>
                </c:pt>
                <c:pt idx="99">
                  <c:v>0.18146089301000001</c:v>
                </c:pt>
                <c:pt idx="100">
                  <c:v>0.22243590653</c:v>
                </c:pt>
                <c:pt idx="101">
                  <c:v>0.18129865889999999</c:v>
                </c:pt>
                <c:pt idx="102">
                  <c:v>0.17146228966999999</c:v>
                </c:pt>
                <c:pt idx="103">
                  <c:v>0.19399959026999999</c:v>
                </c:pt>
                <c:pt idx="104">
                  <c:v>0.10450043308</c:v>
                </c:pt>
                <c:pt idx="105">
                  <c:v>7.7170741010000002E-2</c:v>
                </c:pt>
                <c:pt idx="106">
                  <c:v>3.3367314129999999E-2</c:v>
                </c:pt>
                <c:pt idx="107">
                  <c:v>3.1720206379999998E-2</c:v>
                </c:pt>
                <c:pt idx="108">
                  <c:v>4.9169637049999999E-2</c:v>
                </c:pt>
                <c:pt idx="109">
                  <c:v>6.0333639260000002E-2</c:v>
                </c:pt>
                <c:pt idx="110">
                  <c:v>7.5386898640000005E-2</c:v>
                </c:pt>
                <c:pt idx="111">
                  <c:v>5.0988508959999998E-2</c:v>
                </c:pt>
                <c:pt idx="112">
                  <c:v>4.9886153949999998E-2</c:v>
                </c:pt>
                <c:pt idx="113">
                  <c:v>0.10528338525</c:v>
                </c:pt>
                <c:pt idx="114">
                  <c:v>0.10995282298</c:v>
                </c:pt>
                <c:pt idx="115">
                  <c:v>0.10102637149</c:v>
                </c:pt>
                <c:pt idx="116">
                  <c:v>0.11489008153999999</c:v>
                </c:pt>
                <c:pt idx="117">
                  <c:v>0.11115282302</c:v>
                </c:pt>
                <c:pt idx="118">
                  <c:v>0.11076727122</c:v>
                </c:pt>
                <c:pt idx="119">
                  <c:v>0.13799215126</c:v>
                </c:pt>
                <c:pt idx="120">
                  <c:v>0.15396428962</c:v>
                </c:pt>
                <c:pt idx="121">
                  <c:v>0.18206858939000001</c:v>
                </c:pt>
                <c:pt idx="122">
                  <c:v>0.20458709366</c:v>
                </c:pt>
                <c:pt idx="123">
                  <c:v>0.20714416093999999</c:v>
                </c:pt>
                <c:pt idx="124">
                  <c:v>0.22676657384999999</c:v>
                </c:pt>
                <c:pt idx="125">
                  <c:v>0.12954627156000001</c:v>
                </c:pt>
                <c:pt idx="126">
                  <c:v>7.0814513209999999E-2</c:v>
                </c:pt>
                <c:pt idx="127">
                  <c:v>5.5840752190000002E-2</c:v>
                </c:pt>
                <c:pt idx="128">
                  <c:v>3.6739447610000003E-2</c:v>
                </c:pt>
                <c:pt idx="129">
                  <c:v>2.2688319179999999E-2</c:v>
                </c:pt>
                <c:pt idx="130">
                  <c:v>3.3893557919999998E-2</c:v>
                </c:pt>
                <c:pt idx="131">
                  <c:v>3.7421654649999997E-2</c:v>
                </c:pt>
                <c:pt idx="132">
                  <c:v>-5.5021608699999999E-3</c:v>
                </c:pt>
                <c:pt idx="133">
                  <c:v>-4.9863975460000001E-2</c:v>
                </c:pt>
                <c:pt idx="134">
                  <c:v>-8.7385941920000001E-2</c:v>
                </c:pt>
                <c:pt idx="135">
                  <c:v>-0.12137009208000001</c:v>
                </c:pt>
                <c:pt idx="136">
                  <c:v>-0.14559878379999999</c:v>
                </c:pt>
                <c:pt idx="137">
                  <c:v>-0.18257460192</c:v>
                </c:pt>
                <c:pt idx="138">
                  <c:v>-0.15643136561000001</c:v>
                </c:pt>
                <c:pt idx="139">
                  <c:v>-0.16432342904</c:v>
                </c:pt>
                <c:pt idx="140">
                  <c:v>-0.15683089438</c:v>
                </c:pt>
                <c:pt idx="141">
                  <c:v>-0.13053336105999999</c:v>
                </c:pt>
                <c:pt idx="142">
                  <c:v>-8.8573779079999998E-2</c:v>
                </c:pt>
                <c:pt idx="143">
                  <c:v>-9.8669066030000002E-2</c:v>
                </c:pt>
                <c:pt idx="144">
                  <c:v>-7.055737258E-2</c:v>
                </c:pt>
                <c:pt idx="145">
                  <c:v>-5.5061811779999997E-2</c:v>
                </c:pt>
                <c:pt idx="146">
                  <c:v>-8.3001321239999995E-2</c:v>
                </c:pt>
                <c:pt idx="147">
                  <c:v>-8.4087220749999997E-2</c:v>
                </c:pt>
                <c:pt idx="148">
                  <c:v>-8.2390818840000005E-2</c:v>
                </c:pt>
                <c:pt idx="149">
                  <c:v>-9.6481319329999995E-2</c:v>
                </c:pt>
                <c:pt idx="150">
                  <c:v>-7.8007597710000001E-2</c:v>
                </c:pt>
                <c:pt idx="151">
                  <c:v>-6.0032596510000001E-2</c:v>
                </c:pt>
                <c:pt idx="152">
                  <c:v>-1.8575051790000002E-2</c:v>
                </c:pt>
                <c:pt idx="153">
                  <c:v>-3.2822194460000002E-2</c:v>
                </c:pt>
                <c:pt idx="154">
                  <c:v>-1.6364593850000001E-2</c:v>
                </c:pt>
                <c:pt idx="155">
                  <c:v>-6.9771003600000003E-3</c:v>
                </c:pt>
                <c:pt idx="156">
                  <c:v>-1.085762344E-2</c:v>
                </c:pt>
                <c:pt idx="157">
                  <c:v>6.5663639000000003E-3</c:v>
                </c:pt>
                <c:pt idx="158">
                  <c:v>2.603480788E-2</c:v>
                </c:pt>
                <c:pt idx="159">
                  <c:v>4.2728074009999999E-2</c:v>
                </c:pt>
                <c:pt idx="160">
                  <c:v>2.582357037E-2</c:v>
                </c:pt>
                <c:pt idx="161">
                  <c:v>2.914283678E-2</c:v>
                </c:pt>
                <c:pt idx="162">
                  <c:v>3.012578544E-2</c:v>
                </c:pt>
                <c:pt idx="163">
                  <c:v>5.4874805890000003E-2</c:v>
                </c:pt>
                <c:pt idx="164">
                  <c:v>3.3840547579999998E-2</c:v>
                </c:pt>
                <c:pt idx="165">
                  <c:v>2.4658143550000001E-2</c:v>
                </c:pt>
                <c:pt idx="166">
                  <c:v>5.0923065490000002E-2</c:v>
                </c:pt>
                <c:pt idx="167">
                  <c:v>2.7961613390000001E-2</c:v>
                </c:pt>
                <c:pt idx="168">
                  <c:v>5.6221944230000001E-2</c:v>
                </c:pt>
                <c:pt idx="169">
                  <c:v>3.393711974E-2</c:v>
                </c:pt>
                <c:pt idx="170">
                  <c:v>3.3963828350000003E-2</c:v>
                </c:pt>
                <c:pt idx="171">
                  <c:v>5.803370394E-2</c:v>
                </c:pt>
                <c:pt idx="172">
                  <c:v>9.1925723360000003E-2</c:v>
                </c:pt>
                <c:pt idx="173">
                  <c:v>0.11613381873</c:v>
                </c:pt>
                <c:pt idx="174">
                  <c:v>6.8846255310000007E-2</c:v>
                </c:pt>
                <c:pt idx="175">
                  <c:v>6.8512220730000004E-2</c:v>
                </c:pt>
                <c:pt idx="176">
                  <c:v>8.0818515339999994E-2</c:v>
                </c:pt>
                <c:pt idx="177">
                  <c:v>9.7266804770000007E-2</c:v>
                </c:pt>
                <c:pt idx="178">
                  <c:v>8.1168573009999995E-2</c:v>
                </c:pt>
                <c:pt idx="179">
                  <c:v>7.362539136E-2</c:v>
                </c:pt>
                <c:pt idx="180">
                  <c:v>9.1182946299999998E-2</c:v>
                </c:pt>
                <c:pt idx="181">
                  <c:v>5.3263342480000003E-2</c:v>
                </c:pt>
                <c:pt idx="182">
                  <c:v>5.0443007800000002E-2</c:v>
                </c:pt>
                <c:pt idx="183">
                  <c:v>2.3181437499999999E-2</c:v>
                </c:pt>
                <c:pt idx="184">
                  <c:v>1.4321845830000001E-2</c:v>
                </c:pt>
                <c:pt idx="185">
                  <c:v>-2.0241970889999999E-2</c:v>
                </c:pt>
                <c:pt idx="186">
                  <c:v>8.3101041799999997E-3</c:v>
                </c:pt>
                <c:pt idx="187">
                  <c:v>1.6635593069999999E-2</c:v>
                </c:pt>
                <c:pt idx="188">
                  <c:v>-2.1631052049999999E-2</c:v>
                </c:pt>
                <c:pt idx="189">
                  <c:v>-4.0739083330000002E-2</c:v>
                </c:pt>
                <c:pt idx="190">
                  <c:v>-5.7050736019999999E-2</c:v>
                </c:pt>
                <c:pt idx="191">
                  <c:v>-6.7637317089999996E-2</c:v>
                </c:pt>
                <c:pt idx="192">
                  <c:v>-4.4037310580000003E-2</c:v>
                </c:pt>
                <c:pt idx="193">
                  <c:v>-6.2536329840000002E-2</c:v>
                </c:pt>
                <c:pt idx="194">
                  <c:v>-4.541325635E-2</c:v>
                </c:pt>
                <c:pt idx="195">
                  <c:v>-5.5349874399999999E-2</c:v>
                </c:pt>
                <c:pt idx="196">
                  <c:v>-3.7397273170000002E-2</c:v>
                </c:pt>
                <c:pt idx="197">
                  <c:v>-2.5834694040000002E-2</c:v>
                </c:pt>
                <c:pt idx="198">
                  <c:v>-2.5621995420000002E-2</c:v>
                </c:pt>
                <c:pt idx="199">
                  <c:v>-0.10892997821</c:v>
                </c:pt>
                <c:pt idx="200">
                  <c:v>-8.6394862389999993E-2</c:v>
                </c:pt>
                <c:pt idx="201">
                  <c:v>-6.712976189E-2</c:v>
                </c:pt>
                <c:pt idx="202">
                  <c:v>-0.10642974392</c:v>
                </c:pt>
                <c:pt idx="203">
                  <c:v>-0.13136753306999999</c:v>
                </c:pt>
                <c:pt idx="204">
                  <c:v>-0.14066845678000001</c:v>
                </c:pt>
                <c:pt idx="205">
                  <c:v>-0.15418445140000001</c:v>
                </c:pt>
                <c:pt idx="206">
                  <c:v>-0.11737352584999999</c:v>
                </c:pt>
                <c:pt idx="207">
                  <c:v>-0.1041864639</c:v>
                </c:pt>
                <c:pt idx="208">
                  <c:v>-7.573875863E-2</c:v>
                </c:pt>
                <c:pt idx="209">
                  <c:v>-9.5988949759999997E-2</c:v>
                </c:pt>
                <c:pt idx="210">
                  <c:v>-9.3335947990000001E-2</c:v>
                </c:pt>
                <c:pt idx="211">
                  <c:v>-7.1459363540000001E-2</c:v>
                </c:pt>
                <c:pt idx="212">
                  <c:v>-6.8962251119999998E-2</c:v>
                </c:pt>
                <c:pt idx="213">
                  <c:v>-8.3882871740000003E-2</c:v>
                </c:pt>
                <c:pt idx="214">
                  <c:v>-8.3777834770000004E-2</c:v>
                </c:pt>
                <c:pt idx="215">
                  <c:v>-5.876129771E-2</c:v>
                </c:pt>
                <c:pt idx="216">
                  <c:v>-6.721311932E-2</c:v>
                </c:pt>
                <c:pt idx="217">
                  <c:v>-0.15182164189</c:v>
                </c:pt>
                <c:pt idx="218">
                  <c:v>-0.18108203208000001</c:v>
                </c:pt>
                <c:pt idx="219">
                  <c:v>-0.19846356009999999</c:v>
                </c:pt>
                <c:pt idx="220">
                  <c:v>-0.21407430897999999</c:v>
                </c:pt>
                <c:pt idx="221">
                  <c:v>-0.20272987137000001</c:v>
                </c:pt>
                <c:pt idx="222">
                  <c:v>-0.19751684715000001</c:v>
                </c:pt>
                <c:pt idx="223">
                  <c:v>-0.20455580063000001</c:v>
                </c:pt>
                <c:pt idx="224">
                  <c:v>-0.16753216256</c:v>
                </c:pt>
                <c:pt idx="225">
                  <c:v>-0.16719162227000001</c:v>
                </c:pt>
                <c:pt idx="226">
                  <c:v>-0.19351298702</c:v>
                </c:pt>
                <c:pt idx="227">
                  <c:v>-0.20494359792</c:v>
                </c:pt>
                <c:pt idx="228">
                  <c:v>-0.19942830614000001</c:v>
                </c:pt>
                <c:pt idx="229">
                  <c:v>-0.16511371250000001</c:v>
                </c:pt>
                <c:pt idx="230">
                  <c:v>-0.17414815342000001</c:v>
                </c:pt>
                <c:pt idx="231">
                  <c:v>-0.21607576888999999</c:v>
                </c:pt>
                <c:pt idx="232">
                  <c:v>-0.19018716869999999</c:v>
                </c:pt>
                <c:pt idx="233">
                  <c:v>-0.16632248725000001</c:v>
                </c:pt>
                <c:pt idx="234">
                  <c:v>-0.18949227881</c:v>
                </c:pt>
                <c:pt idx="235">
                  <c:v>-0.18993034665</c:v>
                </c:pt>
                <c:pt idx="236">
                  <c:v>-0.14533343805999999</c:v>
                </c:pt>
                <c:pt idx="237">
                  <c:v>-0.17288242002000001</c:v>
                </c:pt>
                <c:pt idx="238">
                  <c:v>-0.1577475897</c:v>
                </c:pt>
                <c:pt idx="239">
                  <c:v>-0.15916379975</c:v>
                </c:pt>
                <c:pt idx="240">
                  <c:v>-0.17599432841000001</c:v>
                </c:pt>
                <c:pt idx="241">
                  <c:v>-0.16339071330999999</c:v>
                </c:pt>
                <c:pt idx="242">
                  <c:v>-0.11737343852</c:v>
                </c:pt>
                <c:pt idx="243">
                  <c:v>-0.11237769449</c:v>
                </c:pt>
                <c:pt idx="244">
                  <c:v>-0.17558662587000001</c:v>
                </c:pt>
                <c:pt idx="245">
                  <c:v>-0.19169498432000001</c:v>
                </c:pt>
                <c:pt idx="246">
                  <c:v>-0.20908001711999999</c:v>
                </c:pt>
                <c:pt idx="247">
                  <c:v>-0.21547975454000001</c:v>
                </c:pt>
                <c:pt idx="248">
                  <c:v>-0.25994682302</c:v>
                </c:pt>
                <c:pt idx="249">
                  <c:v>-0.28755679315999999</c:v>
                </c:pt>
                <c:pt idx="250">
                  <c:v>-0.23967639135999999</c:v>
                </c:pt>
                <c:pt idx="251">
                  <c:v>-0.25090847149000001</c:v>
                </c:pt>
                <c:pt idx="252">
                  <c:v>-0.25928933435000001</c:v>
                </c:pt>
                <c:pt idx="253">
                  <c:v>-0.29401588082000002</c:v>
                </c:pt>
                <c:pt idx="254">
                  <c:v>-0.30635718852999999</c:v>
                </c:pt>
                <c:pt idx="255">
                  <c:v>-0.31147084991000001</c:v>
                </c:pt>
                <c:pt idx="256">
                  <c:v>-0.26949242736000001</c:v>
                </c:pt>
                <c:pt idx="257">
                  <c:v>-0.2457435983</c:v>
                </c:pt>
                <c:pt idx="258">
                  <c:v>-0.31732466100000001</c:v>
                </c:pt>
                <c:pt idx="259">
                  <c:v>-0.29468798056000001</c:v>
                </c:pt>
                <c:pt idx="260">
                  <c:v>-0.29022495442000001</c:v>
                </c:pt>
                <c:pt idx="261">
                  <c:v>-0.30607427136999998</c:v>
                </c:pt>
                <c:pt idx="262">
                  <c:v>-0.35584140377000001</c:v>
                </c:pt>
                <c:pt idx="263">
                  <c:v>-0.36818789224999998</c:v>
                </c:pt>
                <c:pt idx="264">
                  <c:v>-0.32308876054000002</c:v>
                </c:pt>
                <c:pt idx="265">
                  <c:v>-0.31053318857000001</c:v>
                </c:pt>
                <c:pt idx="266">
                  <c:v>-0.30733420059</c:v>
                </c:pt>
                <c:pt idx="267">
                  <c:v>-0.29110344247999997</c:v>
                </c:pt>
                <c:pt idx="268">
                  <c:v>-0.28241244648000002</c:v>
                </c:pt>
                <c:pt idx="269">
                  <c:v>-0.21772737871</c:v>
                </c:pt>
                <c:pt idx="270">
                  <c:v>-0.15806157767000001</c:v>
                </c:pt>
                <c:pt idx="271">
                  <c:v>-0.12722501404</c:v>
                </c:pt>
                <c:pt idx="272">
                  <c:v>-0.18062735316</c:v>
                </c:pt>
                <c:pt idx="273">
                  <c:v>-0.16139670355999999</c:v>
                </c:pt>
                <c:pt idx="274">
                  <c:v>-0.19966409133999999</c:v>
                </c:pt>
                <c:pt idx="275">
                  <c:v>-0.19731975475999999</c:v>
                </c:pt>
                <c:pt idx="276">
                  <c:v>-0.24680026569999999</c:v>
                </c:pt>
                <c:pt idx="277">
                  <c:v>-0.26424110148000002</c:v>
                </c:pt>
                <c:pt idx="278">
                  <c:v>-0.26485510215000002</c:v>
                </c:pt>
                <c:pt idx="279">
                  <c:v>-0.28900727132999998</c:v>
                </c:pt>
                <c:pt idx="280">
                  <c:v>-0.33787046740999999</c:v>
                </c:pt>
                <c:pt idx="281">
                  <c:v>-0.36905083829000002</c:v>
                </c:pt>
                <c:pt idx="282">
                  <c:v>-0.38815346543000001</c:v>
                </c:pt>
                <c:pt idx="283">
                  <c:v>-0.46091362552999998</c:v>
                </c:pt>
                <c:pt idx="284">
                  <c:v>-0.46248032339</c:v>
                </c:pt>
                <c:pt idx="285">
                  <c:v>-0.39573454175</c:v>
                </c:pt>
                <c:pt idx="286">
                  <c:v>-0.42672359548</c:v>
                </c:pt>
                <c:pt idx="287">
                  <c:v>-0.35414718164999998</c:v>
                </c:pt>
                <c:pt idx="288">
                  <c:v>-0.25026737971000002</c:v>
                </c:pt>
                <c:pt idx="289">
                  <c:v>-0.28300725291000001</c:v>
                </c:pt>
                <c:pt idx="290">
                  <c:v>-0.12337589996999999</c:v>
                </c:pt>
                <c:pt idx="291">
                  <c:v>-8.039662451E-2</c:v>
                </c:pt>
                <c:pt idx="292">
                  <c:v>-0.10565262069</c:v>
                </c:pt>
                <c:pt idx="293">
                  <c:v>-8.2731531610000006E-2</c:v>
                </c:pt>
                <c:pt idx="294">
                  <c:v>-0.23504369590999999</c:v>
                </c:pt>
                <c:pt idx="295">
                  <c:v>-0.36744380561000001</c:v>
                </c:pt>
                <c:pt idx="296">
                  <c:v>-0.30095574302</c:v>
                </c:pt>
                <c:pt idx="297">
                  <c:v>-0.38411861018999999</c:v>
                </c:pt>
                <c:pt idx="298">
                  <c:v>-0.45297248426999998</c:v>
                </c:pt>
                <c:pt idx="299">
                  <c:v>-0.47840593147999999</c:v>
                </c:pt>
                <c:pt idx="300">
                  <c:v>-0.51294128939000005</c:v>
                </c:pt>
                <c:pt idx="301">
                  <c:v>-0.6086480111</c:v>
                </c:pt>
                <c:pt idx="302">
                  <c:v>-0.61455162022999998</c:v>
                </c:pt>
                <c:pt idx="303">
                  <c:v>-0.42934587281999997</c:v>
                </c:pt>
                <c:pt idx="304">
                  <c:v>-0.46470696165000003</c:v>
                </c:pt>
                <c:pt idx="305">
                  <c:v>-0.22090282822999999</c:v>
                </c:pt>
                <c:pt idx="306">
                  <c:v>-0.10233412568</c:v>
                </c:pt>
                <c:pt idx="307">
                  <c:v>8.3236456690000002E-2</c:v>
                </c:pt>
                <c:pt idx="308">
                  <c:v>0.51709558842000003</c:v>
                </c:pt>
                <c:pt idx="309">
                  <c:v>1.29527634</c:v>
                </c:pt>
                <c:pt idx="310">
                  <c:v>0.94400735354999998</c:v>
                </c:pt>
                <c:pt idx="311">
                  <c:v>0.67796659024000006</c:v>
                </c:pt>
                <c:pt idx="312">
                  <c:v>0.56873930414999996</c:v>
                </c:pt>
                <c:pt idx="313">
                  <c:v>0.68822279905999995</c:v>
                </c:pt>
                <c:pt idx="314">
                  <c:v>1.57751937998</c:v>
                </c:pt>
                <c:pt idx="315">
                  <c:v>0.84541917226999996</c:v>
                </c:pt>
                <c:pt idx="316">
                  <c:v>0.64298284207</c:v>
                </c:pt>
                <c:pt idx="317">
                  <c:v>0.71687840289000004</c:v>
                </c:pt>
                <c:pt idx="318">
                  <c:v>0.54497924574000001</c:v>
                </c:pt>
                <c:pt idx="319">
                  <c:v>0.80914117508000005</c:v>
                </c:pt>
                <c:pt idx="320">
                  <c:v>0.29398406203999999</c:v>
                </c:pt>
                <c:pt idx="321">
                  <c:v>-3.4729284700000002E-2</c:v>
                </c:pt>
                <c:pt idx="322">
                  <c:v>-0.12897845858000001</c:v>
                </c:pt>
                <c:pt idx="323">
                  <c:v>1.4788431600000001E-3</c:v>
                </c:pt>
                <c:pt idx="324">
                  <c:v>-7.9403662309999998E-2</c:v>
                </c:pt>
                <c:pt idx="325">
                  <c:v>-0.14049642413999999</c:v>
                </c:pt>
                <c:pt idx="326">
                  <c:v>-0.19315998643999999</c:v>
                </c:pt>
                <c:pt idx="327">
                  <c:v>-0.22500887782000001</c:v>
                </c:pt>
                <c:pt idx="328">
                  <c:v>0.14368643787999999</c:v>
                </c:pt>
                <c:pt idx="329">
                  <c:v>0.17379613781</c:v>
                </c:pt>
                <c:pt idx="330">
                  <c:v>0.18204365078000001</c:v>
                </c:pt>
                <c:pt idx="331">
                  <c:v>0.20030310686</c:v>
                </c:pt>
                <c:pt idx="332">
                  <c:v>0.13437420012000001</c:v>
                </c:pt>
                <c:pt idx="333">
                  <c:v>0.18885127758</c:v>
                </c:pt>
                <c:pt idx="334">
                  <c:v>8.9652886439999996E-2</c:v>
                </c:pt>
                <c:pt idx="335">
                  <c:v>3.5768853650000001E-2</c:v>
                </c:pt>
                <c:pt idx="336">
                  <c:v>4.6421729629999998E-2</c:v>
                </c:pt>
                <c:pt idx="337">
                  <c:v>1.8837004960000001E-2</c:v>
                </c:pt>
                <c:pt idx="338">
                  <c:v>-5.378756774E-2</c:v>
                </c:pt>
                <c:pt idx="339">
                  <c:v>0.11189752437</c:v>
                </c:pt>
                <c:pt idx="340">
                  <c:v>0.14395144301000001</c:v>
                </c:pt>
                <c:pt idx="341">
                  <c:v>-2.4899191200000001E-3</c:v>
                </c:pt>
                <c:pt idx="342">
                  <c:v>9.1451754630000007E-2</c:v>
                </c:pt>
                <c:pt idx="343">
                  <c:v>-6.7001671000000004E-4</c:v>
                </c:pt>
                <c:pt idx="344">
                  <c:v>9.2720730690000003E-2</c:v>
                </c:pt>
                <c:pt idx="345">
                  <c:v>3.9985558240000003E-2</c:v>
                </c:pt>
                <c:pt idx="346">
                  <c:v>-6.1882026780000002E-2</c:v>
                </c:pt>
                <c:pt idx="347">
                  <c:v>-8.6330664880000005E-2</c:v>
                </c:pt>
                <c:pt idx="348">
                  <c:v>-7.0126182960000005E-2</c:v>
                </c:pt>
                <c:pt idx="349">
                  <c:v>7.2410009250000004E-2</c:v>
                </c:pt>
                <c:pt idx="350">
                  <c:v>3.4058066140000003E-2</c:v>
                </c:pt>
                <c:pt idx="351">
                  <c:v>1.1337449960000001E-2</c:v>
                </c:pt>
                <c:pt idx="352">
                  <c:v>-4.6343423529999997E-2</c:v>
                </c:pt>
                <c:pt idx="353">
                  <c:v>4.9506191550000002E-2</c:v>
                </c:pt>
                <c:pt idx="354">
                  <c:v>9.3344155900000003E-2</c:v>
                </c:pt>
                <c:pt idx="355">
                  <c:v>-5.7765266750000002E-2</c:v>
                </c:pt>
                <c:pt idx="356">
                  <c:v>-0.18003144656</c:v>
                </c:pt>
                <c:pt idx="357">
                  <c:v>-7.2639261489999996E-2</c:v>
                </c:pt>
                <c:pt idx="358">
                  <c:v>0.15343363196000001</c:v>
                </c:pt>
                <c:pt idx="359">
                  <c:v>0.24825394040000001</c:v>
                </c:pt>
                <c:pt idx="360">
                  <c:v>0.18181818181000001</c:v>
                </c:pt>
                <c:pt idx="361">
                  <c:v>0.14859437753999999</c:v>
                </c:pt>
                <c:pt idx="362">
                  <c:v>0.25825739393000002</c:v>
                </c:pt>
                <c:pt idx="363">
                  <c:v>0.19058974116999999</c:v>
                </c:pt>
                <c:pt idx="364">
                  <c:v>-4.0328019149999998E-2</c:v>
                </c:pt>
                <c:pt idx="365">
                  <c:v>0.13997634004000001</c:v>
                </c:pt>
                <c:pt idx="366">
                  <c:v>0.21617363903</c:v>
                </c:pt>
                <c:pt idx="367">
                  <c:v>0.46232660385000002</c:v>
                </c:pt>
                <c:pt idx="368">
                  <c:v>0.65127863606000003</c:v>
                </c:pt>
                <c:pt idx="369">
                  <c:v>0.82932084350000002</c:v>
                </c:pt>
                <c:pt idx="370">
                  <c:v>0.91359501433000001</c:v>
                </c:pt>
                <c:pt idx="371">
                  <c:v>1.04968684178</c:v>
                </c:pt>
                <c:pt idx="372">
                  <c:v>0.86285881372999995</c:v>
                </c:pt>
                <c:pt idx="373">
                  <c:v>0.52677256883000001</c:v>
                </c:pt>
                <c:pt idx="374">
                  <c:v>0.29867933779</c:v>
                </c:pt>
                <c:pt idx="375">
                  <c:v>0.23377263210999999</c:v>
                </c:pt>
                <c:pt idx="376">
                  <c:v>0.12831349636</c:v>
                </c:pt>
                <c:pt idx="377">
                  <c:v>-0.11907219494</c:v>
                </c:pt>
                <c:pt idx="378">
                  <c:v>-0.17708290474999999</c:v>
                </c:pt>
                <c:pt idx="379">
                  <c:v>-0.13063431352999999</c:v>
                </c:pt>
                <c:pt idx="380">
                  <c:v>-0.10180148885</c:v>
                </c:pt>
                <c:pt idx="381">
                  <c:v>8.3794242970000002E-2</c:v>
                </c:pt>
                <c:pt idx="382">
                  <c:v>0.13218928688000001</c:v>
                </c:pt>
                <c:pt idx="383">
                  <c:v>0.23903818953</c:v>
                </c:pt>
                <c:pt idx="384">
                  <c:v>0.24132289010999999</c:v>
                </c:pt>
                <c:pt idx="385">
                  <c:v>0.28018551751999998</c:v>
                </c:pt>
                <c:pt idx="386">
                  <c:v>0.27559635962000001</c:v>
                </c:pt>
                <c:pt idx="387">
                  <c:v>3.4268309419999997E-2</c:v>
                </c:pt>
                <c:pt idx="388">
                  <c:v>-7.9868329840000002E-2</c:v>
                </c:pt>
                <c:pt idx="389">
                  <c:v>-7.0100098070000005E-2</c:v>
                </c:pt>
                <c:pt idx="390">
                  <c:v>-2.280320165E-2</c:v>
                </c:pt>
                <c:pt idx="391">
                  <c:v>-2.5551016629999999E-2</c:v>
                </c:pt>
                <c:pt idx="392">
                  <c:v>6.4014827479999994E-2</c:v>
                </c:pt>
                <c:pt idx="393">
                  <c:v>5.7451090660000002E-2</c:v>
                </c:pt>
                <c:pt idx="394">
                  <c:v>0.26098197342000001</c:v>
                </c:pt>
                <c:pt idx="395">
                  <c:v>0.50583460174999995</c:v>
                </c:pt>
                <c:pt idx="396">
                  <c:v>0.46793290518000002</c:v>
                </c:pt>
                <c:pt idx="397">
                  <c:v>0.47984992553</c:v>
                </c:pt>
                <c:pt idx="398">
                  <c:v>0.42374119531999999</c:v>
                </c:pt>
                <c:pt idx="399">
                  <c:v>0.55647039255999997</c:v>
                </c:pt>
                <c:pt idx="400">
                  <c:v>0.61443830064000005</c:v>
                </c:pt>
                <c:pt idx="401">
                  <c:v>0.46354626115999997</c:v>
                </c:pt>
                <c:pt idx="402">
                  <c:v>0.41176897538000001</c:v>
                </c:pt>
                <c:pt idx="403">
                  <c:v>0.37992907765</c:v>
                </c:pt>
                <c:pt idx="404">
                  <c:v>0.42996575668999998</c:v>
                </c:pt>
                <c:pt idx="405">
                  <c:v>0.32298015662000001</c:v>
                </c:pt>
                <c:pt idx="406">
                  <c:v>0.21929690700999999</c:v>
                </c:pt>
                <c:pt idx="407">
                  <c:v>0.10116322224</c:v>
                </c:pt>
                <c:pt idx="408">
                  <c:v>7.8477653389999999E-2</c:v>
                </c:pt>
                <c:pt idx="409">
                  <c:v>0.11642801575</c:v>
                </c:pt>
                <c:pt idx="410">
                  <c:v>0.2038868932</c:v>
                </c:pt>
                <c:pt idx="411">
                  <c:v>0.23430466615000001</c:v>
                </c:pt>
                <c:pt idx="412">
                  <c:v>0.23476007522</c:v>
                </c:pt>
                <c:pt idx="413">
                  <c:v>0.40791516257999999</c:v>
                </c:pt>
                <c:pt idx="414">
                  <c:v>0.5374140879</c:v>
                </c:pt>
                <c:pt idx="415">
                  <c:v>0.53324605215999998</c:v>
                </c:pt>
                <c:pt idx="416">
                  <c:v>0.57962018720999997</c:v>
                </c:pt>
                <c:pt idx="417">
                  <c:v>0.59630956368999999</c:v>
                </c:pt>
                <c:pt idx="418">
                  <c:v>0.55416456017000004</c:v>
                </c:pt>
                <c:pt idx="419">
                  <c:v>0.43425280359000001</c:v>
                </c:pt>
                <c:pt idx="420">
                  <c:v>0.43085760269000001</c:v>
                </c:pt>
                <c:pt idx="421">
                  <c:v>0.39844801388000001</c:v>
                </c:pt>
                <c:pt idx="422">
                  <c:v>0.36197274144000002</c:v>
                </c:pt>
                <c:pt idx="423">
                  <c:v>0.34530052108999998</c:v>
                </c:pt>
                <c:pt idx="424">
                  <c:v>0.37996078576999998</c:v>
                </c:pt>
                <c:pt idx="425">
                  <c:v>0.3537743599</c:v>
                </c:pt>
                <c:pt idx="426">
                  <c:v>0.34194809474999999</c:v>
                </c:pt>
                <c:pt idx="427">
                  <c:v>0.39485249088000002</c:v>
                </c:pt>
                <c:pt idx="428">
                  <c:v>0.44004265778000001</c:v>
                </c:pt>
                <c:pt idx="429">
                  <c:v>0.40421736186000001</c:v>
                </c:pt>
                <c:pt idx="430">
                  <c:v>0.42568272527000001</c:v>
                </c:pt>
                <c:pt idx="431">
                  <c:v>0.44707140649999999</c:v>
                </c:pt>
                <c:pt idx="432">
                  <c:v>0.40066460871999998</c:v>
                </c:pt>
                <c:pt idx="433">
                  <c:v>0.3126749097</c:v>
                </c:pt>
                <c:pt idx="434">
                  <c:v>0.25794648400999998</c:v>
                </c:pt>
                <c:pt idx="435">
                  <c:v>0.17338907734</c:v>
                </c:pt>
                <c:pt idx="436">
                  <c:v>0.13231207417999999</c:v>
                </c:pt>
                <c:pt idx="437">
                  <c:v>9.0398863290000006E-2</c:v>
                </c:pt>
                <c:pt idx="438">
                  <c:v>8.7541560239999996E-2</c:v>
                </c:pt>
                <c:pt idx="439">
                  <c:v>8.0793976710000007E-2</c:v>
                </c:pt>
                <c:pt idx="440">
                  <c:v>3.347784878E-2</c:v>
                </c:pt>
                <c:pt idx="441">
                  <c:v>2.469639249E-2</c:v>
                </c:pt>
                <c:pt idx="442">
                  <c:v>5.2723285549999999E-2</c:v>
                </c:pt>
                <c:pt idx="443">
                  <c:v>3.2105025240000001E-2</c:v>
                </c:pt>
                <c:pt idx="444">
                  <c:v>6.1608623539999997E-2</c:v>
                </c:pt>
                <c:pt idx="445">
                  <c:v>9.7049610150000007E-2</c:v>
                </c:pt>
                <c:pt idx="446">
                  <c:v>0.11043907561999999</c:v>
                </c:pt>
                <c:pt idx="447">
                  <c:v>9.4393186000000004E-2</c:v>
                </c:pt>
                <c:pt idx="448">
                  <c:v>9.0150851800000001E-2</c:v>
                </c:pt>
                <c:pt idx="449">
                  <c:v>3.3943574880000001E-2</c:v>
                </c:pt>
                <c:pt idx="450">
                  <c:v>4.1361062759999997E-2</c:v>
                </c:pt>
                <c:pt idx="451">
                  <c:v>1.218194991E-2</c:v>
                </c:pt>
                <c:pt idx="452">
                  <c:v>4.6514120399999996E-3</c:v>
                </c:pt>
                <c:pt idx="453">
                  <c:v>2.879563123E-2</c:v>
                </c:pt>
                <c:pt idx="454">
                  <c:v>-6.7228912000000002E-4</c:v>
                </c:pt>
                <c:pt idx="455">
                  <c:v>2.9007254390000001E-2</c:v>
                </c:pt>
                <c:pt idx="456">
                  <c:v>5.416922196E-2</c:v>
                </c:pt>
                <c:pt idx="457">
                  <c:v>1.1944359769999999E-2</c:v>
                </c:pt>
                <c:pt idx="458">
                  <c:v>4.76023257E-3</c:v>
                </c:pt>
                <c:pt idx="459">
                  <c:v>9.8416123000000001E-3</c:v>
                </c:pt>
                <c:pt idx="460">
                  <c:v>-5.8121039999999997E-5</c:v>
                </c:pt>
                <c:pt idx="461">
                  <c:v>-2.4965014819999999E-2</c:v>
                </c:pt>
                <c:pt idx="462">
                  <c:v>-2.794495264E-2</c:v>
                </c:pt>
                <c:pt idx="463">
                  <c:v>-8.3342801709999997E-2</c:v>
                </c:pt>
                <c:pt idx="464">
                  <c:v>-8.5795122180000002E-2</c:v>
                </c:pt>
                <c:pt idx="465">
                  <c:v>-9.3433737909999995E-2</c:v>
                </c:pt>
                <c:pt idx="466">
                  <c:v>-8.7985069240000005E-2</c:v>
                </c:pt>
                <c:pt idx="467">
                  <c:v>-6.6837605410000001E-2</c:v>
                </c:pt>
                <c:pt idx="468">
                  <c:v>-9.8277987270000006E-2</c:v>
                </c:pt>
                <c:pt idx="469">
                  <c:v>-9.513089089E-2</c:v>
                </c:pt>
                <c:pt idx="470">
                  <c:v>-0.11736736709999999</c:v>
                </c:pt>
                <c:pt idx="471">
                  <c:v>-0.13270665208999999</c:v>
                </c:pt>
                <c:pt idx="472">
                  <c:v>-0.14854879017</c:v>
                </c:pt>
                <c:pt idx="473">
                  <c:v>-0.14490177268000001</c:v>
                </c:pt>
                <c:pt idx="474">
                  <c:v>-0.13382220747000001</c:v>
                </c:pt>
                <c:pt idx="475">
                  <c:v>-0.15730235166000001</c:v>
                </c:pt>
                <c:pt idx="476">
                  <c:v>-0.16433900895</c:v>
                </c:pt>
                <c:pt idx="477">
                  <c:v>-0.17584680584000001</c:v>
                </c:pt>
                <c:pt idx="478">
                  <c:v>-0.16740050551999999</c:v>
                </c:pt>
                <c:pt idx="479">
                  <c:v>-0.16313853001</c:v>
                </c:pt>
                <c:pt idx="480">
                  <c:v>-0.16662423589</c:v>
                </c:pt>
                <c:pt idx="481">
                  <c:v>-0.15158286272999999</c:v>
                </c:pt>
                <c:pt idx="482">
                  <c:v>-0.16885344877</c:v>
                </c:pt>
                <c:pt idx="483">
                  <c:v>-0.15925504179</c:v>
                </c:pt>
                <c:pt idx="484">
                  <c:v>-0.15218162428000001</c:v>
                </c:pt>
                <c:pt idx="485">
                  <c:v>-0.12931562368999999</c:v>
                </c:pt>
                <c:pt idx="486">
                  <c:v>-9.1976605049999993E-2</c:v>
                </c:pt>
                <c:pt idx="487">
                  <c:v>-6.5079355699999994E-2</c:v>
                </c:pt>
                <c:pt idx="488">
                  <c:v>-5.9391898649999997E-2</c:v>
                </c:pt>
                <c:pt idx="489">
                  <c:v>-0.10270144204999999</c:v>
                </c:pt>
                <c:pt idx="490">
                  <c:v>-7.2992061009999998E-2</c:v>
                </c:pt>
                <c:pt idx="491">
                  <c:v>-9.9168115170000001E-2</c:v>
                </c:pt>
                <c:pt idx="492">
                  <c:v>-0.12650860553000001</c:v>
                </c:pt>
                <c:pt idx="493">
                  <c:v>-0.15482608448999999</c:v>
                </c:pt>
                <c:pt idx="494">
                  <c:v>-0.13604180918</c:v>
                </c:pt>
                <c:pt idx="495">
                  <c:v>-0.11614480994</c:v>
                </c:pt>
                <c:pt idx="496">
                  <c:v>-0.17076890620999999</c:v>
                </c:pt>
                <c:pt idx="497">
                  <c:v>-0.17966610147000001</c:v>
                </c:pt>
                <c:pt idx="498">
                  <c:v>-0.15850796441000001</c:v>
                </c:pt>
                <c:pt idx="499">
                  <c:v>-0.12743155778000001</c:v>
                </c:pt>
                <c:pt idx="500">
                  <c:v>-0.10260821735</c:v>
                </c:pt>
                <c:pt idx="501">
                  <c:v>-8.6154539909999994E-2</c:v>
                </c:pt>
                <c:pt idx="502">
                  <c:v>-5.8250127249999999E-2</c:v>
                </c:pt>
                <c:pt idx="503">
                  <c:v>7.4789398800000004E-3</c:v>
                </c:pt>
                <c:pt idx="504">
                  <c:v>0.15380278343000001</c:v>
                </c:pt>
                <c:pt idx="505">
                  <c:v>0.22764405891</c:v>
                </c:pt>
                <c:pt idx="506">
                  <c:v>0.30247563139</c:v>
                </c:pt>
                <c:pt idx="507">
                  <c:v>0.39409453899000002</c:v>
                </c:pt>
                <c:pt idx="508">
                  <c:v>0.49071721969999998</c:v>
                </c:pt>
                <c:pt idx="509">
                  <c:v>0.51610557666000001</c:v>
                </c:pt>
                <c:pt idx="510">
                  <c:v>0.43800439200000002</c:v>
                </c:pt>
                <c:pt idx="511">
                  <c:v>0.41071716347999998</c:v>
                </c:pt>
                <c:pt idx="512">
                  <c:v>0.45133993414000001</c:v>
                </c:pt>
                <c:pt idx="513">
                  <c:v>0.39540425295999998</c:v>
                </c:pt>
                <c:pt idx="514">
                  <c:v>0.38500806617</c:v>
                </c:pt>
                <c:pt idx="515">
                  <c:v>0.36095441479000001</c:v>
                </c:pt>
                <c:pt idx="516">
                  <c:v>0.37488618642999999</c:v>
                </c:pt>
                <c:pt idx="517">
                  <c:v>0.29758224440999997</c:v>
                </c:pt>
                <c:pt idx="518">
                  <c:v>0.28684299318000001</c:v>
                </c:pt>
                <c:pt idx="519">
                  <c:v>0.26356373677</c:v>
                </c:pt>
                <c:pt idx="520">
                  <c:v>0.23121161440999999</c:v>
                </c:pt>
                <c:pt idx="521">
                  <c:v>0.22898728671999999</c:v>
                </c:pt>
                <c:pt idx="522">
                  <c:v>0.24952163561999999</c:v>
                </c:pt>
                <c:pt idx="523">
                  <c:v>0.23012682728</c:v>
                </c:pt>
                <c:pt idx="524">
                  <c:v>0.16252336884999999</c:v>
                </c:pt>
                <c:pt idx="525">
                  <c:v>9.3246647040000005E-2</c:v>
                </c:pt>
                <c:pt idx="526">
                  <c:v>8.2768693190000006E-2</c:v>
                </c:pt>
                <c:pt idx="527">
                  <c:v>5.8299181960000002E-2</c:v>
                </c:pt>
                <c:pt idx="528">
                  <c:v>4.3622281190000001E-2</c:v>
                </c:pt>
                <c:pt idx="529">
                  <c:v>8.0305624700000005E-3</c:v>
                </c:pt>
                <c:pt idx="530">
                  <c:v>3.1315062849999999E-2</c:v>
                </c:pt>
                <c:pt idx="531">
                  <c:v>-9.5986582400000003E-3</c:v>
                </c:pt>
                <c:pt idx="532">
                  <c:v>-1.0224040909999999E-2</c:v>
                </c:pt>
                <c:pt idx="533">
                  <c:v>-3.1201079199999999E-2</c:v>
                </c:pt>
                <c:pt idx="534">
                  <c:v>-4.83865588E-2</c:v>
                </c:pt>
                <c:pt idx="535">
                  <c:v>-8.4822139510000005E-2</c:v>
                </c:pt>
                <c:pt idx="536">
                  <c:v>-5.7531787780000003E-2</c:v>
                </c:pt>
                <c:pt idx="537">
                  <c:v>-5.1045541010000001E-2</c:v>
                </c:pt>
                <c:pt idx="538">
                  <c:v>-7.531899517E-2</c:v>
                </c:pt>
                <c:pt idx="539">
                  <c:v>-8.7043561840000006E-2</c:v>
                </c:pt>
                <c:pt idx="540">
                  <c:v>-7.9228860560000003E-2</c:v>
                </c:pt>
                <c:pt idx="541">
                  <c:v>-6.8368339240000006E-2</c:v>
                </c:pt>
                <c:pt idx="542">
                  <c:v>-4.4326061149999998E-2</c:v>
                </c:pt>
                <c:pt idx="543">
                  <c:v>-3.2981461759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sympt_pripadu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3.5321236837579999</c:v>
                </c:pt>
                <c:pt idx="1">
                  <c:v>4.1021224792849997</c:v>
                </c:pt>
                <c:pt idx="2">
                  <c:v>4.7655637003080003</c:v>
                </c:pt>
                <c:pt idx="3">
                  <c:v>5.8401515935150004</c:v>
                </c:pt>
                <c:pt idx="4">
                  <c:v>6.2886752358970002</c:v>
                </c:pt>
                <c:pt idx="5">
                  <c:v>6.6624449378820003</c:v>
                </c:pt>
                <c:pt idx="6">
                  <c:v>7.092280095165</c:v>
                </c:pt>
                <c:pt idx="7">
                  <c:v>9.3909637623729996</c:v>
                </c:pt>
                <c:pt idx="8">
                  <c:v>10.671124991671</c:v>
                </c:pt>
                <c:pt idx="9">
                  <c:v>13.222103207719</c:v>
                </c:pt>
                <c:pt idx="10">
                  <c:v>15.193738385690001</c:v>
                </c:pt>
                <c:pt idx="11">
                  <c:v>18.837992980044</c:v>
                </c:pt>
                <c:pt idx="12">
                  <c:v>19.884548145602</c:v>
                </c:pt>
                <c:pt idx="13">
                  <c:v>20.959136038809</c:v>
                </c:pt>
                <c:pt idx="14">
                  <c:v>21.856183323572999</c:v>
                </c:pt>
                <c:pt idx="15">
                  <c:v>25.023881547896</c:v>
                </c:pt>
                <c:pt idx="16">
                  <c:v>31.125671932801001</c:v>
                </c:pt>
                <c:pt idx="17">
                  <c:v>34.246648944375998</c:v>
                </c:pt>
                <c:pt idx="18">
                  <c:v>34.517631978315002</c:v>
                </c:pt>
                <c:pt idx="19">
                  <c:v>35.115663501490999</c:v>
                </c:pt>
                <c:pt idx="20">
                  <c:v>36.928446556117997</c:v>
                </c:pt>
                <c:pt idx="21">
                  <c:v>40.283029631433998</c:v>
                </c:pt>
                <c:pt idx="22">
                  <c:v>42.077124200961997</c:v>
                </c:pt>
                <c:pt idx="23">
                  <c:v>41.488436920334998</c:v>
                </c:pt>
                <c:pt idx="24">
                  <c:v>45.450395761376001</c:v>
                </c:pt>
                <c:pt idx="25">
                  <c:v>47.534161849942997</c:v>
                </c:pt>
                <c:pt idx="26">
                  <c:v>49.150715811028</c:v>
                </c:pt>
                <c:pt idx="27">
                  <c:v>48.655470955897997</c:v>
                </c:pt>
                <c:pt idx="28">
                  <c:v>47.739735186033997</c:v>
                </c:pt>
                <c:pt idx="29">
                  <c:v>50.851367955059999</c:v>
                </c:pt>
                <c:pt idx="30">
                  <c:v>55.878570446757998</c:v>
                </c:pt>
                <c:pt idx="31">
                  <c:v>60.139545049387003</c:v>
                </c:pt>
                <c:pt idx="32">
                  <c:v>63.31658751626</c:v>
                </c:pt>
                <c:pt idx="33">
                  <c:v>65.484451787772997</c:v>
                </c:pt>
                <c:pt idx="34">
                  <c:v>73.333615529458001</c:v>
                </c:pt>
                <c:pt idx="35">
                  <c:v>84.630804771954999</c:v>
                </c:pt>
                <c:pt idx="36">
                  <c:v>96.133567350543004</c:v>
                </c:pt>
                <c:pt idx="37">
                  <c:v>105.113384440733</c:v>
                </c:pt>
                <c:pt idx="38">
                  <c:v>125.222194407526</c:v>
                </c:pt>
                <c:pt idx="39">
                  <c:v>134.725289080495</c:v>
                </c:pt>
                <c:pt idx="40">
                  <c:v>139.88331096788801</c:v>
                </c:pt>
                <c:pt idx="41">
                  <c:v>141.23822613758401</c:v>
                </c:pt>
                <c:pt idx="42">
                  <c:v>155.74983481715199</c:v>
                </c:pt>
                <c:pt idx="43">
                  <c:v>174.10192718461599</c:v>
                </c:pt>
                <c:pt idx="44">
                  <c:v>193.12680501565299</c:v>
                </c:pt>
                <c:pt idx="45">
                  <c:v>204.93792759837899</c:v>
                </c:pt>
                <c:pt idx="46">
                  <c:v>222.72002117031499</c:v>
                </c:pt>
                <c:pt idx="47">
                  <c:v>231.98016553699401</c:v>
                </c:pt>
                <c:pt idx="48">
                  <c:v>251.94881186554301</c:v>
                </c:pt>
                <c:pt idx="49">
                  <c:v>273.60876609557403</c:v>
                </c:pt>
                <c:pt idx="50">
                  <c:v>296.80117610374401</c:v>
                </c:pt>
                <c:pt idx="51">
                  <c:v>317.86309881059901</c:v>
                </c:pt>
                <c:pt idx="52">
                  <c:v>338.52321908782</c:v>
                </c:pt>
                <c:pt idx="53">
                  <c:v>362.96775759764</c:v>
                </c:pt>
                <c:pt idx="54">
                  <c:v>374.05937350404503</c:v>
                </c:pt>
                <c:pt idx="55">
                  <c:v>382.55328998165402</c:v>
                </c:pt>
                <c:pt idx="56">
                  <c:v>397.89653624813798</c:v>
                </c:pt>
                <c:pt idx="57">
                  <c:v>391.62654949734002</c:v>
                </c:pt>
                <c:pt idx="58">
                  <c:v>387.19737852881798</c:v>
                </c:pt>
                <c:pt idx="59">
                  <c:v>380.82460510997299</c:v>
                </c:pt>
                <c:pt idx="60">
                  <c:v>373.28380137242601</c:v>
                </c:pt>
                <c:pt idx="61">
                  <c:v>371.20003528385899</c:v>
                </c:pt>
                <c:pt idx="62">
                  <c:v>367.73332129794801</c:v>
                </c:pt>
                <c:pt idx="63">
                  <c:v>355.82875628972602</c:v>
                </c:pt>
                <c:pt idx="64">
                  <c:v>371.65790316879099</c:v>
                </c:pt>
                <c:pt idx="65">
                  <c:v>372.87265470024198</c:v>
                </c:pt>
                <c:pt idx="66">
                  <c:v>361.79972727893602</c:v>
                </c:pt>
                <c:pt idx="67">
                  <c:v>341.24239366976099</c:v>
                </c:pt>
                <c:pt idx="68">
                  <c:v>326.66537529234603</c:v>
                </c:pt>
                <c:pt idx="69">
                  <c:v>312.09770115748</c:v>
                </c:pt>
                <c:pt idx="70">
                  <c:v>293.82970697296298</c:v>
                </c:pt>
                <c:pt idx="71">
                  <c:v>260.134368339015</c:v>
                </c:pt>
                <c:pt idx="72">
                  <c:v>232.33524675388</c:v>
                </c:pt>
                <c:pt idx="73">
                  <c:v>211.57233980861301</c:v>
                </c:pt>
                <c:pt idx="74">
                  <c:v>194.154671696111</c:v>
                </c:pt>
                <c:pt idx="75">
                  <c:v>186.51108129051801</c:v>
                </c:pt>
                <c:pt idx="76">
                  <c:v>183.98813580211899</c:v>
                </c:pt>
                <c:pt idx="77">
                  <c:v>162.71129551662301</c:v>
                </c:pt>
                <c:pt idx="78">
                  <c:v>145.87297044219801</c:v>
                </c:pt>
                <c:pt idx="79">
                  <c:v>141.462487958775</c:v>
                </c:pt>
                <c:pt idx="80">
                  <c:v>137.08938244555</c:v>
                </c:pt>
                <c:pt idx="81">
                  <c:v>134.38889634870901</c:v>
                </c:pt>
                <c:pt idx="82">
                  <c:v>132.39857268563901</c:v>
                </c:pt>
                <c:pt idx="83">
                  <c:v>130.75398599690399</c:v>
                </c:pt>
                <c:pt idx="84">
                  <c:v>138.621838223689</c:v>
                </c:pt>
                <c:pt idx="85">
                  <c:v>138.425609130147</c:v>
                </c:pt>
                <c:pt idx="86">
                  <c:v>127.969401717116</c:v>
                </c:pt>
                <c:pt idx="87">
                  <c:v>123.680394386838</c:v>
                </c:pt>
                <c:pt idx="88">
                  <c:v>122.054496183203</c:v>
                </c:pt>
                <c:pt idx="89">
                  <c:v>121.288268294134</c:v>
                </c:pt>
                <c:pt idx="90">
                  <c:v>119.176469477919</c:v>
                </c:pt>
                <c:pt idx="91">
                  <c:v>120.8864658645</c:v>
                </c:pt>
                <c:pt idx="92">
                  <c:v>122.54974103833401</c:v>
                </c:pt>
                <c:pt idx="93">
                  <c:v>128.77300657638401</c:v>
                </c:pt>
                <c:pt idx="94">
                  <c:v>131.968737528356</c:v>
                </c:pt>
                <c:pt idx="95">
                  <c:v>136.35118728412999</c:v>
                </c:pt>
                <c:pt idx="96">
                  <c:v>136.500695164924</c:v>
                </c:pt>
                <c:pt idx="97">
                  <c:v>141.415766746027</c:v>
                </c:pt>
                <c:pt idx="98">
                  <c:v>147.62034379897801</c:v>
                </c:pt>
                <c:pt idx="99">
                  <c:v>159.82392456878799</c:v>
                </c:pt>
                <c:pt idx="100">
                  <c:v>168.934561054673</c:v>
                </c:pt>
                <c:pt idx="101">
                  <c:v>178.091918753306</c:v>
                </c:pt>
                <c:pt idx="102">
                  <c:v>181.072732126636</c:v>
                </c:pt>
                <c:pt idx="103">
                  <c:v>185.04403521022701</c:v>
                </c:pt>
                <c:pt idx="104">
                  <c:v>189.68812375739</c:v>
                </c:pt>
                <c:pt idx="105">
                  <c:v>200.45269117455899</c:v>
                </c:pt>
                <c:pt idx="106">
                  <c:v>213.945777416217</c:v>
                </c:pt>
                <c:pt idx="107">
                  <c:v>224.813131501431</c:v>
                </c:pt>
                <c:pt idx="108">
                  <c:v>240.05359109987</c:v>
                </c:pt>
                <c:pt idx="109">
                  <c:v>248.78111364122</c:v>
                </c:pt>
                <c:pt idx="110">
                  <c:v>257.32175133157699</c:v>
                </c:pt>
                <c:pt idx="111">
                  <c:v>270.53451029674699</c:v>
                </c:pt>
                <c:pt idx="112">
                  <c:v>288.02693234964602</c:v>
                </c:pt>
                <c:pt idx="113">
                  <c:v>317.57342729156102</c:v>
                </c:pt>
                <c:pt idx="114">
                  <c:v>297.69822338850798</c:v>
                </c:pt>
                <c:pt idx="115">
                  <c:v>263.57304959727702</c:v>
                </c:pt>
                <c:pt idx="116">
                  <c:v>251.00504336803101</c:v>
                </c:pt>
                <c:pt idx="117">
                  <c:v>252.52815490361999</c:v>
                </c:pt>
                <c:pt idx="118">
                  <c:v>273.02007881494802</c:v>
                </c:pt>
                <c:pt idx="119">
                  <c:v>312.68638843810697</c:v>
                </c:pt>
                <c:pt idx="120">
                  <c:v>340.17715001910398</c:v>
                </c:pt>
                <c:pt idx="121">
                  <c:v>396.46686713804598</c:v>
                </c:pt>
                <c:pt idx="122">
                  <c:v>402.40046115705798</c:v>
                </c:pt>
                <c:pt idx="123">
                  <c:v>416.14584194755599</c:v>
                </c:pt>
                <c:pt idx="124">
                  <c:v>431.09663002695697</c:v>
                </c:pt>
                <c:pt idx="125">
                  <c:v>445.80446780006702</c:v>
                </c:pt>
                <c:pt idx="126">
                  <c:v>452.04642182321601</c:v>
                </c:pt>
                <c:pt idx="127">
                  <c:v>458.22296614851899</c:v>
                </c:pt>
                <c:pt idx="128">
                  <c:v>469.65097478670998</c:v>
                </c:pt>
                <c:pt idx="129">
                  <c:v>528.052490721867</c:v>
                </c:pt>
                <c:pt idx="130">
                  <c:v>547.75949825902705</c:v>
                </c:pt>
                <c:pt idx="131">
                  <c:v>536.18198174004101</c:v>
                </c:pt>
                <c:pt idx="132">
                  <c:v>512.48498263419197</c:v>
                </c:pt>
                <c:pt idx="133">
                  <c:v>465.894589281761</c:v>
                </c:pt>
                <c:pt idx="134">
                  <c:v>414.996500113953</c:v>
                </c:pt>
                <c:pt idx="135">
                  <c:v>368.723811008209</c:v>
                </c:pt>
                <c:pt idx="136">
                  <c:v>341.186328214463</c:v>
                </c:pt>
                <c:pt idx="137">
                  <c:v>319.34883337598899</c:v>
                </c:pt>
                <c:pt idx="138">
                  <c:v>310.41573749854803</c:v>
                </c:pt>
                <c:pt idx="139">
                  <c:v>298.408385822279</c:v>
                </c:pt>
                <c:pt idx="140">
                  <c:v>290.559222080594</c:v>
                </c:pt>
                <c:pt idx="141">
                  <c:v>273.81433943166599</c:v>
                </c:pt>
                <c:pt idx="142">
                  <c:v>271.21664000287001</c:v>
                </c:pt>
                <c:pt idx="143">
                  <c:v>266.58189569825601</c:v>
                </c:pt>
                <c:pt idx="144">
                  <c:v>261.50797199380901</c:v>
                </c:pt>
                <c:pt idx="145">
                  <c:v>259.44289439034202</c:v>
                </c:pt>
                <c:pt idx="146">
                  <c:v>256.564867685058</c:v>
                </c:pt>
                <c:pt idx="147">
                  <c:v>254.686674932583</c:v>
                </c:pt>
                <c:pt idx="148">
                  <c:v>255.99486888953101</c:v>
                </c:pt>
                <c:pt idx="149">
                  <c:v>258.60191256087597</c:v>
                </c:pt>
                <c:pt idx="150">
                  <c:v>255.50896827694999</c:v>
                </c:pt>
                <c:pt idx="151">
                  <c:v>254.453068868842</c:v>
                </c:pt>
                <c:pt idx="152">
                  <c:v>255.40618160890401</c:v>
                </c:pt>
                <c:pt idx="153">
                  <c:v>256.95732587214201</c:v>
                </c:pt>
                <c:pt idx="154">
                  <c:v>257.06945678273797</c:v>
                </c:pt>
                <c:pt idx="155">
                  <c:v>263.06846049959699</c:v>
                </c:pt>
                <c:pt idx="156">
                  <c:v>264.12435990770501</c:v>
                </c:pt>
                <c:pt idx="157">
                  <c:v>268.88057936546397</c:v>
                </c:pt>
                <c:pt idx="158">
                  <c:v>273.31909457653597</c:v>
                </c:pt>
                <c:pt idx="159">
                  <c:v>273.19761942339102</c:v>
                </c:pt>
                <c:pt idx="160">
                  <c:v>275.79531885218603</c:v>
                </c:pt>
                <c:pt idx="161">
                  <c:v>282.30825590927498</c:v>
                </c:pt>
                <c:pt idx="162">
                  <c:v>284.04628502350499</c:v>
                </c:pt>
                <c:pt idx="163">
                  <c:v>289.27906085129598</c:v>
                </c:pt>
                <c:pt idx="164">
                  <c:v>290.94233602512901</c:v>
                </c:pt>
                <c:pt idx="165">
                  <c:v>292.829873020153</c:v>
                </c:pt>
                <c:pt idx="166">
                  <c:v>294.64265607478001</c:v>
                </c:pt>
                <c:pt idx="167">
                  <c:v>299.84739917492197</c:v>
                </c:pt>
                <c:pt idx="168">
                  <c:v>313.34982965913002</c:v>
                </c:pt>
                <c:pt idx="169">
                  <c:v>322.292269779121</c:v>
                </c:pt>
                <c:pt idx="170">
                  <c:v>337.52338513501002</c:v>
                </c:pt>
                <c:pt idx="171">
                  <c:v>351.53040471689798</c:v>
                </c:pt>
                <c:pt idx="172">
                  <c:v>359.585141794675</c:v>
                </c:pt>
                <c:pt idx="173">
                  <c:v>365.54676854133601</c:v>
                </c:pt>
                <c:pt idx="174">
                  <c:v>380.553622076034</c:v>
                </c:pt>
                <c:pt idx="175">
                  <c:v>399.50374596667399</c:v>
                </c:pt>
                <c:pt idx="176">
                  <c:v>416.18321891775503</c:v>
                </c:pt>
                <c:pt idx="177">
                  <c:v>432.99351126453098</c:v>
                </c:pt>
                <c:pt idx="178">
                  <c:v>451.16806302355201</c:v>
                </c:pt>
                <c:pt idx="179">
                  <c:v>457.64362311044198</c:v>
                </c:pt>
                <c:pt idx="180">
                  <c:v>460.47492860297803</c:v>
                </c:pt>
                <c:pt idx="181">
                  <c:v>466.576718987883</c:v>
                </c:pt>
                <c:pt idx="182">
                  <c:v>470.63212025442101</c:v>
                </c:pt>
                <c:pt idx="183">
                  <c:v>479.677347042458</c:v>
                </c:pt>
                <c:pt idx="184">
                  <c:v>483.545863458003</c:v>
                </c:pt>
                <c:pt idx="185">
                  <c:v>477.40669610289899</c:v>
                </c:pt>
                <c:pt idx="186">
                  <c:v>484.80733620220201</c:v>
                </c:pt>
                <c:pt idx="187">
                  <c:v>483.25619193896398</c:v>
                </c:pt>
                <c:pt idx="188">
                  <c:v>473.31391786616302</c:v>
                </c:pt>
                <c:pt idx="189">
                  <c:v>463.30623409551498</c:v>
                </c:pt>
                <c:pt idx="190">
                  <c:v>453.036911533477</c:v>
                </c:pt>
                <c:pt idx="191">
                  <c:v>427.27483482416</c:v>
                </c:pt>
                <c:pt idx="192">
                  <c:v>438.18891012212202</c:v>
                </c:pt>
                <c:pt idx="193">
                  <c:v>424.845331761257</c:v>
                </c:pt>
                <c:pt idx="194">
                  <c:v>420.59370140117801</c:v>
                </c:pt>
                <c:pt idx="195">
                  <c:v>416.93075832172502</c:v>
                </c:pt>
                <c:pt idx="196">
                  <c:v>408.19389153782498</c:v>
                </c:pt>
                <c:pt idx="197">
                  <c:v>394.19621619848698</c:v>
                </c:pt>
                <c:pt idx="198">
                  <c:v>390.14081493194999</c:v>
                </c:pt>
                <c:pt idx="199">
                  <c:v>353.548761107617</c:v>
                </c:pt>
                <c:pt idx="200">
                  <c:v>344.97074644706203</c:v>
                </c:pt>
                <c:pt idx="201">
                  <c:v>339.10256212589701</c:v>
                </c:pt>
                <c:pt idx="202">
                  <c:v>324.80587102496997</c:v>
                </c:pt>
                <c:pt idx="203">
                  <c:v>306.00525501512499</c:v>
                </c:pt>
                <c:pt idx="204">
                  <c:v>287.91480143905</c:v>
                </c:pt>
                <c:pt idx="205">
                  <c:v>271.394180611313</c:v>
                </c:pt>
                <c:pt idx="206">
                  <c:v>260.69502289199198</c:v>
                </c:pt>
                <c:pt idx="207">
                  <c:v>252.71503975461201</c:v>
                </c:pt>
                <c:pt idx="208">
                  <c:v>250.03324214286999</c:v>
                </c:pt>
                <c:pt idx="209">
                  <c:v>244.09030388130799</c:v>
                </c:pt>
                <c:pt idx="210">
                  <c:v>231.765247958353</c:v>
                </c:pt>
                <c:pt idx="211">
                  <c:v>222.53313631932301</c:v>
                </c:pt>
                <c:pt idx="212">
                  <c:v>211.98348648079599</c:v>
                </c:pt>
                <c:pt idx="213">
                  <c:v>190.73467892294801</c:v>
                </c:pt>
                <c:pt idx="214">
                  <c:v>181.838960015705</c:v>
                </c:pt>
                <c:pt idx="215">
                  <c:v>181.988467896499</c:v>
                </c:pt>
                <c:pt idx="216">
                  <c:v>155.918031183045</c:v>
                </c:pt>
                <c:pt idx="217">
                  <c:v>137.53790608793199</c:v>
                </c:pt>
                <c:pt idx="218">
                  <c:v>137.612660028329</c:v>
                </c:pt>
                <c:pt idx="219">
                  <c:v>136.407252739428</c:v>
                </c:pt>
                <c:pt idx="220">
                  <c:v>143.93871223442599</c:v>
                </c:pt>
                <c:pt idx="221">
                  <c:v>145.10674255312901</c:v>
                </c:pt>
                <c:pt idx="222">
                  <c:v>141.34101280562999</c:v>
                </c:pt>
                <c:pt idx="223">
                  <c:v>152.82508689911899</c:v>
                </c:pt>
                <c:pt idx="224">
                  <c:v>151.84394143140901</c:v>
                </c:pt>
                <c:pt idx="225">
                  <c:v>132.819063600372</c:v>
                </c:pt>
                <c:pt idx="226">
                  <c:v>120.241713128576</c:v>
                </c:pt>
                <c:pt idx="227">
                  <c:v>110.832060881104</c:v>
                </c:pt>
                <c:pt idx="228">
                  <c:v>106.711249916719</c:v>
                </c:pt>
                <c:pt idx="229">
                  <c:v>105.739448691558</c:v>
                </c:pt>
                <c:pt idx="230">
                  <c:v>103.777157756137</c:v>
                </c:pt>
                <c:pt idx="231">
                  <c:v>98.320120107156001</c:v>
                </c:pt>
                <c:pt idx="232">
                  <c:v>94.675865512802005</c:v>
                </c:pt>
                <c:pt idx="233">
                  <c:v>91.685707896921997</c:v>
                </c:pt>
                <c:pt idx="234">
                  <c:v>88.069486030217007</c:v>
                </c:pt>
                <c:pt idx="235">
                  <c:v>86.359489643635001</c:v>
                </c:pt>
                <c:pt idx="236">
                  <c:v>86.593095707375994</c:v>
                </c:pt>
                <c:pt idx="237">
                  <c:v>82.715235049282001</c:v>
                </c:pt>
                <c:pt idx="238">
                  <c:v>79.192455608073004</c:v>
                </c:pt>
                <c:pt idx="239">
                  <c:v>76.585411936726999</c:v>
                </c:pt>
                <c:pt idx="240">
                  <c:v>74.202630086572995</c:v>
                </c:pt>
                <c:pt idx="241">
                  <c:v>72.006733087411007</c:v>
                </c:pt>
                <c:pt idx="242">
                  <c:v>72.034765815059998</c:v>
                </c:pt>
                <c:pt idx="243">
                  <c:v>70.614440947516997</c:v>
                </c:pt>
                <c:pt idx="244">
                  <c:v>68.483953646201996</c:v>
                </c:pt>
                <c:pt idx="245">
                  <c:v>64.026749950031004</c:v>
                </c:pt>
                <c:pt idx="246">
                  <c:v>60.616101419418001</c:v>
                </c:pt>
                <c:pt idx="247">
                  <c:v>57.102666220758998</c:v>
                </c:pt>
                <c:pt idx="248">
                  <c:v>54.233983758024003</c:v>
                </c:pt>
                <c:pt idx="249">
                  <c:v>51.869890392968998</c:v>
                </c:pt>
                <c:pt idx="250">
                  <c:v>51.028908563503002</c:v>
                </c:pt>
                <c:pt idx="251">
                  <c:v>48.188258828416998</c:v>
                </c:pt>
                <c:pt idx="252">
                  <c:v>44.899085450948</c:v>
                </c:pt>
                <c:pt idx="253">
                  <c:v>42.123845413710001</c:v>
                </c:pt>
                <c:pt idx="254">
                  <c:v>40.11483326554</c:v>
                </c:pt>
                <c:pt idx="255">
                  <c:v>37.451724138896999</c:v>
                </c:pt>
                <c:pt idx="256">
                  <c:v>36.507955641385003</c:v>
                </c:pt>
                <c:pt idx="257">
                  <c:v>35.88189139056</c:v>
                </c:pt>
                <c:pt idx="258">
                  <c:v>33.648617421200001</c:v>
                </c:pt>
                <c:pt idx="259">
                  <c:v>31.209770115748</c:v>
                </c:pt>
                <c:pt idx="260">
                  <c:v>28.733545840097001</c:v>
                </c:pt>
                <c:pt idx="261">
                  <c:v>25.986338530506998</c:v>
                </c:pt>
                <c:pt idx="262">
                  <c:v>24.304374871575</c:v>
                </c:pt>
                <c:pt idx="263">
                  <c:v>23.295196676214999</c:v>
                </c:pt>
                <c:pt idx="264">
                  <c:v>23.127000310322</c:v>
                </c:pt>
                <c:pt idx="265">
                  <c:v>21.388971196092001</c:v>
                </c:pt>
                <c:pt idx="266">
                  <c:v>18.109142061172999</c:v>
                </c:pt>
                <c:pt idx="267">
                  <c:v>16.632751738332001</c:v>
                </c:pt>
                <c:pt idx="268">
                  <c:v>15.847835364164</c:v>
                </c:pt>
                <c:pt idx="269">
                  <c:v>14.791935956055999</c:v>
                </c:pt>
                <c:pt idx="270">
                  <c:v>14.399477768972</c:v>
                </c:pt>
                <c:pt idx="271">
                  <c:v>14.007019581888001</c:v>
                </c:pt>
                <c:pt idx="272">
                  <c:v>12.876366233382999</c:v>
                </c:pt>
                <c:pt idx="273">
                  <c:v>12.100794101764</c:v>
                </c:pt>
                <c:pt idx="274">
                  <c:v>11.119648634053</c:v>
                </c:pt>
                <c:pt idx="275">
                  <c:v>9.8675201324039996</c:v>
                </c:pt>
                <c:pt idx="276">
                  <c:v>8.8676861795939992</c:v>
                </c:pt>
                <c:pt idx="277">
                  <c:v>8.3537528393640006</c:v>
                </c:pt>
                <c:pt idx="278">
                  <c:v>8.2042449585699995</c:v>
                </c:pt>
                <c:pt idx="279">
                  <c:v>7.2885091887069997</c:v>
                </c:pt>
                <c:pt idx="280">
                  <c:v>6.615723725134</c:v>
                </c:pt>
                <c:pt idx="281">
                  <c:v>6.1578558402020001</c:v>
                </c:pt>
                <c:pt idx="282">
                  <c:v>5.6065455297750004</c:v>
                </c:pt>
                <c:pt idx="283">
                  <c:v>5.1206449171940003</c:v>
                </c:pt>
                <c:pt idx="284">
                  <c:v>4.849661883255</c:v>
                </c:pt>
                <c:pt idx="285">
                  <c:v>4.6814655173619997</c:v>
                </c:pt>
                <c:pt idx="286">
                  <c:v>4.0740897516360004</c:v>
                </c:pt>
                <c:pt idx="287">
                  <c:v>3.3452388327649998</c:v>
                </c:pt>
                <c:pt idx="288">
                  <c:v>2.9621248882310001</c:v>
                </c:pt>
                <c:pt idx="289">
                  <c:v>2.72851882449</c:v>
                </c:pt>
                <c:pt idx="290">
                  <c:v>2.3827818501540001</c:v>
                </c:pt>
                <c:pt idx="291">
                  <c:v>2.3360606374059998</c:v>
                </c:pt>
                <c:pt idx="292">
                  <c:v>2.3454048799549998</c:v>
                </c:pt>
                <c:pt idx="293">
                  <c:v>2.0931103311160002</c:v>
                </c:pt>
                <c:pt idx="294">
                  <c:v>1.831471539726</c:v>
                </c:pt>
                <c:pt idx="295">
                  <c:v>1.803438812077</c:v>
                </c:pt>
                <c:pt idx="296">
                  <c:v>1.6913079014820001</c:v>
                </c:pt>
                <c:pt idx="297">
                  <c:v>1.6819636589319999</c:v>
                </c:pt>
                <c:pt idx="298">
                  <c:v>1.7006521440310001</c:v>
                </c:pt>
                <c:pt idx="299">
                  <c:v>1.7006521440310001</c:v>
                </c:pt>
                <c:pt idx="300">
                  <c:v>1.7660618418789999</c:v>
                </c:pt>
                <c:pt idx="301">
                  <c:v>1.8781927524740001</c:v>
                </c:pt>
                <c:pt idx="302">
                  <c:v>1.8781927524740001</c:v>
                </c:pt>
                <c:pt idx="303">
                  <c:v>2.1398315438640001</c:v>
                </c:pt>
                <c:pt idx="304">
                  <c:v>2.308027909757</c:v>
                </c:pt>
                <c:pt idx="305">
                  <c:v>2.3547491225049999</c:v>
                </c:pt>
                <c:pt idx="306">
                  <c:v>2.4014703352529998</c:v>
                </c:pt>
                <c:pt idx="307">
                  <c:v>2.373437607604</c:v>
                </c:pt>
                <c:pt idx="308">
                  <c:v>2.2332739693599999</c:v>
                </c:pt>
                <c:pt idx="309">
                  <c:v>2.5229454883979998</c:v>
                </c:pt>
                <c:pt idx="310">
                  <c:v>2.6163879138950001</c:v>
                </c:pt>
                <c:pt idx="311">
                  <c:v>2.9247479180320002</c:v>
                </c:pt>
                <c:pt idx="312">
                  <c:v>3.1116327690249999</c:v>
                </c:pt>
                <c:pt idx="313">
                  <c:v>3.2050751945210001</c:v>
                </c:pt>
                <c:pt idx="314">
                  <c:v>3.6909758071010002</c:v>
                </c:pt>
                <c:pt idx="315">
                  <c:v>4.2703188451780001</c:v>
                </c:pt>
                <c:pt idx="316">
                  <c:v>4.139499449483</c:v>
                </c:pt>
                <c:pt idx="317">
                  <c:v>4.1768764196820003</c:v>
                </c:pt>
                <c:pt idx="318">
                  <c:v>3.9899915686890002</c:v>
                </c:pt>
                <c:pt idx="319">
                  <c:v>3.9993358112389998</c:v>
                </c:pt>
                <c:pt idx="320">
                  <c:v>4.018024296338</c:v>
                </c:pt>
                <c:pt idx="321">
                  <c:v>3.8965491431929999</c:v>
                </c:pt>
                <c:pt idx="322">
                  <c:v>3.9339261133919998</c:v>
                </c:pt>
                <c:pt idx="323">
                  <c:v>4.1488436920330001</c:v>
                </c:pt>
                <c:pt idx="324">
                  <c:v>4.139499449483</c:v>
                </c:pt>
                <c:pt idx="325">
                  <c:v>4.0927782367349996</c:v>
                </c:pt>
                <c:pt idx="326">
                  <c:v>4.0367127814380002</c:v>
                </c:pt>
                <c:pt idx="327">
                  <c:v>3.8591721729950001</c:v>
                </c:pt>
                <c:pt idx="328">
                  <c:v>3.7096642922009999</c:v>
                </c:pt>
                <c:pt idx="329">
                  <c:v>3.5601564114070001</c:v>
                </c:pt>
                <c:pt idx="330">
                  <c:v>3.3358945902160002</c:v>
                </c:pt>
                <c:pt idx="331">
                  <c:v>3.2891733774679999</c:v>
                </c:pt>
                <c:pt idx="332">
                  <c:v>3.2237636796200002</c:v>
                </c:pt>
                <c:pt idx="333">
                  <c:v>3.064911556277</c:v>
                </c:pt>
                <c:pt idx="334">
                  <c:v>3.1022885264750002</c:v>
                </c:pt>
                <c:pt idx="335">
                  <c:v>2.9901576158799998</c:v>
                </c:pt>
                <c:pt idx="336">
                  <c:v>2.8126170074369998</c:v>
                </c:pt>
                <c:pt idx="337">
                  <c:v>3.0462230711770002</c:v>
                </c:pt>
                <c:pt idx="338">
                  <c:v>2.8873709478339999</c:v>
                </c:pt>
                <c:pt idx="339">
                  <c:v>2.9247479180320002</c:v>
                </c:pt>
                <c:pt idx="340">
                  <c:v>2.9808133733300002</c:v>
                </c:pt>
                <c:pt idx="341">
                  <c:v>3.064911556277</c:v>
                </c:pt>
                <c:pt idx="342">
                  <c:v>3.1676982243220002</c:v>
                </c:pt>
                <c:pt idx="343">
                  <c:v>3.3265503476660001</c:v>
                </c:pt>
                <c:pt idx="344">
                  <c:v>3.2050751945210001</c:v>
                </c:pt>
                <c:pt idx="345">
                  <c:v>3.317206105116</c:v>
                </c:pt>
                <c:pt idx="346">
                  <c:v>3.2891733774679999</c:v>
                </c:pt>
                <c:pt idx="347">
                  <c:v>3.3452388327649998</c:v>
                </c:pt>
                <c:pt idx="348">
                  <c:v>3.2424521647189999</c:v>
                </c:pt>
                <c:pt idx="349">
                  <c:v>3.4199927731619999</c:v>
                </c:pt>
                <c:pt idx="350">
                  <c:v>3.4386812582620001</c:v>
                </c:pt>
                <c:pt idx="351">
                  <c:v>3.48540247101</c:v>
                </c:pt>
                <c:pt idx="352">
                  <c:v>3.3545830753149999</c:v>
                </c:pt>
                <c:pt idx="353">
                  <c:v>3.2798291349180002</c:v>
                </c:pt>
                <c:pt idx="354">
                  <c:v>3.2237636796200002</c:v>
                </c:pt>
                <c:pt idx="355">
                  <c:v>3.2704848923680001</c:v>
                </c:pt>
                <c:pt idx="356">
                  <c:v>3.2331079221699999</c:v>
                </c:pt>
                <c:pt idx="357">
                  <c:v>3.195730951971</c:v>
                </c:pt>
                <c:pt idx="358">
                  <c:v>3.2331079221699999</c:v>
                </c:pt>
                <c:pt idx="359">
                  <c:v>3.3545830753149999</c:v>
                </c:pt>
                <c:pt idx="360">
                  <c:v>3.4760582284599999</c:v>
                </c:pt>
                <c:pt idx="361">
                  <c:v>3.5040909561090001</c:v>
                </c:pt>
                <c:pt idx="362">
                  <c:v>3.5134351986589998</c:v>
                </c:pt>
                <c:pt idx="363">
                  <c:v>3.5040909561090001</c:v>
                </c:pt>
                <c:pt idx="364">
                  <c:v>3.48540247101</c:v>
                </c:pt>
                <c:pt idx="365">
                  <c:v>3.662943079453</c:v>
                </c:pt>
                <c:pt idx="366">
                  <c:v>4.2235976324299997</c:v>
                </c:pt>
                <c:pt idx="367">
                  <c:v>4.6254000620640001</c:v>
                </c:pt>
                <c:pt idx="368">
                  <c:v>4.8122849130559997</c:v>
                </c:pt>
                <c:pt idx="369">
                  <c:v>4.9898255214990002</c:v>
                </c:pt>
                <c:pt idx="370">
                  <c:v>5.6158897723240004</c:v>
                </c:pt>
                <c:pt idx="371">
                  <c:v>6.5129370570880001</c:v>
                </c:pt>
                <c:pt idx="372">
                  <c:v>6.8212970612259998</c:v>
                </c:pt>
                <c:pt idx="373">
                  <c:v>7.0735916100659999</c:v>
                </c:pt>
                <c:pt idx="374">
                  <c:v>7.4847382822490003</c:v>
                </c:pt>
                <c:pt idx="375">
                  <c:v>7.5968691928450003</c:v>
                </c:pt>
                <c:pt idx="376">
                  <c:v>7.5875249502950002</c:v>
                </c:pt>
                <c:pt idx="377">
                  <c:v>7.9799831373789996</c:v>
                </c:pt>
                <c:pt idx="378">
                  <c:v>8.1949007160209995</c:v>
                </c:pt>
                <c:pt idx="379">
                  <c:v>8.5780146605550005</c:v>
                </c:pt>
                <c:pt idx="380">
                  <c:v>9.0545710305860005</c:v>
                </c:pt>
                <c:pt idx="381">
                  <c:v>9.2694886092280004</c:v>
                </c:pt>
                <c:pt idx="382">
                  <c:v>9.4657177027700001</c:v>
                </c:pt>
                <c:pt idx="383">
                  <c:v>9.4844061878690002</c:v>
                </c:pt>
                <c:pt idx="384">
                  <c:v>9.3442425496249992</c:v>
                </c:pt>
                <c:pt idx="385">
                  <c:v>9.4844061878690002</c:v>
                </c:pt>
                <c:pt idx="386">
                  <c:v>9.4376849751209999</c:v>
                </c:pt>
                <c:pt idx="387">
                  <c:v>9.2881770943270006</c:v>
                </c:pt>
                <c:pt idx="388">
                  <c:v>9.3722752772739994</c:v>
                </c:pt>
                <c:pt idx="389">
                  <c:v>9.5311274006170006</c:v>
                </c:pt>
                <c:pt idx="390">
                  <c:v>9.8488316473039994</c:v>
                </c:pt>
                <c:pt idx="391">
                  <c:v>10.605715293824</c:v>
                </c:pt>
                <c:pt idx="392">
                  <c:v>9.8207989196559993</c:v>
                </c:pt>
                <c:pt idx="393">
                  <c:v>10.829977115015</c:v>
                </c:pt>
                <c:pt idx="394">
                  <c:v>12.325055922955</c:v>
                </c:pt>
                <c:pt idx="395">
                  <c:v>13.44636502891</c:v>
                </c:pt>
                <c:pt idx="396">
                  <c:v>13.969642611689</c:v>
                </c:pt>
                <c:pt idx="397">
                  <c:v>14.296691100925999</c:v>
                </c:pt>
                <c:pt idx="398">
                  <c:v>14.969476564499001</c:v>
                </c:pt>
                <c:pt idx="399">
                  <c:v>17.679306903890001</c:v>
                </c:pt>
                <c:pt idx="400">
                  <c:v>18.707173584349</c:v>
                </c:pt>
                <c:pt idx="401">
                  <c:v>18.866025707693002</c:v>
                </c:pt>
                <c:pt idx="402">
                  <c:v>19.716351779709001</c:v>
                </c:pt>
                <c:pt idx="403">
                  <c:v>19.856515417952998</c:v>
                </c:pt>
                <c:pt idx="404">
                  <c:v>19.893892388150999</c:v>
                </c:pt>
                <c:pt idx="405">
                  <c:v>21.622577259831999</c:v>
                </c:pt>
                <c:pt idx="406">
                  <c:v>23.014869399725999</c:v>
                </c:pt>
                <c:pt idx="407">
                  <c:v>25.435028220079001</c:v>
                </c:pt>
                <c:pt idx="408">
                  <c:v>27.845842797883002</c:v>
                </c:pt>
                <c:pt idx="409">
                  <c:v>30.630427077671001</c:v>
                </c:pt>
                <c:pt idx="410">
                  <c:v>32.284358008954001</c:v>
                </c:pt>
                <c:pt idx="411">
                  <c:v>33.321568931963</c:v>
                </c:pt>
                <c:pt idx="412">
                  <c:v>38.189919300318003</c:v>
                </c:pt>
                <c:pt idx="413">
                  <c:v>44.534659991513003</c:v>
                </c:pt>
                <c:pt idx="414">
                  <c:v>50.038418853242</c:v>
                </c:pt>
                <c:pt idx="415">
                  <c:v>57.513812892941999</c:v>
                </c:pt>
                <c:pt idx="416">
                  <c:v>66.568383923528998</c:v>
                </c:pt>
                <c:pt idx="417">
                  <c:v>70.651817917714993</c:v>
                </c:pt>
                <c:pt idx="418">
                  <c:v>73.062632495518997</c:v>
                </c:pt>
                <c:pt idx="419">
                  <c:v>79.519504097310005</c:v>
                </c:pt>
                <c:pt idx="420">
                  <c:v>89.358991502064995</c:v>
                </c:pt>
                <c:pt idx="421">
                  <c:v>98.946184357980002</c:v>
                </c:pt>
                <c:pt idx="422">
                  <c:v>97.170778273552003</c:v>
                </c:pt>
                <c:pt idx="423">
                  <c:v>102.824045016075</c:v>
                </c:pt>
                <c:pt idx="424">
                  <c:v>109.33698207316399</c:v>
                </c:pt>
                <c:pt idx="425">
                  <c:v>111.542223314875</c:v>
                </c:pt>
                <c:pt idx="426">
                  <c:v>128.54874475519301</c:v>
                </c:pt>
                <c:pt idx="427">
                  <c:v>152.55410386518</c:v>
                </c:pt>
                <c:pt idx="428">
                  <c:v>178.89552361257299</c:v>
                </c:pt>
                <c:pt idx="429">
                  <c:v>214.076596811912</c:v>
                </c:pt>
                <c:pt idx="430">
                  <c:v>243.06243720084899</c:v>
                </c:pt>
                <c:pt idx="431">
                  <c:v>253.836348860567</c:v>
                </c:pt>
                <c:pt idx="432">
                  <c:v>257.57404588041697</c:v>
                </c:pt>
                <c:pt idx="433">
                  <c:v>269.29172603764698</c:v>
                </c:pt>
                <c:pt idx="434">
                  <c:v>290.60594329334202</c:v>
                </c:pt>
                <c:pt idx="435">
                  <c:v>308.07967686114102</c:v>
                </c:pt>
                <c:pt idx="436">
                  <c:v>313.975893909955</c:v>
                </c:pt>
                <c:pt idx="437">
                  <c:v>326.048655284071</c:v>
                </c:pt>
                <c:pt idx="438">
                  <c:v>335.61715965488702</c:v>
                </c:pt>
                <c:pt idx="439">
                  <c:v>343.51304460931999</c:v>
                </c:pt>
                <c:pt idx="440">
                  <c:v>352.212534423021</c:v>
                </c:pt>
                <c:pt idx="441">
                  <c:v>377.29248142621498</c:v>
                </c:pt>
                <c:pt idx="442">
                  <c:v>367.28479765556602</c:v>
                </c:pt>
                <c:pt idx="443">
                  <c:v>376.554286264795</c:v>
                </c:pt>
                <c:pt idx="444">
                  <c:v>418.30436197652</c:v>
                </c:pt>
                <c:pt idx="445">
                  <c:v>447.981676314129</c:v>
                </c:pt>
                <c:pt idx="446">
                  <c:v>458.10149099537301</c:v>
                </c:pt>
                <c:pt idx="447">
                  <c:v>469.41736872297002</c:v>
                </c:pt>
                <c:pt idx="448">
                  <c:v>482.44324283714701</c:v>
                </c:pt>
                <c:pt idx="449">
                  <c:v>503.402378875956</c:v>
                </c:pt>
                <c:pt idx="450">
                  <c:v>538.23771510095901</c:v>
                </c:pt>
                <c:pt idx="451">
                  <c:v>526.54806767137802</c:v>
                </c:pt>
                <c:pt idx="452">
                  <c:v>513.81186507623897</c:v>
                </c:pt>
                <c:pt idx="453">
                  <c:v>513.71842265074201</c:v>
                </c:pt>
                <c:pt idx="454">
                  <c:v>525.23987371443002</c:v>
                </c:pt>
                <c:pt idx="455">
                  <c:v>519.38103363581502</c:v>
                </c:pt>
                <c:pt idx="456">
                  <c:v>538.75164844118797</c:v>
                </c:pt>
                <c:pt idx="457">
                  <c:v>528.033802236768</c:v>
                </c:pt>
                <c:pt idx="458">
                  <c:v>516.88612087506499</c:v>
                </c:pt>
                <c:pt idx="459">
                  <c:v>508.22400803156302</c:v>
                </c:pt>
                <c:pt idx="460">
                  <c:v>497.59960425263898</c:v>
                </c:pt>
                <c:pt idx="461">
                  <c:v>482.602094960491</c:v>
                </c:pt>
                <c:pt idx="462">
                  <c:v>465.95999897960797</c:v>
                </c:pt>
                <c:pt idx="463">
                  <c:v>441.618247137835</c:v>
                </c:pt>
                <c:pt idx="464">
                  <c:v>418.780918346551</c:v>
                </c:pt>
                <c:pt idx="465">
                  <c:v>393.20572648822701</c:v>
                </c:pt>
                <c:pt idx="466">
                  <c:v>381.85247179043199</c:v>
                </c:pt>
                <c:pt idx="467">
                  <c:v>375.00314200155702</c:v>
                </c:pt>
                <c:pt idx="468">
                  <c:v>359.79071513076701</c:v>
                </c:pt>
                <c:pt idx="469">
                  <c:v>346.31631737420798</c:v>
                </c:pt>
                <c:pt idx="470">
                  <c:v>322.96505524269401</c:v>
                </c:pt>
                <c:pt idx="471">
                  <c:v>301.80969011034301</c:v>
                </c:pt>
                <c:pt idx="472">
                  <c:v>285.14890564436098</c:v>
                </c:pt>
                <c:pt idx="473">
                  <c:v>273.03876730004703</c:v>
                </c:pt>
                <c:pt idx="474">
                  <c:v>270.65598544989302</c:v>
                </c:pt>
                <c:pt idx="475">
                  <c:v>255.92011494913399</c:v>
                </c:pt>
                <c:pt idx="476">
                  <c:v>230.63459460984799</c:v>
                </c:pt>
                <c:pt idx="477">
                  <c:v>213.88036771837</c:v>
                </c:pt>
                <c:pt idx="478">
                  <c:v>199.265972370756</c:v>
                </c:pt>
                <c:pt idx="479">
                  <c:v>166.25276344293101</c:v>
                </c:pt>
                <c:pt idx="480">
                  <c:v>150.91886141899599</c:v>
                </c:pt>
                <c:pt idx="481">
                  <c:v>147.85394986271899</c:v>
                </c:pt>
                <c:pt idx="482">
                  <c:v>142.17265039254599</c:v>
                </c:pt>
                <c:pt idx="483">
                  <c:v>132.585457536631</c:v>
                </c:pt>
                <c:pt idx="484">
                  <c:v>126.100553207191</c:v>
                </c:pt>
                <c:pt idx="485">
                  <c:v>123.596296203892</c:v>
                </c:pt>
                <c:pt idx="486">
                  <c:v>136.584793347871</c:v>
                </c:pt>
                <c:pt idx="487">
                  <c:v>137.19216911359601</c:v>
                </c:pt>
                <c:pt idx="488">
                  <c:v>136.85577638180999</c:v>
                </c:pt>
                <c:pt idx="489">
                  <c:v>143.013632222013</c:v>
                </c:pt>
                <c:pt idx="490">
                  <c:v>149.71345413009399</c:v>
                </c:pt>
                <c:pt idx="491">
                  <c:v>155.245245719472</c:v>
                </c:pt>
                <c:pt idx="492">
                  <c:v>155.03032814083099</c:v>
                </c:pt>
                <c:pt idx="493">
                  <c:v>159.683760930544</c:v>
                </c:pt>
                <c:pt idx="494">
                  <c:v>167.13112224259501</c:v>
                </c:pt>
                <c:pt idx="495">
                  <c:v>167.27128588084</c:v>
                </c:pt>
                <c:pt idx="496">
                  <c:v>158.64655000753601</c:v>
                </c:pt>
                <c:pt idx="497">
                  <c:v>155.133114808877</c:v>
                </c:pt>
                <c:pt idx="498">
                  <c:v>162.79539369956899</c:v>
                </c:pt>
                <c:pt idx="499">
                  <c:v>176.260447213579</c:v>
                </c:pt>
                <c:pt idx="500">
                  <c:v>195.902045052891</c:v>
                </c:pt>
                <c:pt idx="501">
                  <c:v>214.37561257350001</c:v>
                </c:pt>
                <c:pt idx="502">
                  <c:v>223.719855123125</c:v>
                </c:pt>
                <c:pt idx="503">
                  <c:v>261.22764471732103</c:v>
                </c:pt>
                <c:pt idx="504">
                  <c:v>311.84540660864002</c:v>
                </c:pt>
                <c:pt idx="505">
                  <c:v>364.12644367379301</c:v>
                </c:pt>
                <c:pt idx="506">
                  <c:v>419.43501532502398</c:v>
                </c:pt>
                <c:pt idx="507">
                  <c:v>474.89309485705002</c:v>
                </c:pt>
                <c:pt idx="508">
                  <c:v>503.39303463340701</c:v>
                </c:pt>
                <c:pt idx="509">
                  <c:v>517.21316936430196</c:v>
                </c:pt>
                <c:pt idx="510">
                  <c:v>552.90817590386996</c:v>
                </c:pt>
                <c:pt idx="511">
                  <c:v>592.58382976957898</c:v>
                </c:pt>
                <c:pt idx="512">
                  <c:v>660.89958704988896</c:v>
                </c:pt>
                <c:pt idx="513">
                  <c:v>695.54803842389902</c:v>
                </c:pt>
                <c:pt idx="514">
                  <c:v>753.20201495508604</c:v>
                </c:pt>
                <c:pt idx="515">
                  <c:v>755.09889619266005</c:v>
                </c:pt>
                <c:pt idx="516">
                  <c:v>795.92389189197195</c:v>
                </c:pt>
                <c:pt idx="517">
                  <c:v>805.06256110550601</c:v>
                </c:pt>
                <c:pt idx="518">
                  <c:v>873.611924449556</c:v>
                </c:pt>
                <c:pt idx="519">
                  <c:v>882.27403729305797</c:v>
                </c:pt>
                <c:pt idx="520">
                  <c:v>905.36366063318201</c:v>
                </c:pt>
                <c:pt idx="521">
                  <c:v>864.12751826168596</c:v>
                </c:pt>
                <c:pt idx="522">
                  <c:v>885.28288339403798</c:v>
                </c:pt>
                <c:pt idx="523">
                  <c:v>841.77609008298305</c:v>
                </c:pt>
                <c:pt idx="524">
                  <c:v>843.49543071211394</c:v>
                </c:pt>
                <c:pt idx="525">
                  <c:v>788.50456330757004</c:v>
                </c:pt>
                <c:pt idx="526">
                  <c:v>741.50302328295504</c:v>
                </c:pt>
                <c:pt idx="527">
                  <c:v>686.22248435937297</c:v>
                </c:pt>
                <c:pt idx="528">
                  <c:v>663.93646587851697</c:v>
                </c:pt>
                <c:pt idx="529">
                  <c:v>619.90639498468295</c:v>
                </c:pt>
                <c:pt idx="530">
                  <c:v>612.28149306418902</c:v>
                </c:pt>
                <c:pt idx="531">
                  <c:v>580.62319930605895</c:v>
                </c:pt>
                <c:pt idx="532">
                  <c:v>547.74080977392805</c:v>
                </c:pt>
                <c:pt idx="533">
                  <c:v>502.84172432297902</c:v>
                </c:pt>
                <c:pt idx="534">
                  <c:v>473.76244150854501</c:v>
                </c:pt>
                <c:pt idx="535">
                  <c:v>440.11382408734499</c:v>
                </c:pt>
                <c:pt idx="536">
                  <c:v>431.10597426950602</c:v>
                </c:pt>
                <c:pt idx="537">
                  <c:v>424.94811842930301</c:v>
                </c:pt>
                <c:pt idx="538">
                  <c:v>411.613884310988</c:v>
                </c:pt>
                <c:pt idx="539">
                  <c:v>372.84462197259302</c:v>
                </c:pt>
                <c:pt idx="540">
                  <c:v>352.44614048676198</c:v>
                </c:pt>
                <c:pt idx="541">
                  <c:v>334.738800855222</c:v>
                </c:pt>
                <c:pt idx="542">
                  <c:v>319.99358611191298</c:v>
                </c:pt>
                <c:pt idx="543">
                  <c:v>291.269384514365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sympt_pripadu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23127</c:v>
                </c:pt>
                <c:pt idx="1">
                  <c:v>0.33434599999999998</c:v>
                </c:pt>
                <c:pt idx="2">
                  <c:v>0.37466300000000002</c:v>
                </c:pt>
                <c:pt idx="3">
                  <c:v>0.82748500000000003</c:v>
                </c:pt>
                <c:pt idx="4">
                  <c:v>0.91193100000000005</c:v>
                </c:pt>
                <c:pt idx="5">
                  <c:v>0.92183199999999998</c:v>
                </c:pt>
                <c:pt idx="6">
                  <c:v>0.76922999999999997</c:v>
                </c:pt>
                <c:pt idx="7">
                  <c:v>0.96289000000000002</c:v>
                </c:pt>
                <c:pt idx="8">
                  <c:v>1.0105630000000001</c:v>
                </c:pt>
                <c:pt idx="9">
                  <c:v>1.0477559999999999</c:v>
                </c:pt>
                <c:pt idx="10">
                  <c:v>1.2869189999999999</c:v>
                </c:pt>
                <c:pt idx="11">
                  <c:v>1.6915880000000001</c:v>
                </c:pt>
                <c:pt idx="12">
                  <c:v>1.6767289999999999</c:v>
                </c:pt>
                <c:pt idx="13">
                  <c:v>1.0845720000000001</c:v>
                </c:pt>
                <c:pt idx="14">
                  <c:v>0.83307200000000003</c:v>
                </c:pt>
                <c:pt idx="15">
                  <c:v>0.73445499999999997</c:v>
                </c:pt>
                <c:pt idx="16">
                  <c:v>0.84338599999999997</c:v>
                </c:pt>
                <c:pt idx="17">
                  <c:v>0.74357700000000004</c:v>
                </c:pt>
                <c:pt idx="18">
                  <c:v>0.67604299999999995</c:v>
                </c:pt>
                <c:pt idx="19">
                  <c:v>0.616344</c:v>
                </c:pt>
                <c:pt idx="20">
                  <c:v>0.48795100000000002</c:v>
                </c:pt>
                <c:pt idx="21">
                  <c:v>0.46185100000000001</c:v>
                </c:pt>
                <c:pt idx="22">
                  <c:v>0.20626800000000001</c:v>
                </c:pt>
                <c:pt idx="23">
                  <c:v>9.4404000000000002E-2</c:v>
                </c:pt>
                <c:pt idx="24">
                  <c:v>0.16642599999999999</c:v>
                </c:pt>
                <c:pt idx="25">
                  <c:v>0.28915299999999999</c:v>
                </c:pt>
                <c:pt idx="26">
                  <c:v>0.26777499999999999</c:v>
                </c:pt>
                <c:pt idx="27">
                  <c:v>0.102243</c:v>
                </c:pt>
                <c:pt idx="28">
                  <c:v>-7.8200000000000003E-4</c:v>
                </c:pt>
                <c:pt idx="29">
                  <c:v>-9.6450000000000008E-3</c:v>
                </c:pt>
                <c:pt idx="30">
                  <c:v>6.9766999999999996E-2</c:v>
                </c:pt>
                <c:pt idx="31">
                  <c:v>0.15092900000000001</c:v>
                </c:pt>
                <c:pt idx="32">
                  <c:v>0.22931699999999999</c:v>
                </c:pt>
                <c:pt idx="33">
                  <c:v>0.25187500000000002</c:v>
                </c:pt>
                <c:pt idx="34">
                  <c:v>0.33446599999999999</c:v>
                </c:pt>
                <c:pt idx="35">
                  <c:v>0.45051200000000002</c:v>
                </c:pt>
                <c:pt idx="36">
                  <c:v>0.47561599999999998</c:v>
                </c:pt>
                <c:pt idx="37">
                  <c:v>0.48286299999999999</c:v>
                </c:pt>
                <c:pt idx="38">
                  <c:v>0.78584699999999996</c:v>
                </c:pt>
                <c:pt idx="39">
                  <c:v>0.93972800000000001</c:v>
                </c:pt>
                <c:pt idx="40">
                  <c:v>0.828731</c:v>
                </c:pt>
                <c:pt idx="41">
                  <c:v>0.55328299999999997</c:v>
                </c:pt>
                <c:pt idx="42">
                  <c:v>0.45916099999999999</c:v>
                </c:pt>
                <c:pt idx="43">
                  <c:v>0.45801700000000001</c:v>
                </c:pt>
                <c:pt idx="44">
                  <c:v>0.37722299999999997</c:v>
                </c:pt>
                <c:pt idx="45">
                  <c:v>0.416246</c:v>
                </c:pt>
                <c:pt idx="46">
                  <c:v>0.52524400000000004</c:v>
                </c:pt>
                <c:pt idx="47">
                  <c:v>0.52372099999999999</c:v>
                </c:pt>
                <c:pt idx="48">
                  <c:v>0.45345200000000002</c:v>
                </c:pt>
                <c:pt idx="49">
                  <c:v>0.39446599999999998</c:v>
                </c:pt>
                <c:pt idx="50">
                  <c:v>0.37151800000000001</c:v>
                </c:pt>
                <c:pt idx="51">
                  <c:v>0.324133</c:v>
                </c:pt>
                <c:pt idx="52">
                  <c:v>0.39768500000000001</c:v>
                </c:pt>
                <c:pt idx="53">
                  <c:v>0.49199100000000001</c:v>
                </c:pt>
                <c:pt idx="54">
                  <c:v>0.41522300000000001</c:v>
                </c:pt>
                <c:pt idx="55">
                  <c:v>0.25133699999999998</c:v>
                </c:pt>
                <c:pt idx="56">
                  <c:v>0.179785</c:v>
                </c:pt>
                <c:pt idx="57">
                  <c:v>8.7354000000000001E-2</c:v>
                </c:pt>
                <c:pt idx="58">
                  <c:v>4.5329999999999997E-3</c:v>
                </c:pt>
                <c:pt idx="59">
                  <c:v>-4.8490999999999999E-2</c:v>
                </c:pt>
                <c:pt idx="60">
                  <c:v>-5.4059000000000003E-2</c:v>
                </c:pt>
                <c:pt idx="61">
                  <c:v>-0.105292</c:v>
                </c:pt>
                <c:pt idx="62">
                  <c:v>-0.18582399999999999</c:v>
                </c:pt>
                <c:pt idx="63">
                  <c:v>-0.21843799999999999</c:v>
                </c:pt>
                <c:pt idx="64">
                  <c:v>-0.175121</c:v>
                </c:pt>
                <c:pt idx="65">
                  <c:v>-0.168458</c:v>
                </c:pt>
                <c:pt idx="66">
                  <c:v>-0.168263</c:v>
                </c:pt>
                <c:pt idx="67">
                  <c:v>-0.15292700000000001</c:v>
                </c:pt>
                <c:pt idx="68">
                  <c:v>-0.20044300000000001</c:v>
                </c:pt>
                <c:pt idx="69">
                  <c:v>-0.265546</c:v>
                </c:pt>
                <c:pt idx="70">
                  <c:v>-0.31514700000000001</c:v>
                </c:pt>
                <c:pt idx="71">
                  <c:v>-0.397567</c:v>
                </c:pt>
                <c:pt idx="72">
                  <c:v>-0.450762</c:v>
                </c:pt>
                <c:pt idx="73">
                  <c:v>-0.46493000000000001</c:v>
                </c:pt>
                <c:pt idx="74">
                  <c:v>-0.45497399999999999</c:v>
                </c:pt>
                <c:pt idx="75">
                  <c:v>-0.466281</c:v>
                </c:pt>
                <c:pt idx="76">
                  <c:v>-0.47586899999999999</c:v>
                </c:pt>
                <c:pt idx="77">
                  <c:v>-0.51188500000000003</c:v>
                </c:pt>
                <c:pt idx="78">
                  <c:v>-0.50126099999999996</c:v>
                </c:pt>
                <c:pt idx="79">
                  <c:v>-0.45947500000000002</c:v>
                </c:pt>
                <c:pt idx="80">
                  <c:v>-0.39811200000000002</c:v>
                </c:pt>
                <c:pt idx="81">
                  <c:v>-0.33305499999999999</c:v>
                </c:pt>
                <c:pt idx="82">
                  <c:v>-0.35970800000000003</c:v>
                </c:pt>
                <c:pt idx="83">
                  <c:v>-0.35157500000000003</c:v>
                </c:pt>
                <c:pt idx="84">
                  <c:v>-0.25226799999999999</c:v>
                </c:pt>
                <c:pt idx="85">
                  <c:v>-0.20359099999999999</c:v>
                </c:pt>
                <c:pt idx="86">
                  <c:v>-0.231265</c:v>
                </c:pt>
                <c:pt idx="87">
                  <c:v>-0.17865300000000001</c:v>
                </c:pt>
                <c:pt idx="88">
                  <c:v>-0.126579</c:v>
                </c:pt>
                <c:pt idx="89">
                  <c:v>-0.196881</c:v>
                </c:pt>
                <c:pt idx="90">
                  <c:v>-0.237428</c:v>
                </c:pt>
                <c:pt idx="91">
                  <c:v>-0.249637</c:v>
                </c:pt>
                <c:pt idx="92">
                  <c:v>-0.21396399999999999</c:v>
                </c:pt>
                <c:pt idx="93">
                  <c:v>-0.13392399999999999</c:v>
                </c:pt>
                <c:pt idx="94">
                  <c:v>-2.6401999999999998E-2</c:v>
                </c:pt>
                <c:pt idx="95">
                  <c:v>7.6661000000000007E-2</c:v>
                </c:pt>
                <c:pt idx="96">
                  <c:v>-9.4249999999999994E-3</c:v>
                </c:pt>
                <c:pt idx="97">
                  <c:v>-3.4143E-2</c:v>
                </c:pt>
                <c:pt idx="98">
                  <c:v>1.7846000000000001E-2</c:v>
                </c:pt>
                <c:pt idx="99">
                  <c:v>9.2767000000000002E-2</c:v>
                </c:pt>
                <c:pt idx="100">
                  <c:v>0.10642500000000001</c:v>
                </c:pt>
                <c:pt idx="101">
                  <c:v>0.20155000000000001</c:v>
                </c:pt>
                <c:pt idx="102">
                  <c:v>0.28339599999999998</c:v>
                </c:pt>
                <c:pt idx="103">
                  <c:v>0.171705</c:v>
                </c:pt>
                <c:pt idx="104">
                  <c:v>8.4806999999999994E-2</c:v>
                </c:pt>
                <c:pt idx="105">
                  <c:v>8.9596999999999996E-2</c:v>
                </c:pt>
                <c:pt idx="106">
                  <c:v>0.110593</c:v>
                </c:pt>
                <c:pt idx="107">
                  <c:v>0.112915</c:v>
                </c:pt>
                <c:pt idx="108">
                  <c:v>0.216555</c:v>
                </c:pt>
                <c:pt idx="109">
                  <c:v>0.31088100000000002</c:v>
                </c:pt>
                <c:pt idx="110">
                  <c:v>0.21887300000000001</c:v>
                </c:pt>
                <c:pt idx="111">
                  <c:v>0.15664500000000001</c:v>
                </c:pt>
                <c:pt idx="112">
                  <c:v>0.15075</c:v>
                </c:pt>
                <c:pt idx="113">
                  <c:v>0.23267199999999999</c:v>
                </c:pt>
                <c:pt idx="114">
                  <c:v>8.9979000000000003E-2</c:v>
                </c:pt>
                <c:pt idx="115">
                  <c:v>-1.6559999999999998E-2</c:v>
                </c:pt>
                <c:pt idx="116">
                  <c:v>-5.6480000000000002E-2</c:v>
                </c:pt>
                <c:pt idx="117">
                  <c:v>-0.14860400000000001</c:v>
                </c:pt>
                <c:pt idx="118">
                  <c:v>-0.17823</c:v>
                </c:pt>
                <c:pt idx="119">
                  <c:v>-0.14895700000000001</c:v>
                </c:pt>
                <c:pt idx="120">
                  <c:v>-3.5300000000000002E-3</c:v>
                </c:pt>
                <c:pt idx="121">
                  <c:v>0.271204</c:v>
                </c:pt>
                <c:pt idx="122">
                  <c:v>0.44248599999999999</c:v>
                </c:pt>
                <c:pt idx="123">
                  <c:v>0.54255100000000001</c:v>
                </c:pt>
                <c:pt idx="124">
                  <c:v>0.38037799999999999</c:v>
                </c:pt>
                <c:pt idx="125">
                  <c:v>0.19076000000000001</c:v>
                </c:pt>
                <c:pt idx="126">
                  <c:v>7.7413999999999997E-2</c:v>
                </c:pt>
                <c:pt idx="127">
                  <c:v>9.0289999999999995E-2</c:v>
                </c:pt>
                <c:pt idx="128">
                  <c:v>0.127383</c:v>
                </c:pt>
                <c:pt idx="129">
                  <c:v>0.223658</c:v>
                </c:pt>
                <c:pt idx="130">
                  <c:v>0.21759700000000001</c:v>
                </c:pt>
                <c:pt idx="131">
                  <c:v>6.0528999999999999E-2</c:v>
                </c:pt>
                <c:pt idx="132">
                  <c:v>-7.3955000000000007E-2</c:v>
                </c:pt>
                <c:pt idx="133">
                  <c:v>-0.17555699999999999</c:v>
                </c:pt>
                <c:pt idx="134">
                  <c:v>-0.245117</c:v>
                </c:pt>
                <c:pt idx="135">
                  <c:v>-0.32735500000000001</c:v>
                </c:pt>
                <c:pt idx="136">
                  <c:v>-0.40858100000000003</c:v>
                </c:pt>
                <c:pt idx="137">
                  <c:v>-0.43964500000000001</c:v>
                </c:pt>
                <c:pt idx="138">
                  <c:v>-0.47115299999999999</c:v>
                </c:pt>
                <c:pt idx="139">
                  <c:v>-0.47967399999999999</c:v>
                </c:pt>
                <c:pt idx="140">
                  <c:v>-0.44975300000000001</c:v>
                </c:pt>
                <c:pt idx="141">
                  <c:v>-0.40507500000000002</c:v>
                </c:pt>
                <c:pt idx="142">
                  <c:v>-0.35379300000000002</c:v>
                </c:pt>
                <c:pt idx="143">
                  <c:v>-0.27596799999999999</c:v>
                </c:pt>
                <c:pt idx="144">
                  <c:v>-0.21365500000000001</c:v>
                </c:pt>
                <c:pt idx="145">
                  <c:v>-0.25702399999999997</c:v>
                </c:pt>
                <c:pt idx="146">
                  <c:v>-0.27024500000000001</c:v>
                </c:pt>
                <c:pt idx="147">
                  <c:v>-0.24194099999999999</c:v>
                </c:pt>
                <c:pt idx="148">
                  <c:v>-0.19109400000000001</c:v>
                </c:pt>
                <c:pt idx="149">
                  <c:v>-0.18567</c:v>
                </c:pt>
                <c:pt idx="150">
                  <c:v>-0.11439299999999999</c:v>
                </c:pt>
                <c:pt idx="151">
                  <c:v>-6.676E-2</c:v>
                </c:pt>
                <c:pt idx="152">
                  <c:v>-0.13522300000000001</c:v>
                </c:pt>
                <c:pt idx="153">
                  <c:v>-0.16533100000000001</c:v>
                </c:pt>
                <c:pt idx="154">
                  <c:v>-0.14710400000000001</c:v>
                </c:pt>
                <c:pt idx="155">
                  <c:v>-0.12676699999999999</c:v>
                </c:pt>
                <c:pt idx="156">
                  <c:v>-0.124999</c:v>
                </c:pt>
                <c:pt idx="157">
                  <c:v>-2.7147999999999999E-2</c:v>
                </c:pt>
                <c:pt idx="158">
                  <c:v>2.538E-2</c:v>
                </c:pt>
                <c:pt idx="159">
                  <c:v>-6.7131999999999997E-2</c:v>
                </c:pt>
                <c:pt idx="160">
                  <c:v>-0.10560600000000001</c:v>
                </c:pt>
                <c:pt idx="161">
                  <c:v>-8.8708999999999996E-2</c:v>
                </c:pt>
                <c:pt idx="162">
                  <c:v>-8.1907999999999995E-2</c:v>
                </c:pt>
                <c:pt idx="163">
                  <c:v>-7.3223999999999997E-2</c:v>
                </c:pt>
                <c:pt idx="164">
                  <c:v>-1.1053E-2</c:v>
                </c:pt>
                <c:pt idx="165">
                  <c:v>2.6398000000000001E-2</c:v>
                </c:pt>
                <c:pt idx="166">
                  <c:v>-5.9392E-2</c:v>
                </c:pt>
                <c:pt idx="167">
                  <c:v>-0.101475</c:v>
                </c:pt>
                <c:pt idx="168">
                  <c:v>-6.9532999999999998E-2</c:v>
                </c:pt>
                <c:pt idx="169">
                  <c:v>-3.9648999999999997E-2</c:v>
                </c:pt>
                <c:pt idx="170">
                  <c:v>-4.2170000000000003E-3</c:v>
                </c:pt>
                <c:pt idx="171">
                  <c:v>0.10494299999999999</c:v>
                </c:pt>
                <c:pt idx="172">
                  <c:v>0.172731</c:v>
                </c:pt>
                <c:pt idx="173">
                  <c:v>7.5463000000000002E-2</c:v>
                </c:pt>
                <c:pt idx="174">
                  <c:v>2.5017000000000001E-2</c:v>
                </c:pt>
                <c:pt idx="175">
                  <c:v>6.0393000000000002E-2</c:v>
                </c:pt>
                <c:pt idx="176">
                  <c:v>6.9670999999999997E-2</c:v>
                </c:pt>
                <c:pt idx="177">
                  <c:v>7.9233999999999999E-2</c:v>
                </c:pt>
                <c:pt idx="178">
                  <c:v>0.16645299999999999</c:v>
                </c:pt>
                <c:pt idx="179">
                  <c:v>0.206424</c:v>
                </c:pt>
                <c:pt idx="180">
                  <c:v>8.1414E-2</c:v>
                </c:pt>
                <c:pt idx="181">
                  <c:v>-9.2259999999999998E-3</c:v>
                </c:pt>
                <c:pt idx="182">
                  <c:v>-1.8665000000000001E-2</c:v>
                </c:pt>
                <c:pt idx="183">
                  <c:v>-4.0216000000000002E-2</c:v>
                </c:pt>
                <c:pt idx="184">
                  <c:v>-6.08E-2</c:v>
                </c:pt>
                <c:pt idx="185">
                  <c:v>-3.1431000000000001E-2</c:v>
                </c:pt>
                <c:pt idx="186">
                  <c:v>9.5340000000000008E-3</c:v>
                </c:pt>
                <c:pt idx="187">
                  <c:v>-8.2722000000000004E-2</c:v>
                </c:pt>
                <c:pt idx="188">
                  <c:v>-0.156303</c:v>
                </c:pt>
                <c:pt idx="189">
                  <c:v>-0.17230899999999999</c:v>
                </c:pt>
                <c:pt idx="190">
                  <c:v>-0.20118900000000001</c:v>
                </c:pt>
                <c:pt idx="191">
                  <c:v>-0.23600199999999999</c:v>
                </c:pt>
                <c:pt idx="192">
                  <c:v>-0.167793</c:v>
                </c:pt>
                <c:pt idx="193">
                  <c:v>-0.16012100000000001</c:v>
                </c:pt>
                <c:pt idx="194">
                  <c:v>-0.22065599999999999</c:v>
                </c:pt>
                <c:pt idx="195">
                  <c:v>-0.25245000000000001</c:v>
                </c:pt>
                <c:pt idx="196">
                  <c:v>-0.24709999999999999</c:v>
                </c:pt>
                <c:pt idx="197">
                  <c:v>-0.234179</c:v>
                </c:pt>
                <c:pt idx="198">
                  <c:v>-0.24083099999999999</c:v>
                </c:pt>
                <c:pt idx="199">
                  <c:v>-0.25407999999999997</c:v>
                </c:pt>
                <c:pt idx="200">
                  <c:v>-0.218865</c:v>
                </c:pt>
                <c:pt idx="201">
                  <c:v>-0.283613</c:v>
                </c:pt>
                <c:pt idx="202">
                  <c:v>-0.340642</c:v>
                </c:pt>
                <c:pt idx="203">
                  <c:v>-0.35312500000000002</c:v>
                </c:pt>
                <c:pt idx="204">
                  <c:v>-0.36279499999999998</c:v>
                </c:pt>
                <c:pt idx="205">
                  <c:v>-0.38344600000000001</c:v>
                </c:pt>
                <c:pt idx="206">
                  <c:v>-0.315328</c:v>
                </c:pt>
                <c:pt idx="207">
                  <c:v>-0.28989599999999999</c:v>
                </c:pt>
                <c:pt idx="208">
                  <c:v>-0.33777099999999999</c:v>
                </c:pt>
                <c:pt idx="209">
                  <c:v>-0.36049100000000001</c:v>
                </c:pt>
                <c:pt idx="210">
                  <c:v>-0.34301900000000002</c:v>
                </c:pt>
                <c:pt idx="211">
                  <c:v>-0.323687</c:v>
                </c:pt>
                <c:pt idx="212">
                  <c:v>-0.31779600000000002</c:v>
                </c:pt>
                <c:pt idx="213">
                  <c:v>-0.31862299999999999</c:v>
                </c:pt>
                <c:pt idx="214">
                  <c:v>-0.30315799999999998</c:v>
                </c:pt>
                <c:pt idx="215">
                  <c:v>-0.35590899999999998</c:v>
                </c:pt>
                <c:pt idx="216">
                  <c:v>-0.45982499999999998</c:v>
                </c:pt>
                <c:pt idx="217">
                  <c:v>-0.48927799999999999</c:v>
                </c:pt>
                <c:pt idx="218">
                  <c:v>-0.45630700000000002</c:v>
                </c:pt>
                <c:pt idx="219">
                  <c:v>-0.407115</c:v>
                </c:pt>
                <c:pt idx="220">
                  <c:v>-0.284134</c:v>
                </c:pt>
                <c:pt idx="221">
                  <c:v>-0.23716599999999999</c:v>
                </c:pt>
                <c:pt idx="222">
                  <c:v>-0.24992500000000001</c:v>
                </c:pt>
                <c:pt idx="223">
                  <c:v>-0.160722</c:v>
                </c:pt>
                <c:pt idx="224">
                  <c:v>-0.13305500000000001</c:v>
                </c:pt>
                <c:pt idx="225">
                  <c:v>-0.20458799999999999</c:v>
                </c:pt>
                <c:pt idx="226">
                  <c:v>-0.25790000000000002</c:v>
                </c:pt>
                <c:pt idx="227">
                  <c:v>-0.28698499999999999</c:v>
                </c:pt>
                <c:pt idx="228">
                  <c:v>-0.28727399999999997</c:v>
                </c:pt>
                <c:pt idx="229">
                  <c:v>-0.33611000000000002</c:v>
                </c:pt>
                <c:pt idx="230">
                  <c:v>-0.41703800000000002</c:v>
                </c:pt>
                <c:pt idx="231">
                  <c:v>-0.42310399999999998</c:v>
                </c:pt>
                <c:pt idx="232">
                  <c:v>-0.36718499999999998</c:v>
                </c:pt>
                <c:pt idx="233">
                  <c:v>-0.32808300000000001</c:v>
                </c:pt>
                <c:pt idx="234">
                  <c:v>-0.25499899999999998</c:v>
                </c:pt>
                <c:pt idx="235">
                  <c:v>-0.217442</c:v>
                </c:pt>
                <c:pt idx="236">
                  <c:v>-0.288522</c:v>
                </c:pt>
                <c:pt idx="237">
                  <c:v>-0.33030700000000002</c:v>
                </c:pt>
                <c:pt idx="238">
                  <c:v>-0.30080000000000001</c:v>
                </c:pt>
                <c:pt idx="239">
                  <c:v>-0.29399599999999998</c:v>
                </c:pt>
                <c:pt idx="240">
                  <c:v>-0.28843999999999997</c:v>
                </c:pt>
                <c:pt idx="241">
                  <c:v>-0.23185800000000001</c:v>
                </c:pt>
                <c:pt idx="242">
                  <c:v>-0.20171800000000001</c:v>
                </c:pt>
                <c:pt idx="243">
                  <c:v>-0.28444199999999997</c:v>
                </c:pt>
                <c:pt idx="244">
                  <c:v>-0.30773499999999998</c:v>
                </c:pt>
                <c:pt idx="245">
                  <c:v>-0.30045899999999998</c:v>
                </c:pt>
                <c:pt idx="246">
                  <c:v>-0.31121199999999999</c:v>
                </c:pt>
                <c:pt idx="247">
                  <c:v>-0.32504899999999998</c:v>
                </c:pt>
                <c:pt idx="248">
                  <c:v>-0.302068</c:v>
                </c:pt>
                <c:pt idx="249">
                  <c:v>-0.30368699999999998</c:v>
                </c:pt>
                <c:pt idx="250">
                  <c:v>-0.36669299999999999</c:v>
                </c:pt>
                <c:pt idx="251">
                  <c:v>-0.39944099999999999</c:v>
                </c:pt>
                <c:pt idx="252">
                  <c:v>-0.38452599999999998</c:v>
                </c:pt>
                <c:pt idx="253">
                  <c:v>-0.38524399999999998</c:v>
                </c:pt>
                <c:pt idx="254">
                  <c:v>-0.379355</c:v>
                </c:pt>
                <c:pt idx="255">
                  <c:v>-0.34945599999999999</c:v>
                </c:pt>
                <c:pt idx="256">
                  <c:v>-0.31743500000000002</c:v>
                </c:pt>
                <c:pt idx="257">
                  <c:v>-0.382934</c:v>
                </c:pt>
                <c:pt idx="258">
                  <c:v>-0.40606900000000001</c:v>
                </c:pt>
                <c:pt idx="259">
                  <c:v>-0.38861400000000001</c:v>
                </c:pt>
                <c:pt idx="260">
                  <c:v>-0.40163399999999999</c:v>
                </c:pt>
                <c:pt idx="261">
                  <c:v>-0.42230899999999999</c:v>
                </c:pt>
                <c:pt idx="262">
                  <c:v>-0.39000899999999999</c:v>
                </c:pt>
                <c:pt idx="263">
                  <c:v>-0.37876900000000002</c:v>
                </c:pt>
                <c:pt idx="264">
                  <c:v>-0.43272899999999997</c:v>
                </c:pt>
                <c:pt idx="265">
                  <c:v>-0.46090399999999998</c:v>
                </c:pt>
                <c:pt idx="266">
                  <c:v>-0.480846</c:v>
                </c:pt>
                <c:pt idx="267">
                  <c:v>-0.47831099999999999</c:v>
                </c:pt>
                <c:pt idx="268">
                  <c:v>-0.456758</c:v>
                </c:pt>
                <c:pt idx="269">
                  <c:v>-0.42415399999999998</c:v>
                </c:pt>
                <c:pt idx="270">
                  <c:v>-0.40294400000000002</c:v>
                </c:pt>
                <c:pt idx="271">
                  <c:v>-0.46692699999999998</c:v>
                </c:pt>
                <c:pt idx="272">
                  <c:v>-0.46651100000000001</c:v>
                </c:pt>
                <c:pt idx="273">
                  <c:v>-0.40404899999999999</c:v>
                </c:pt>
                <c:pt idx="274">
                  <c:v>-0.41465800000000003</c:v>
                </c:pt>
                <c:pt idx="275">
                  <c:v>-0.45114300000000002</c:v>
                </c:pt>
                <c:pt idx="276">
                  <c:v>-0.43812899999999999</c:v>
                </c:pt>
                <c:pt idx="277">
                  <c:v>-0.436672</c:v>
                </c:pt>
                <c:pt idx="278">
                  <c:v>-0.48804599999999998</c:v>
                </c:pt>
                <c:pt idx="279">
                  <c:v>-0.50912500000000005</c:v>
                </c:pt>
                <c:pt idx="280">
                  <c:v>-0.50315699999999997</c:v>
                </c:pt>
                <c:pt idx="281">
                  <c:v>-0.496562</c:v>
                </c:pt>
                <c:pt idx="282">
                  <c:v>-0.49022900000000003</c:v>
                </c:pt>
                <c:pt idx="283">
                  <c:v>-0.45200000000000001</c:v>
                </c:pt>
                <c:pt idx="284">
                  <c:v>-0.43831100000000001</c:v>
                </c:pt>
                <c:pt idx="285">
                  <c:v>-0.49698700000000001</c:v>
                </c:pt>
                <c:pt idx="286">
                  <c:v>-0.52557100000000001</c:v>
                </c:pt>
                <c:pt idx="287">
                  <c:v>-0.546261</c:v>
                </c:pt>
                <c:pt idx="288">
                  <c:v>-0.55910899999999997</c:v>
                </c:pt>
                <c:pt idx="289">
                  <c:v>-0.563527</c:v>
                </c:pt>
                <c:pt idx="290">
                  <c:v>-0.55263099999999998</c:v>
                </c:pt>
                <c:pt idx="291">
                  <c:v>-0.52919000000000005</c:v>
                </c:pt>
                <c:pt idx="292">
                  <c:v>-0.54693099999999994</c:v>
                </c:pt>
                <c:pt idx="293">
                  <c:v>-0.54929499999999998</c:v>
                </c:pt>
                <c:pt idx="294">
                  <c:v>-0.50753700000000002</c:v>
                </c:pt>
                <c:pt idx="295">
                  <c:v>-0.45170399999999999</c:v>
                </c:pt>
                <c:pt idx="296">
                  <c:v>-0.44135799999999997</c:v>
                </c:pt>
                <c:pt idx="297">
                  <c:v>-0.33823500000000001</c:v>
                </c:pt>
                <c:pt idx="298">
                  <c:v>-0.30798399999999998</c:v>
                </c:pt>
                <c:pt idx="299">
                  <c:v>-0.34295999999999999</c:v>
                </c:pt>
                <c:pt idx="300">
                  <c:v>-0.26459100000000002</c:v>
                </c:pt>
                <c:pt idx="301">
                  <c:v>-0.13733899999999999</c:v>
                </c:pt>
                <c:pt idx="302">
                  <c:v>-6.9444000000000006E-2</c:v>
                </c:pt>
                <c:pt idx="303">
                  <c:v>8.0187999999999995E-2</c:v>
                </c:pt>
                <c:pt idx="304">
                  <c:v>0.241206</c:v>
                </c:pt>
                <c:pt idx="305">
                  <c:v>0.29230699999999998</c:v>
                </c:pt>
                <c:pt idx="306">
                  <c:v>0.19534799999999999</c:v>
                </c:pt>
                <c:pt idx="307">
                  <c:v>8.5470000000000004E-2</c:v>
                </c:pt>
                <c:pt idx="308">
                  <c:v>4.2009999999999999E-3</c:v>
                </c:pt>
                <c:pt idx="309">
                  <c:v>7.1428000000000005E-2</c:v>
                </c:pt>
                <c:pt idx="310">
                  <c:v>7.1939999999999999E-3</c:v>
                </c:pt>
                <c:pt idx="311">
                  <c:v>0.15498100000000001</c:v>
                </c:pt>
                <c:pt idx="312">
                  <c:v>0.23333300000000001</c:v>
                </c:pt>
                <c:pt idx="313">
                  <c:v>0.19512099999999999</c:v>
                </c:pt>
                <c:pt idx="314">
                  <c:v>0.390845</c:v>
                </c:pt>
                <c:pt idx="315">
                  <c:v>0.48859900000000001</c:v>
                </c:pt>
                <c:pt idx="316">
                  <c:v>0.338368</c:v>
                </c:pt>
                <c:pt idx="317">
                  <c:v>0.23480599999999999</c:v>
                </c:pt>
                <c:pt idx="318">
                  <c:v>0.196078</c:v>
                </c:pt>
                <c:pt idx="319">
                  <c:v>0.18559500000000001</c:v>
                </c:pt>
                <c:pt idx="320">
                  <c:v>1.1764E-2</c:v>
                </c:pt>
                <c:pt idx="321">
                  <c:v>-0.143737</c:v>
                </c:pt>
                <c:pt idx="322">
                  <c:v>-0.176125</c:v>
                </c:pt>
                <c:pt idx="323">
                  <c:v>-0.12598400000000001</c:v>
                </c:pt>
                <c:pt idx="324">
                  <c:v>-0.129666</c:v>
                </c:pt>
                <c:pt idx="325">
                  <c:v>-7.2033E-2</c:v>
                </c:pt>
                <c:pt idx="326">
                  <c:v>-5.6767999999999999E-2</c:v>
                </c:pt>
                <c:pt idx="327">
                  <c:v>-0.172344</c:v>
                </c:pt>
                <c:pt idx="328">
                  <c:v>-0.22611999999999999</c:v>
                </c:pt>
                <c:pt idx="329">
                  <c:v>-0.23493900000000001</c:v>
                </c:pt>
                <c:pt idx="330">
                  <c:v>-0.29724400000000001</c:v>
                </c:pt>
                <c:pt idx="331">
                  <c:v>-0.29599900000000001</c:v>
                </c:pt>
                <c:pt idx="332">
                  <c:v>-0.276729</c:v>
                </c:pt>
                <c:pt idx="333">
                  <c:v>-0.25959300000000002</c:v>
                </c:pt>
                <c:pt idx="334">
                  <c:v>-0.287553</c:v>
                </c:pt>
                <c:pt idx="335">
                  <c:v>-0.32913999999999999</c:v>
                </c:pt>
                <c:pt idx="336">
                  <c:v>-0.30645099999999997</c:v>
                </c:pt>
                <c:pt idx="337">
                  <c:v>-0.21634600000000001</c:v>
                </c:pt>
                <c:pt idx="338">
                  <c:v>-0.23134299999999999</c:v>
                </c:pt>
                <c:pt idx="339">
                  <c:v>-0.14713799999999999</c:v>
                </c:pt>
                <c:pt idx="340">
                  <c:v>-6.9970000000000004E-2</c:v>
                </c:pt>
                <c:pt idx="341">
                  <c:v>-0.120643</c:v>
                </c:pt>
                <c:pt idx="342">
                  <c:v>-0.110236</c:v>
                </c:pt>
                <c:pt idx="343">
                  <c:v>-6.0685999999999997E-2</c:v>
                </c:pt>
                <c:pt idx="344">
                  <c:v>-6.7933999999999994E-2</c:v>
                </c:pt>
                <c:pt idx="345">
                  <c:v>-2.2037999999999999E-2</c:v>
                </c:pt>
                <c:pt idx="346">
                  <c:v>3.2258000000000002E-2</c:v>
                </c:pt>
                <c:pt idx="347">
                  <c:v>4.3730999999999999E-2</c:v>
                </c:pt>
                <c:pt idx="348">
                  <c:v>-8.6842000000000003E-2</c:v>
                </c:pt>
                <c:pt idx="349">
                  <c:v>-0.12230199999999999</c:v>
                </c:pt>
                <c:pt idx="350">
                  <c:v>-0.12589</c:v>
                </c:pt>
                <c:pt idx="351">
                  <c:v>-6.0453E-2</c:v>
                </c:pt>
                <c:pt idx="352">
                  <c:v>-0.115763</c:v>
                </c:pt>
                <c:pt idx="353">
                  <c:v>-9.0673000000000004E-2</c:v>
                </c:pt>
                <c:pt idx="354">
                  <c:v>-7.0080000000000003E-2</c:v>
                </c:pt>
                <c:pt idx="355">
                  <c:v>-0.16267899999999999</c:v>
                </c:pt>
                <c:pt idx="356">
                  <c:v>-0.224215</c:v>
                </c:pt>
                <c:pt idx="357">
                  <c:v>-0.21917800000000001</c:v>
                </c:pt>
                <c:pt idx="358">
                  <c:v>-0.16222700000000001</c:v>
                </c:pt>
                <c:pt idx="359">
                  <c:v>-0.106965</c:v>
                </c:pt>
                <c:pt idx="360">
                  <c:v>-1.8468999999999999E-2</c:v>
                </c:pt>
                <c:pt idx="361">
                  <c:v>3.3057000000000003E-2</c:v>
                </c:pt>
                <c:pt idx="362">
                  <c:v>-9.8321000000000006E-2</c:v>
                </c:pt>
                <c:pt idx="363">
                  <c:v>-0.111374</c:v>
                </c:pt>
                <c:pt idx="364">
                  <c:v>-0.103365</c:v>
                </c:pt>
                <c:pt idx="365">
                  <c:v>-1.7543E-2</c:v>
                </c:pt>
                <c:pt idx="366">
                  <c:v>8.9155999999999999E-2</c:v>
                </c:pt>
                <c:pt idx="367">
                  <c:v>0.22828699999999999</c:v>
                </c:pt>
                <c:pt idx="368">
                  <c:v>0.30710599999999999</c:v>
                </c:pt>
                <c:pt idx="369">
                  <c:v>0.208144</c:v>
                </c:pt>
                <c:pt idx="370">
                  <c:v>0.33853</c:v>
                </c:pt>
                <c:pt idx="371">
                  <c:v>0.49570799999999998</c:v>
                </c:pt>
                <c:pt idx="372">
                  <c:v>0.445544</c:v>
                </c:pt>
                <c:pt idx="373">
                  <c:v>0.373865</c:v>
                </c:pt>
                <c:pt idx="374">
                  <c:v>0.467032</c:v>
                </c:pt>
                <c:pt idx="375">
                  <c:v>0.47016200000000002</c:v>
                </c:pt>
                <c:pt idx="376">
                  <c:v>0.217391</c:v>
                </c:pt>
                <c:pt idx="377">
                  <c:v>0.107652</c:v>
                </c:pt>
                <c:pt idx="378">
                  <c:v>6.5613000000000005E-2</c:v>
                </c:pt>
                <c:pt idx="379">
                  <c:v>5.5171999999999999E-2</c:v>
                </c:pt>
                <c:pt idx="380">
                  <c:v>7.6665999999999998E-2</c:v>
                </c:pt>
                <c:pt idx="381">
                  <c:v>0.148148</c:v>
                </c:pt>
                <c:pt idx="382">
                  <c:v>0.19176399999999999</c:v>
                </c:pt>
                <c:pt idx="383">
                  <c:v>2.8368000000000001E-2</c:v>
                </c:pt>
                <c:pt idx="384">
                  <c:v>-4.4889999999999999E-2</c:v>
                </c:pt>
                <c:pt idx="385">
                  <c:v>-2.7777E-2</c:v>
                </c:pt>
                <c:pt idx="386">
                  <c:v>-8.9269000000000001E-2</c:v>
                </c:pt>
                <c:pt idx="387">
                  <c:v>-0.12422900000000001</c:v>
                </c:pt>
                <c:pt idx="388">
                  <c:v>-6.7843000000000001E-2</c:v>
                </c:pt>
                <c:pt idx="389">
                  <c:v>-3.0418000000000001E-2</c:v>
                </c:pt>
                <c:pt idx="390">
                  <c:v>-0.102978</c:v>
                </c:pt>
                <c:pt idx="391">
                  <c:v>-6.0429999999999998E-2</c:v>
                </c:pt>
                <c:pt idx="392">
                  <c:v>-0.10705099999999999</c:v>
                </c:pt>
                <c:pt idx="393">
                  <c:v>-2.1940000000000001E-2</c:v>
                </c:pt>
                <c:pt idx="394">
                  <c:v>0.12831400000000001</c:v>
                </c:pt>
                <c:pt idx="395">
                  <c:v>0.30344199999999999</c:v>
                </c:pt>
                <c:pt idx="396">
                  <c:v>0.36779499999999998</c:v>
                </c:pt>
                <c:pt idx="397">
                  <c:v>0.18146699999999999</c:v>
                </c:pt>
                <c:pt idx="398">
                  <c:v>0.27243800000000001</c:v>
                </c:pt>
                <c:pt idx="399">
                  <c:v>0.43224800000000002</c:v>
                </c:pt>
                <c:pt idx="400">
                  <c:v>0.34002599999999999</c:v>
                </c:pt>
                <c:pt idx="401">
                  <c:v>0.25092900000000001</c:v>
                </c:pt>
                <c:pt idx="402">
                  <c:v>0.32205499999999998</c:v>
                </c:pt>
                <c:pt idx="403">
                  <c:v>0.32563900000000001</c:v>
                </c:pt>
                <c:pt idx="404">
                  <c:v>0.15518100000000001</c:v>
                </c:pt>
                <c:pt idx="405">
                  <c:v>0.147817</c:v>
                </c:pt>
                <c:pt idx="406">
                  <c:v>8.4066000000000002E-2</c:v>
                </c:pt>
                <c:pt idx="407">
                  <c:v>0.156329</c:v>
                </c:pt>
                <c:pt idx="408">
                  <c:v>0.23908499999999999</c:v>
                </c:pt>
                <c:pt idx="409">
                  <c:v>0.43645899999999999</c:v>
                </c:pt>
                <c:pt idx="410">
                  <c:v>0.54447900000000005</c:v>
                </c:pt>
                <c:pt idx="411">
                  <c:v>0.35744100000000001</c:v>
                </c:pt>
                <c:pt idx="412">
                  <c:v>0.42057600000000001</c:v>
                </c:pt>
                <c:pt idx="413">
                  <c:v>0.53642800000000002</c:v>
                </c:pt>
                <c:pt idx="414">
                  <c:v>0.60714199999999996</c:v>
                </c:pt>
                <c:pt idx="415">
                  <c:v>0.67985799999999996</c:v>
                </c:pt>
                <c:pt idx="416">
                  <c:v>0.96415700000000004</c:v>
                </c:pt>
                <c:pt idx="417">
                  <c:v>1.055736</c:v>
                </c:pt>
                <c:pt idx="418">
                  <c:v>0.70534300000000005</c:v>
                </c:pt>
                <c:pt idx="419">
                  <c:v>0.59692199999999995</c:v>
                </c:pt>
                <c:pt idx="420">
                  <c:v>0.59542799999999996</c:v>
                </c:pt>
                <c:pt idx="421">
                  <c:v>0.56526200000000004</c:v>
                </c:pt>
                <c:pt idx="422">
                  <c:v>0.331839</c:v>
                </c:pt>
                <c:pt idx="423">
                  <c:v>0.39115</c:v>
                </c:pt>
                <c:pt idx="424">
                  <c:v>0.454986</c:v>
                </c:pt>
                <c:pt idx="425">
                  <c:v>0.25270199999999998</c:v>
                </c:pt>
                <c:pt idx="426">
                  <c:v>0.273206</c:v>
                </c:pt>
                <c:pt idx="427">
                  <c:v>0.38156800000000002</c:v>
                </c:pt>
                <c:pt idx="428">
                  <c:v>0.62122100000000002</c:v>
                </c:pt>
                <c:pt idx="429">
                  <c:v>0.81006500000000004</c:v>
                </c:pt>
                <c:pt idx="430">
                  <c:v>1.083126</c:v>
                </c:pt>
                <c:pt idx="431">
                  <c:v>1.1875500000000001</c:v>
                </c:pt>
                <c:pt idx="432">
                  <c:v>0.78218100000000002</c:v>
                </c:pt>
                <c:pt idx="433">
                  <c:v>0.54766099999999995</c:v>
                </c:pt>
                <c:pt idx="434">
                  <c:v>0.45333800000000002</c:v>
                </c:pt>
                <c:pt idx="435">
                  <c:v>0.36634800000000001</c:v>
                </c:pt>
                <c:pt idx="436">
                  <c:v>0.18857399999999999</c:v>
                </c:pt>
                <c:pt idx="437">
                  <c:v>0.21798999999999999</c:v>
                </c:pt>
                <c:pt idx="438">
                  <c:v>0.269959</c:v>
                </c:pt>
                <c:pt idx="439">
                  <c:v>0.13641800000000001</c:v>
                </c:pt>
                <c:pt idx="440">
                  <c:v>4.8075E-2</c:v>
                </c:pt>
                <c:pt idx="441">
                  <c:v>6.1351000000000003E-2</c:v>
                </c:pt>
                <c:pt idx="442">
                  <c:v>1.8658999999999999E-2</c:v>
                </c:pt>
                <c:pt idx="443">
                  <c:v>1.1169999999999999E-3</c:v>
                </c:pt>
                <c:pt idx="444">
                  <c:v>0.16115399999999999</c:v>
                </c:pt>
                <c:pt idx="445">
                  <c:v>0.26566099999999998</c:v>
                </c:pt>
                <c:pt idx="446">
                  <c:v>0.15415400000000001</c:v>
                </c:pt>
                <c:pt idx="447">
                  <c:v>5.7110000000000001E-2</c:v>
                </c:pt>
                <c:pt idx="448">
                  <c:v>0.11634799999999999</c:v>
                </c:pt>
                <c:pt idx="449">
                  <c:v>0.173345</c:v>
                </c:pt>
                <c:pt idx="450">
                  <c:v>0.12024899999999999</c:v>
                </c:pt>
                <c:pt idx="451">
                  <c:v>9.2010999999999996E-2</c:v>
                </c:pt>
                <c:pt idx="452">
                  <c:v>7.8451000000000007E-2</c:v>
                </c:pt>
                <c:pt idx="453">
                  <c:v>-1.7408E-2</c:v>
                </c:pt>
                <c:pt idx="454">
                  <c:v>-8.5405999999999996E-2</c:v>
                </c:pt>
                <c:pt idx="455">
                  <c:v>-6.9662000000000002E-2</c:v>
                </c:pt>
                <c:pt idx="456">
                  <c:v>-0.10205699999999999</c:v>
                </c:pt>
                <c:pt idx="457">
                  <c:v>-0.16245699999999999</c:v>
                </c:pt>
                <c:pt idx="458">
                  <c:v>-0.105252</c:v>
                </c:pt>
                <c:pt idx="459">
                  <c:v>-6.2614000000000003E-2</c:v>
                </c:pt>
                <c:pt idx="460">
                  <c:v>-0.15654999999999999</c:v>
                </c:pt>
                <c:pt idx="461">
                  <c:v>-0.22691</c:v>
                </c:pt>
                <c:pt idx="462">
                  <c:v>-0.24182300000000001</c:v>
                </c:pt>
                <c:pt idx="463">
                  <c:v>-0.29297600000000001</c:v>
                </c:pt>
                <c:pt idx="464">
                  <c:v>-0.31246400000000002</c:v>
                </c:pt>
                <c:pt idx="465">
                  <c:v>-0.29704900000000001</c:v>
                </c:pt>
                <c:pt idx="466">
                  <c:v>-0.27398800000000001</c:v>
                </c:pt>
                <c:pt idx="467">
                  <c:v>-0.32896300000000001</c:v>
                </c:pt>
                <c:pt idx="468">
                  <c:v>-0.36316999999999999</c:v>
                </c:pt>
                <c:pt idx="469">
                  <c:v>-0.35487099999999999</c:v>
                </c:pt>
                <c:pt idx="470">
                  <c:v>-0.36001499999999997</c:v>
                </c:pt>
                <c:pt idx="471">
                  <c:v>-0.36364099999999999</c:v>
                </c:pt>
                <c:pt idx="472">
                  <c:v>-0.32800400000000002</c:v>
                </c:pt>
                <c:pt idx="473">
                  <c:v>-0.304782</c:v>
                </c:pt>
                <c:pt idx="474">
                  <c:v>-0.35716100000000001</c:v>
                </c:pt>
                <c:pt idx="475">
                  <c:v>-0.40301199999999998</c:v>
                </c:pt>
                <c:pt idx="476">
                  <c:v>-0.41436899999999999</c:v>
                </c:pt>
                <c:pt idx="477">
                  <c:v>-0.41376299999999999</c:v>
                </c:pt>
                <c:pt idx="478">
                  <c:v>-0.41503200000000001</c:v>
                </c:pt>
                <c:pt idx="479">
                  <c:v>-0.45341100000000001</c:v>
                </c:pt>
                <c:pt idx="480">
                  <c:v>-0.46395599999999998</c:v>
                </c:pt>
                <c:pt idx="481">
                  <c:v>-0.51033600000000001</c:v>
                </c:pt>
                <c:pt idx="482">
                  <c:v>-0.52534700000000001</c:v>
                </c:pt>
                <c:pt idx="483">
                  <c:v>-0.49275999999999998</c:v>
                </c:pt>
                <c:pt idx="484">
                  <c:v>-0.47705900000000001</c:v>
                </c:pt>
                <c:pt idx="485">
                  <c:v>-0.39734799999999998</c:v>
                </c:pt>
                <c:pt idx="486">
                  <c:v>-0.19624900000000001</c:v>
                </c:pt>
                <c:pt idx="487">
                  <c:v>-0.122572</c:v>
                </c:pt>
                <c:pt idx="488">
                  <c:v>-0.21105299999999999</c:v>
                </c:pt>
                <c:pt idx="489">
                  <c:v>-0.18832199999999999</c:v>
                </c:pt>
                <c:pt idx="490">
                  <c:v>-4.5513999999999999E-2</c:v>
                </c:pt>
                <c:pt idx="491">
                  <c:v>2.9111999999999999E-2</c:v>
                </c:pt>
                <c:pt idx="492">
                  <c:v>8.8648000000000005E-2</c:v>
                </c:pt>
                <c:pt idx="493">
                  <c:v>0.133523</c:v>
                </c:pt>
                <c:pt idx="494">
                  <c:v>0.17454600000000001</c:v>
                </c:pt>
                <c:pt idx="495">
                  <c:v>-8.0350000000000005E-3</c:v>
                </c:pt>
                <c:pt idx="496">
                  <c:v>-0.13655</c:v>
                </c:pt>
                <c:pt idx="497">
                  <c:v>-0.13580700000000001</c:v>
                </c:pt>
                <c:pt idx="498">
                  <c:v>-9.4490000000000005E-2</c:v>
                </c:pt>
                <c:pt idx="499">
                  <c:v>-1.2511E-2</c:v>
                </c:pt>
                <c:pt idx="500">
                  <c:v>0.142818</c:v>
                </c:pt>
                <c:pt idx="501">
                  <c:v>0.243671</c:v>
                </c:pt>
                <c:pt idx="502">
                  <c:v>0.17489399999999999</c:v>
                </c:pt>
                <c:pt idx="503">
                  <c:v>0.33377800000000002</c:v>
                </c:pt>
                <c:pt idx="504">
                  <c:v>0.61918300000000004</c:v>
                </c:pt>
                <c:pt idx="505">
                  <c:v>0.813392</c:v>
                </c:pt>
                <c:pt idx="506">
                  <c:v>0.91203699999999999</c:v>
                </c:pt>
                <c:pt idx="507">
                  <c:v>1.1002559999999999</c:v>
                </c:pt>
                <c:pt idx="508">
                  <c:v>1.1985870000000001</c:v>
                </c:pt>
                <c:pt idx="509">
                  <c:v>0.81878200000000001</c:v>
                </c:pt>
                <c:pt idx="510">
                  <c:v>0.58401800000000004</c:v>
                </c:pt>
                <c:pt idx="511">
                  <c:v>0.475603</c:v>
                </c:pt>
                <c:pt idx="512">
                  <c:v>0.44478400000000001</c:v>
                </c:pt>
                <c:pt idx="513">
                  <c:v>0.34276099999999998</c:v>
                </c:pt>
                <c:pt idx="514">
                  <c:v>0.41154000000000002</c:v>
                </c:pt>
                <c:pt idx="515">
                  <c:v>0.41989300000000002</c:v>
                </c:pt>
                <c:pt idx="516">
                  <c:v>0.29721900000000001</c:v>
                </c:pt>
                <c:pt idx="517">
                  <c:v>0.183201</c:v>
                </c:pt>
                <c:pt idx="518">
                  <c:v>0.16381999999999999</c:v>
                </c:pt>
                <c:pt idx="519">
                  <c:v>0.11841699999999999</c:v>
                </c:pt>
                <c:pt idx="520">
                  <c:v>6.2925999999999996E-2</c:v>
                </c:pt>
                <c:pt idx="521">
                  <c:v>6.1830999999999997E-2</c:v>
                </c:pt>
                <c:pt idx="522">
                  <c:v>7.3941000000000007E-2</c:v>
                </c:pt>
                <c:pt idx="523">
                  <c:v>-6.6156999999999994E-2</c:v>
                </c:pt>
                <c:pt idx="524">
                  <c:v>-0.157443</c:v>
                </c:pt>
                <c:pt idx="525">
                  <c:v>-0.242064</c:v>
                </c:pt>
                <c:pt idx="526">
                  <c:v>-0.28240900000000002</c:v>
                </c:pt>
                <c:pt idx="527">
                  <c:v>-0.32745999999999997</c:v>
                </c:pt>
                <c:pt idx="528">
                  <c:v>-0.29808200000000001</c:v>
                </c:pt>
                <c:pt idx="529">
                  <c:v>-0.31953700000000002</c:v>
                </c:pt>
                <c:pt idx="530">
                  <c:v>-0.35480200000000001</c:v>
                </c:pt>
                <c:pt idx="531">
                  <c:v>-0.41026899999999999</c:v>
                </c:pt>
                <c:pt idx="532">
                  <c:v>-0.39690900000000001</c:v>
                </c:pt>
                <c:pt idx="533">
                  <c:v>-0.39942800000000001</c:v>
                </c:pt>
                <c:pt idx="534">
                  <c:v>-0.39176800000000001</c:v>
                </c:pt>
                <c:pt idx="535">
                  <c:v>-0.37276100000000001</c:v>
                </c:pt>
                <c:pt idx="536">
                  <c:v>-0.324291</c:v>
                </c:pt>
                <c:pt idx="537">
                  <c:v>-0.382189</c:v>
                </c:pt>
                <c:pt idx="538">
                  <c:v>-0.40242</c:v>
                </c:pt>
                <c:pt idx="539">
                  <c:v>-0.40111000000000002</c:v>
                </c:pt>
                <c:pt idx="540">
                  <c:v>-0.381164</c:v>
                </c:pt>
                <c:pt idx="541">
                  <c:v>-0.37174600000000002</c:v>
                </c:pt>
                <c:pt idx="542">
                  <c:v>-0.31747500000000001</c:v>
                </c:pt>
                <c:pt idx="543">
                  <c:v>-0.342577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R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1.148775055679</c:v>
                </c:pt>
                <c:pt idx="1">
                  <c:v>1.271582733812</c:v>
                </c:pt>
                <c:pt idx="2">
                  <c:v>1.3649350649350001</c:v>
                </c:pt>
                <c:pt idx="3">
                  <c:v>1.414863209473</c:v>
                </c:pt>
                <c:pt idx="4">
                  <c:v>1.4918233851180001</c:v>
                </c:pt>
                <c:pt idx="5">
                  <c:v>1.4672353625429999</c:v>
                </c:pt>
                <c:pt idx="6">
                  <c:v>1.4458981612440001</c:v>
                </c:pt>
                <c:pt idx="7">
                  <c:v>1.5074532191559999</c:v>
                </c:pt>
                <c:pt idx="8">
                  <c:v>1.519769119769</c:v>
                </c:pt>
                <c:pt idx="9">
                  <c:v>1.6371608659900001</c:v>
                </c:pt>
                <c:pt idx="10">
                  <c:v>1.74920718816</c:v>
                </c:pt>
                <c:pt idx="11">
                  <c:v>1.8713621912439999</c:v>
                </c:pt>
                <c:pt idx="12">
                  <c:v>1.690090469177</c:v>
                </c:pt>
                <c:pt idx="13">
                  <c:v>1.6141283706789999</c:v>
                </c:pt>
                <c:pt idx="14">
                  <c:v>1.5090391697350001</c:v>
                </c:pt>
                <c:pt idx="15">
                  <c:v>1.5092914337509999</c:v>
                </c:pt>
                <c:pt idx="16">
                  <c:v>1.533193936225</c:v>
                </c:pt>
                <c:pt idx="17">
                  <c:v>1.543383542885</c:v>
                </c:pt>
                <c:pt idx="18">
                  <c:v>1.5183529411759999</c:v>
                </c:pt>
                <c:pt idx="19">
                  <c:v>1.4530227398769999</c:v>
                </c:pt>
                <c:pt idx="20">
                  <c:v>1.356156156156</c:v>
                </c:pt>
                <c:pt idx="21">
                  <c:v>1.2153937947489999</c:v>
                </c:pt>
                <c:pt idx="22">
                  <c:v>1.1639780609770001</c:v>
                </c:pt>
                <c:pt idx="23">
                  <c:v>1.101193243452</c:v>
                </c:pt>
                <c:pt idx="24">
                  <c:v>1.1488663256730001</c:v>
                </c:pt>
                <c:pt idx="25">
                  <c:v>1.106067316209</c:v>
                </c:pt>
                <c:pt idx="26">
                  <c:v>1.0734273090669999</c:v>
                </c:pt>
                <c:pt idx="27">
                  <c:v>1.047259372184</c:v>
                </c:pt>
                <c:pt idx="28">
                  <c:v>1.0334928229660001</c:v>
                </c:pt>
                <c:pt idx="29">
                  <c:v>1.0172104458760001</c:v>
                </c:pt>
                <c:pt idx="30">
                  <c:v>1.0613947280610001</c:v>
                </c:pt>
                <c:pt idx="31">
                  <c:v>1.09466875735</c:v>
                </c:pt>
                <c:pt idx="32">
                  <c:v>1.1465625620319999</c:v>
                </c:pt>
                <c:pt idx="33">
                  <c:v>1.2162309368190001</c:v>
                </c:pt>
                <c:pt idx="34">
                  <c:v>1.2867128298920001</c:v>
                </c:pt>
                <c:pt idx="35">
                  <c:v>1.395347375039</c:v>
                </c:pt>
                <c:pt idx="36">
                  <c:v>1.4684571769620001</c:v>
                </c:pt>
                <c:pt idx="37">
                  <c:v>1.529028162511</c:v>
                </c:pt>
                <c:pt idx="38">
                  <c:v>1.7531347962379999</c:v>
                </c:pt>
                <c:pt idx="39">
                  <c:v>1.695740468091</c:v>
                </c:pt>
                <c:pt idx="40">
                  <c:v>1.5619339431349999</c:v>
                </c:pt>
                <c:pt idx="41">
                  <c:v>1.4572427247599999</c:v>
                </c:pt>
                <c:pt idx="42">
                  <c:v>1.499150783166</c:v>
                </c:pt>
                <c:pt idx="43">
                  <c:v>1.402643846988</c:v>
                </c:pt>
                <c:pt idx="44">
                  <c:v>1.4448070417050001</c:v>
                </c:pt>
                <c:pt idx="45">
                  <c:v>1.4638818370640001</c:v>
                </c:pt>
                <c:pt idx="46">
                  <c:v>1.5289786355770001</c:v>
                </c:pt>
                <c:pt idx="47">
                  <c:v>1.429380664652</c:v>
                </c:pt>
                <c:pt idx="48">
                  <c:v>1.3783008559459999</c:v>
                </c:pt>
                <c:pt idx="49">
                  <c:v>1.3304944257939999</c:v>
                </c:pt>
                <c:pt idx="50">
                  <c:v>1.372260759892</c:v>
                </c:pt>
                <c:pt idx="51">
                  <c:v>1.351112732579</c:v>
                </c:pt>
                <c:pt idx="52">
                  <c:v>1.3775781594009999</c:v>
                </c:pt>
                <c:pt idx="53">
                  <c:v>1.353879694777</c:v>
                </c:pt>
                <c:pt idx="54">
                  <c:v>1.311585964147</c:v>
                </c:pt>
                <c:pt idx="55">
                  <c:v>1.2409167935200001</c:v>
                </c:pt>
                <c:pt idx="56">
                  <c:v>1.216341740022</c:v>
                </c:pt>
                <c:pt idx="57">
                  <c:v>1.126400040914</c:v>
                </c:pt>
                <c:pt idx="58">
                  <c:v>1.0612160249839999</c:v>
                </c:pt>
                <c:pt idx="59">
                  <c:v>1.0134658544399999</c:v>
                </c:pt>
                <c:pt idx="60">
                  <c:v>0.97560467538399998</c:v>
                </c:pt>
                <c:pt idx="61">
                  <c:v>0.92741863872399999</c:v>
                </c:pt>
                <c:pt idx="62">
                  <c:v>0.93667279620400001</c:v>
                </c:pt>
                <c:pt idx="63">
                  <c:v>0.90748361880600004</c:v>
                </c:pt>
                <c:pt idx="64">
                  <c:v>0.95716311059500003</c:v>
                </c:pt>
                <c:pt idx="65">
                  <c:v>0.97124623377800001</c:v>
                </c:pt>
                <c:pt idx="66">
                  <c:v>0.95530980335799998</c:v>
                </c:pt>
                <c:pt idx="67">
                  <c:v>0.92235727529400002</c:v>
                </c:pt>
                <c:pt idx="68">
                  <c:v>0.92690836310199998</c:v>
                </c:pt>
                <c:pt idx="69">
                  <c:v>0.856630473369</c:v>
                </c:pt>
                <c:pt idx="70">
                  <c:v>0.81763110969899999</c:v>
                </c:pt>
                <c:pt idx="71">
                  <c:v>0.75344216289300003</c:v>
                </c:pt>
                <c:pt idx="72">
                  <c:v>0.71967626655399997</c:v>
                </c:pt>
                <c:pt idx="73">
                  <c:v>0.69135734980499997</c:v>
                </c:pt>
                <c:pt idx="74">
                  <c:v>0.67253033052699995</c:v>
                </c:pt>
                <c:pt idx="75">
                  <c:v>0.67730708332</c:v>
                </c:pt>
                <c:pt idx="76">
                  <c:v>0.74357737907099997</c:v>
                </c:pt>
                <c:pt idx="77">
                  <c:v>0.72854899956100005</c:v>
                </c:pt>
                <c:pt idx="78">
                  <c:v>0.72155451885800004</c:v>
                </c:pt>
                <c:pt idx="79">
                  <c:v>0.745766313239</c:v>
                </c:pt>
                <c:pt idx="80">
                  <c:v>0.73989369913699998</c:v>
                </c:pt>
                <c:pt idx="81">
                  <c:v>0.72776063330200003</c:v>
                </c:pt>
                <c:pt idx="82">
                  <c:v>0.80589871451100004</c:v>
                </c:pt>
                <c:pt idx="83">
                  <c:v>0.85247383705000002</c:v>
                </c:pt>
                <c:pt idx="84">
                  <c:v>0.93258875149499998</c:v>
                </c:pt>
                <c:pt idx="85">
                  <c:v>0.95821037884799998</c:v>
                </c:pt>
                <c:pt idx="86">
                  <c:v>0.91340953785599999</c:v>
                </c:pt>
                <c:pt idx="87">
                  <c:v>0.88243524766000003</c:v>
                </c:pt>
                <c:pt idx="88">
                  <c:v>0.89523411639899997</c:v>
                </c:pt>
                <c:pt idx="89">
                  <c:v>0.83780398386800004</c:v>
                </c:pt>
                <c:pt idx="90">
                  <c:v>0.82797772731499997</c:v>
                </c:pt>
                <c:pt idx="91">
                  <c:v>0.87253582722099998</c:v>
                </c:pt>
                <c:pt idx="92">
                  <c:v>0.900951374207</c:v>
                </c:pt>
                <c:pt idx="93">
                  <c:v>0.93850737695999997</c:v>
                </c:pt>
                <c:pt idx="94">
                  <c:v>0.96371658826499995</c:v>
                </c:pt>
                <c:pt idx="95">
                  <c:v>1.0171319081779999</c:v>
                </c:pt>
                <c:pt idx="96">
                  <c:v>1.045263523152</c:v>
                </c:pt>
                <c:pt idx="97">
                  <c:v>1.0868238883020001</c:v>
                </c:pt>
                <c:pt idx="98">
                  <c:v>1.088701040391</c:v>
                </c:pt>
                <c:pt idx="99">
                  <c:v>1.147230210382</c:v>
                </c:pt>
                <c:pt idx="100">
                  <c:v>1.166180327263</c:v>
                </c:pt>
                <c:pt idx="101">
                  <c:v>1.2185090922499999</c:v>
                </c:pt>
                <c:pt idx="102">
                  <c:v>1.201086760948</c:v>
                </c:pt>
                <c:pt idx="103">
                  <c:v>1.2037733197480001</c:v>
                </c:pt>
                <c:pt idx="104">
                  <c:v>1.1606913156759999</c:v>
                </c:pt>
                <c:pt idx="105">
                  <c:v>1.1798745724049999</c:v>
                </c:pt>
                <c:pt idx="106">
                  <c:v>1.1835326169210001</c:v>
                </c:pt>
                <c:pt idx="107">
                  <c:v>1.223567127063</c:v>
                </c:pt>
                <c:pt idx="108">
                  <c:v>1.2691825000720001</c:v>
                </c:pt>
                <c:pt idx="109">
                  <c:v>1.2841351481909999</c:v>
                </c:pt>
                <c:pt idx="110">
                  <c:v>1.251295267241</c:v>
                </c:pt>
                <c:pt idx="111">
                  <c:v>1.263747506266</c:v>
                </c:pt>
                <c:pt idx="112">
                  <c:v>1.2843605377209999</c:v>
                </c:pt>
                <c:pt idx="113">
                  <c:v>1.342179092121</c:v>
                </c:pt>
                <c:pt idx="114">
                  <c:v>1.2199822969680001</c:v>
                </c:pt>
                <c:pt idx="115">
                  <c:v>1.050244572213</c:v>
                </c:pt>
                <c:pt idx="116">
                  <c:v>0.94395871281099997</c:v>
                </c:pt>
                <c:pt idx="117">
                  <c:v>0.89643864866900003</c:v>
                </c:pt>
                <c:pt idx="118">
                  <c:v>0.85758832196799994</c:v>
                </c:pt>
                <c:pt idx="119">
                  <c:v>1.0093413868779999</c:v>
                </c:pt>
                <c:pt idx="120">
                  <c:v>1.1969399844749999</c:v>
                </c:pt>
                <c:pt idx="121">
                  <c:v>1.4482965631089999</c:v>
                </c:pt>
                <c:pt idx="122">
                  <c:v>1.4532113994039999</c:v>
                </c:pt>
                <c:pt idx="123">
                  <c:v>1.404223438686</c:v>
                </c:pt>
                <c:pt idx="124">
                  <c:v>1.307964633576</c:v>
                </c:pt>
                <c:pt idx="125">
                  <c:v>1.276183974741</c:v>
                </c:pt>
                <c:pt idx="126">
                  <c:v>1.1206513693560001</c:v>
                </c:pt>
                <c:pt idx="127">
                  <c:v>1.1188789697049999</c:v>
                </c:pt>
                <c:pt idx="128">
                  <c:v>1.11131503692</c:v>
                </c:pt>
                <c:pt idx="129">
                  <c:v>1.206655400299</c:v>
                </c:pt>
                <c:pt idx="130">
                  <c:v>1.2210543207889999</c:v>
                </c:pt>
                <c:pt idx="131">
                  <c:v>1.1803434610300001</c:v>
                </c:pt>
                <c:pt idx="132">
                  <c:v>1.1221403999840001</c:v>
                </c:pt>
                <c:pt idx="133">
                  <c:v>1.0133655951139999</c:v>
                </c:pt>
                <c:pt idx="134">
                  <c:v>0.82242894880600004</c:v>
                </c:pt>
                <c:pt idx="135">
                  <c:v>0.71580803434499995</c:v>
                </c:pt>
                <c:pt idx="136">
                  <c:v>0.68868072342999997</c:v>
                </c:pt>
                <c:pt idx="137">
                  <c:v>0.67960508677999998</c:v>
                </c:pt>
                <c:pt idx="138">
                  <c:v>0.71528014654700001</c:v>
                </c:pt>
                <c:pt idx="139">
                  <c:v>0.75969485940500003</c:v>
                </c:pt>
                <c:pt idx="140">
                  <c:v>0.82120289478099995</c:v>
                </c:pt>
                <c:pt idx="141">
                  <c:v>0.82822783781499998</c:v>
                </c:pt>
                <c:pt idx="142">
                  <c:v>0.86494923161299997</c:v>
                </c:pt>
                <c:pt idx="143">
                  <c:v>0.87564025574899995</c:v>
                </c:pt>
                <c:pt idx="144">
                  <c:v>0.88516912086300004</c:v>
                </c:pt>
                <c:pt idx="145">
                  <c:v>0.90047137294299995</c:v>
                </c:pt>
                <c:pt idx="146">
                  <c:v>0.93483763366999995</c:v>
                </c:pt>
                <c:pt idx="147">
                  <c:v>0.93640690065400001</c:v>
                </c:pt>
                <c:pt idx="148">
                  <c:v>0.95863000988299996</c:v>
                </c:pt>
                <c:pt idx="149">
                  <c:v>0.98777048032699999</c:v>
                </c:pt>
                <c:pt idx="150">
                  <c:v>0.98386128985499999</c:v>
                </c:pt>
                <c:pt idx="151">
                  <c:v>0.99427000251800002</c:v>
                </c:pt>
                <c:pt idx="152">
                  <c:v>1.0067975350989999</c:v>
                </c:pt>
                <c:pt idx="153">
                  <c:v>1.005596936413</c:v>
                </c:pt>
                <c:pt idx="154">
                  <c:v>0.99526856618699999</c:v>
                </c:pt>
                <c:pt idx="155">
                  <c:v>1.0281592395529999</c:v>
                </c:pt>
                <c:pt idx="156">
                  <c:v>1.0337337189410001</c:v>
                </c:pt>
                <c:pt idx="157">
                  <c:v>1.0420242301860001</c:v>
                </c:pt>
                <c:pt idx="158">
                  <c:v>1.052456478071</c:v>
                </c:pt>
                <c:pt idx="159">
                  <c:v>1.0507225130890001</c:v>
                </c:pt>
                <c:pt idx="160">
                  <c:v>1.0377173246060001</c:v>
                </c:pt>
                <c:pt idx="161">
                  <c:v>1.0593232453179999</c:v>
                </c:pt>
                <c:pt idx="162">
                  <c:v>1.044830648742</c:v>
                </c:pt>
                <c:pt idx="163">
                  <c:v>1.0475754985179999</c:v>
                </c:pt>
                <c:pt idx="164">
                  <c:v>1.0543928884630001</c:v>
                </c:pt>
                <c:pt idx="165">
                  <c:v>1.0490992234000001</c:v>
                </c:pt>
                <c:pt idx="166">
                  <c:v>1.034275359525</c:v>
                </c:pt>
                <c:pt idx="167">
                  <c:v>1.057801904835</c:v>
                </c:pt>
                <c:pt idx="168">
                  <c:v>1.0830676383510001</c:v>
                </c:pt>
                <c:pt idx="169">
                  <c:v>1.1049318538399999</c:v>
                </c:pt>
                <c:pt idx="170">
                  <c:v>1.1485016439639999</c:v>
                </c:pt>
                <c:pt idx="171">
                  <c:v>1.1850816372170001</c:v>
                </c:pt>
                <c:pt idx="172">
                  <c:v>1.1910327823939999</c:v>
                </c:pt>
                <c:pt idx="173">
                  <c:v>1.163591441938</c:v>
                </c:pt>
                <c:pt idx="174">
                  <c:v>1.1793608430839999</c:v>
                </c:pt>
                <c:pt idx="175">
                  <c:v>1.1807652668940001</c:v>
                </c:pt>
                <c:pt idx="176">
                  <c:v>1.1803340568080001</c:v>
                </c:pt>
                <c:pt idx="177">
                  <c:v>1.195062485624</c:v>
                </c:pt>
                <c:pt idx="178">
                  <c:v>1.226775092237</c:v>
                </c:pt>
                <c:pt idx="179">
                  <c:v>1.1974730184510001</c:v>
                </c:pt>
                <c:pt idx="180">
                  <c:v>1.1509580348849999</c:v>
                </c:pt>
                <c:pt idx="181">
                  <c:v>1.119150410404</c:v>
                </c:pt>
                <c:pt idx="182">
                  <c:v>1.0898814411819999</c:v>
                </c:pt>
                <c:pt idx="183">
                  <c:v>1.060357949523</c:v>
                </c:pt>
                <c:pt idx="184">
                  <c:v>1.0471840967179999</c:v>
                </c:pt>
                <c:pt idx="185">
                  <c:v>1.0208125188079999</c:v>
                </c:pt>
                <c:pt idx="186">
                  <c:v>1.0248124776750001</c:v>
                </c:pt>
                <c:pt idx="187">
                  <c:v>1.0063102624169999</c:v>
                </c:pt>
                <c:pt idx="188">
                  <c:v>0.97021335710300005</c:v>
                </c:pt>
                <c:pt idx="189">
                  <c:v>0.95312572301099996</c:v>
                </c:pt>
                <c:pt idx="190">
                  <c:v>0.963574831375</c:v>
                </c:pt>
                <c:pt idx="191">
                  <c:v>0.90998443200000001</c:v>
                </c:pt>
                <c:pt idx="192">
                  <c:v>0.93742176257900001</c:v>
                </c:pt>
                <c:pt idx="193">
                  <c:v>0.93119988545200005</c:v>
                </c:pt>
                <c:pt idx="194">
                  <c:v>0.93930235945200002</c:v>
                </c:pt>
                <c:pt idx="195">
                  <c:v>0.94661934773199996</c:v>
                </c:pt>
                <c:pt idx="196">
                  <c:v>0.97072491892799995</c:v>
                </c:pt>
                <c:pt idx="197">
                  <c:v>0.91759434904100001</c:v>
                </c:pt>
                <c:pt idx="198">
                  <c:v>0.93490684503199994</c:v>
                </c:pt>
                <c:pt idx="199">
                  <c:v>0.87505007042100003</c:v>
                </c:pt>
                <c:pt idx="200">
                  <c:v>0.85564877897400005</c:v>
                </c:pt>
                <c:pt idx="201">
                  <c:v>0.85795641366200004</c:v>
                </c:pt>
                <c:pt idx="202">
                  <c:v>0.85463447806799997</c:v>
                </c:pt>
                <c:pt idx="203">
                  <c:v>0.81900167210300001</c:v>
                </c:pt>
                <c:pt idx="204">
                  <c:v>0.83511761492000003</c:v>
                </c:pt>
                <c:pt idx="205">
                  <c:v>0.81259159653699997</c:v>
                </c:pt>
                <c:pt idx="206">
                  <c:v>0.79380068370300005</c:v>
                </c:pt>
                <c:pt idx="207">
                  <c:v>0.799624425099</c:v>
                </c:pt>
                <c:pt idx="208">
                  <c:v>0.82992502844899996</c:v>
                </c:pt>
                <c:pt idx="209">
                  <c:v>0.85373530191799996</c:v>
                </c:pt>
                <c:pt idx="210">
                  <c:v>0.85409887882699997</c:v>
                </c:pt>
                <c:pt idx="211">
                  <c:v>0.85614692364099998</c:v>
                </c:pt>
                <c:pt idx="212">
                  <c:v>0.84858496198699995</c:v>
                </c:pt>
                <c:pt idx="213">
                  <c:v>0.78113846712199997</c:v>
                </c:pt>
                <c:pt idx="214">
                  <c:v>0.76461694592200002</c:v>
                </c:pt>
                <c:pt idx="215">
                  <c:v>0.80773249738700004</c:v>
                </c:pt>
                <c:pt idx="216">
                  <c:v>0.71240385265999995</c:v>
                </c:pt>
                <c:pt idx="217">
                  <c:v>0.66907453445200005</c:v>
                </c:pt>
                <c:pt idx="218">
                  <c:v>0.73083972224299998</c:v>
                </c:pt>
                <c:pt idx="219">
                  <c:v>0.74104772739500002</c:v>
                </c:pt>
                <c:pt idx="220">
                  <c:v>0.76420332039600003</c:v>
                </c:pt>
                <c:pt idx="221">
                  <c:v>0.89966121014400002</c:v>
                </c:pt>
                <c:pt idx="222">
                  <c:v>0.96284352215299995</c:v>
                </c:pt>
                <c:pt idx="223">
                  <c:v>1.056619101441</c:v>
                </c:pt>
                <c:pt idx="224">
                  <c:v>1.0748958257179999</c:v>
                </c:pt>
                <c:pt idx="225">
                  <c:v>0.91941456533200006</c:v>
                </c:pt>
                <c:pt idx="226">
                  <c:v>0.84644893362399998</c:v>
                </c:pt>
                <c:pt idx="227">
                  <c:v>0.81655016746700004</c:v>
                </c:pt>
                <c:pt idx="228">
                  <c:v>0.72719371552699996</c:v>
                </c:pt>
                <c:pt idx="229">
                  <c:v>0.73489305267399996</c:v>
                </c:pt>
                <c:pt idx="230">
                  <c:v>0.80859225163000004</c:v>
                </c:pt>
                <c:pt idx="231">
                  <c:v>0.82354164068000002</c:v>
                </c:pt>
                <c:pt idx="232">
                  <c:v>0.84921307236099997</c:v>
                </c:pt>
                <c:pt idx="233">
                  <c:v>0.84582145812200005</c:v>
                </c:pt>
                <c:pt idx="234">
                  <c:v>0.82300680209099997</c:v>
                </c:pt>
                <c:pt idx="235">
                  <c:v>0.83296963946799996</c:v>
                </c:pt>
                <c:pt idx="236">
                  <c:v>0.88589892462200004</c:v>
                </c:pt>
                <c:pt idx="237">
                  <c:v>0.88197616422500003</c:v>
                </c:pt>
                <c:pt idx="238">
                  <c:v>0.88244565217299997</c:v>
                </c:pt>
                <c:pt idx="239">
                  <c:v>0.88653997526100004</c:v>
                </c:pt>
                <c:pt idx="240">
                  <c:v>0.87516373369699996</c:v>
                </c:pt>
                <c:pt idx="241">
                  <c:v>0.85125662506400002</c:v>
                </c:pt>
                <c:pt idx="242">
                  <c:v>0.88082623965700002</c:v>
                </c:pt>
                <c:pt idx="243">
                  <c:v>0.891728767629</c:v>
                </c:pt>
                <c:pt idx="244">
                  <c:v>0.89421613394199995</c:v>
                </c:pt>
                <c:pt idx="245">
                  <c:v>0.86347367736000002</c:v>
                </c:pt>
                <c:pt idx="246">
                  <c:v>0.84735890741099995</c:v>
                </c:pt>
                <c:pt idx="247">
                  <c:v>0.81104277894099996</c:v>
                </c:pt>
                <c:pt idx="248">
                  <c:v>0.79190551833599998</c:v>
                </c:pt>
                <c:pt idx="249">
                  <c:v>0.781418439716</c:v>
                </c:pt>
                <c:pt idx="250">
                  <c:v>0.82086065264899999</c:v>
                </c:pt>
                <c:pt idx="251">
                  <c:v>0.80769534644800001</c:v>
                </c:pt>
                <c:pt idx="252">
                  <c:v>0.79126739438299998</c:v>
                </c:pt>
                <c:pt idx="253">
                  <c:v>0.77472527472499997</c:v>
                </c:pt>
                <c:pt idx="254">
                  <c:v>0.77455073515999995</c:v>
                </c:pt>
                <c:pt idx="255">
                  <c:v>0.72915901579099995</c:v>
                </c:pt>
                <c:pt idx="256">
                  <c:v>0.76396361146400005</c:v>
                </c:pt>
                <c:pt idx="257">
                  <c:v>0.80897219882000004</c:v>
                </c:pt>
                <c:pt idx="258">
                  <c:v>0.81830462681500005</c:v>
                </c:pt>
                <c:pt idx="259">
                  <c:v>0.79435200374899995</c:v>
                </c:pt>
                <c:pt idx="260">
                  <c:v>0.79199194157599995</c:v>
                </c:pt>
                <c:pt idx="261">
                  <c:v>0.73572343149800001</c:v>
                </c:pt>
                <c:pt idx="262">
                  <c:v>0.69864618588899996</c:v>
                </c:pt>
                <c:pt idx="263">
                  <c:v>0.70215985692600003</c:v>
                </c:pt>
                <c:pt idx="264">
                  <c:v>0.74391503171499995</c:v>
                </c:pt>
                <c:pt idx="265">
                  <c:v>0.73163751987199999</c:v>
                </c:pt>
                <c:pt idx="266">
                  <c:v>0.706404455273</c:v>
                </c:pt>
                <c:pt idx="267">
                  <c:v>0.71175703372400001</c:v>
                </c:pt>
                <c:pt idx="268">
                  <c:v>0.71453761755400003</c:v>
                </c:pt>
                <c:pt idx="269">
                  <c:v>0.679357525282</c:v>
                </c:pt>
                <c:pt idx="270">
                  <c:v>0.71968709256800001</c:v>
                </c:pt>
                <c:pt idx="271">
                  <c:v>0.79477703867899996</c:v>
                </c:pt>
                <c:pt idx="272">
                  <c:v>0.797120418848</c:v>
                </c:pt>
                <c:pt idx="273">
                  <c:v>0.78448039484499998</c:v>
                </c:pt>
                <c:pt idx="274">
                  <c:v>0.77991827203700004</c:v>
                </c:pt>
                <c:pt idx="275">
                  <c:v>0.78291062801900002</c:v>
                </c:pt>
                <c:pt idx="276">
                  <c:v>0.76410415374999996</c:v>
                </c:pt>
                <c:pt idx="277">
                  <c:v>0.78686371100100005</c:v>
                </c:pt>
                <c:pt idx="278">
                  <c:v>0.83257602236899997</c:v>
                </c:pt>
                <c:pt idx="279">
                  <c:v>0.80800898203500005</c:v>
                </c:pt>
                <c:pt idx="280">
                  <c:v>0.79521789433000001</c:v>
                </c:pt>
                <c:pt idx="281">
                  <c:v>0.79716024340699998</c:v>
                </c:pt>
                <c:pt idx="282">
                  <c:v>0.71911519198600005</c:v>
                </c:pt>
                <c:pt idx="283">
                  <c:v>0.66120906801000001</c:v>
                </c:pt>
                <c:pt idx="284">
                  <c:v>0.69430291801699995</c:v>
                </c:pt>
                <c:pt idx="285">
                  <c:v>0.69932104752599999</c:v>
                </c:pt>
                <c:pt idx="286">
                  <c:v>0.67226463104300005</c:v>
                </c:pt>
                <c:pt idx="287">
                  <c:v>0.66453859547299998</c:v>
                </c:pt>
                <c:pt idx="288">
                  <c:v>0.64634920634899995</c:v>
                </c:pt>
                <c:pt idx="289">
                  <c:v>0.65843895930600005</c:v>
                </c:pt>
                <c:pt idx="290">
                  <c:v>0.66158113730900003</c:v>
                </c:pt>
                <c:pt idx="291">
                  <c:v>0.71233913701700002</c:v>
                </c:pt>
                <c:pt idx="292">
                  <c:v>0.83668122270699996</c:v>
                </c:pt>
                <c:pt idx="293">
                  <c:v>0.88703339882099996</c:v>
                </c:pt>
                <c:pt idx="294">
                  <c:v>0.81458966565299995</c:v>
                </c:pt>
                <c:pt idx="295">
                  <c:v>0.820754716981</c:v>
                </c:pt>
                <c:pt idx="296">
                  <c:v>0.76195536663100005</c:v>
                </c:pt>
                <c:pt idx="297">
                  <c:v>0.73173277661699998</c:v>
                </c:pt>
                <c:pt idx="298">
                  <c:v>0.77962347729699999</c:v>
                </c:pt>
                <c:pt idx="299">
                  <c:v>0.87562189054700001</c:v>
                </c:pt>
                <c:pt idx="300">
                  <c:v>0.94125159642400003</c:v>
                </c:pt>
                <c:pt idx="301">
                  <c:v>1.0990237099019999</c:v>
                </c:pt>
                <c:pt idx="302">
                  <c:v>1.1611982881589999</c:v>
                </c:pt>
                <c:pt idx="303">
                  <c:v>1.2585227272720001</c:v>
                </c:pt>
                <c:pt idx="304">
                  <c:v>1.306818181818</c:v>
                </c:pt>
                <c:pt idx="305">
                  <c:v>1.327001356852</c:v>
                </c:pt>
                <c:pt idx="306">
                  <c:v>1.3045685279179999</c:v>
                </c:pt>
                <c:pt idx="307">
                  <c:v>1.2309582309580001</c:v>
                </c:pt>
                <c:pt idx="308">
                  <c:v>1.0722347629789999</c:v>
                </c:pt>
                <c:pt idx="309">
                  <c:v>1.1869565217389999</c:v>
                </c:pt>
                <c:pt idx="310">
                  <c:v>1.2075664621669999</c:v>
                </c:pt>
                <c:pt idx="311">
                  <c:v>1.264591439688</c:v>
                </c:pt>
                <c:pt idx="312">
                  <c:v>1.3363273453090001</c:v>
                </c:pt>
                <c:pt idx="313">
                  <c:v>1.4610526315779999</c:v>
                </c:pt>
                <c:pt idx="314">
                  <c:v>1.3736263736259999</c:v>
                </c:pt>
                <c:pt idx="315">
                  <c:v>1.4496189669770001</c:v>
                </c:pt>
                <c:pt idx="316">
                  <c:v>1.3</c:v>
                </c:pt>
                <c:pt idx="317">
                  <c:v>1.233009708737</c:v>
                </c:pt>
                <c:pt idx="318">
                  <c:v>1.1599423631120001</c:v>
                </c:pt>
                <c:pt idx="319">
                  <c:v>1.095333333333</c:v>
                </c:pt>
                <c:pt idx="320">
                  <c:v>0.93574766355100003</c:v>
                </c:pt>
                <c:pt idx="321">
                  <c:v>0.93609467455600004</c:v>
                </c:pt>
                <c:pt idx="322">
                  <c:v>0.94427619624400005</c:v>
                </c:pt>
                <c:pt idx="323">
                  <c:v>0.95279503105499996</c:v>
                </c:pt>
                <c:pt idx="324">
                  <c:v>0.92878880097299998</c:v>
                </c:pt>
                <c:pt idx="325">
                  <c:v>0.91760299625399999</c:v>
                </c:pt>
                <c:pt idx="326">
                  <c:v>0.88495575221199996</c:v>
                </c:pt>
                <c:pt idx="327">
                  <c:v>0.874919820397</c:v>
                </c:pt>
                <c:pt idx="328">
                  <c:v>0.87483702737900004</c:v>
                </c:pt>
                <c:pt idx="329">
                  <c:v>0.85058977719499995</c:v>
                </c:pt>
                <c:pt idx="330">
                  <c:v>0.86190476190400001</c:v>
                </c:pt>
                <c:pt idx="331">
                  <c:v>0.90142857142800004</c:v>
                </c:pt>
                <c:pt idx="332">
                  <c:v>0.88929618768300001</c:v>
                </c:pt>
                <c:pt idx="333">
                  <c:v>0.89642324888199998</c:v>
                </c:pt>
                <c:pt idx="334">
                  <c:v>0.92372881355900005</c:v>
                </c:pt>
                <c:pt idx="335">
                  <c:v>0.90923441199599997</c:v>
                </c:pt>
                <c:pt idx="336">
                  <c:v>0.90174326465900001</c:v>
                </c:pt>
                <c:pt idx="337">
                  <c:v>0.94394064303299996</c:v>
                </c:pt>
                <c:pt idx="338">
                  <c:v>0.91687448046499997</c:v>
                </c:pt>
                <c:pt idx="339">
                  <c:v>0.95246038365300001</c:v>
                </c:pt>
                <c:pt idx="340">
                  <c:v>1.0251736111109999</c:v>
                </c:pt>
                <c:pt idx="341">
                  <c:v>1.064147627416</c:v>
                </c:pt>
                <c:pt idx="342">
                  <c:v>1.077729257641</c:v>
                </c:pt>
                <c:pt idx="343">
                  <c:v>1.135992747053</c:v>
                </c:pt>
                <c:pt idx="344">
                  <c:v>1.106830122591</c:v>
                </c:pt>
                <c:pt idx="345">
                  <c:v>1.0914479254859999</c:v>
                </c:pt>
                <c:pt idx="346">
                  <c:v>1.100743187448</c:v>
                </c:pt>
                <c:pt idx="347">
                  <c:v>1.0688816855750001</c:v>
                </c:pt>
                <c:pt idx="348">
                  <c:v>1.0287310454900001</c:v>
                </c:pt>
                <c:pt idx="349">
                  <c:v>1.0514240506320001</c:v>
                </c:pt>
                <c:pt idx="350">
                  <c:v>1.061287820015</c:v>
                </c:pt>
                <c:pt idx="351">
                  <c:v>1.0180045011250001</c:v>
                </c:pt>
                <c:pt idx="352">
                  <c:v>1.010614101592</c:v>
                </c:pt>
                <c:pt idx="353">
                  <c:v>0.99379363847900004</c:v>
                </c:pt>
                <c:pt idx="354">
                  <c:v>0.95861550037599996</c:v>
                </c:pt>
                <c:pt idx="355">
                  <c:v>0.95321637426899997</c:v>
                </c:pt>
                <c:pt idx="356">
                  <c:v>0.95946941783299999</c:v>
                </c:pt>
                <c:pt idx="357">
                  <c:v>0.94148537134200005</c:v>
                </c:pt>
                <c:pt idx="358">
                  <c:v>1.0117096018730001</c:v>
                </c:pt>
                <c:pt idx="359">
                  <c:v>1.0549450549449999</c:v>
                </c:pt>
                <c:pt idx="360">
                  <c:v>1.039877300613</c:v>
                </c:pt>
                <c:pt idx="361">
                  <c:v>1.039938556067</c:v>
                </c:pt>
                <c:pt idx="362">
                  <c:v>1.0581673306770001</c:v>
                </c:pt>
                <c:pt idx="363">
                  <c:v>1.0455246913580001</c:v>
                </c:pt>
                <c:pt idx="364">
                  <c:v>1.0372023809519999</c:v>
                </c:pt>
                <c:pt idx="365">
                  <c:v>1.0368731563419999</c:v>
                </c:pt>
                <c:pt idx="366">
                  <c:v>1.1063515509599999</c:v>
                </c:pt>
                <c:pt idx="367">
                  <c:v>1.2236445783130001</c:v>
                </c:pt>
                <c:pt idx="368">
                  <c:v>1.2538745387450001</c:v>
                </c:pt>
                <c:pt idx="369">
                  <c:v>1.2618364418929999</c:v>
                </c:pt>
                <c:pt idx="370">
                  <c:v>1.359174964438</c:v>
                </c:pt>
                <c:pt idx="371">
                  <c:v>1.469959946595</c:v>
                </c:pt>
                <c:pt idx="372">
                  <c:v>1.4289230769229999</c:v>
                </c:pt>
                <c:pt idx="373">
                  <c:v>1.433784579164</c:v>
                </c:pt>
                <c:pt idx="374">
                  <c:v>1.46162592382</c:v>
                </c:pt>
                <c:pt idx="375">
                  <c:v>1.3683935112500001</c:v>
                </c:pt>
                <c:pt idx="376">
                  <c:v>1.1857402361480001</c:v>
                </c:pt>
                <c:pt idx="377">
                  <c:v>1.1683893195520001</c:v>
                </c:pt>
                <c:pt idx="378">
                  <c:v>1.10303776683</c:v>
                </c:pt>
                <c:pt idx="379">
                  <c:v>1.1003500583429999</c:v>
                </c:pt>
                <c:pt idx="380">
                  <c:v>1.136137667304</c:v>
                </c:pt>
                <c:pt idx="381">
                  <c:v>1.1390271926460001</c:v>
                </c:pt>
                <c:pt idx="382">
                  <c:v>1.115001842978</c:v>
                </c:pt>
                <c:pt idx="383">
                  <c:v>1.144771120208</c:v>
                </c:pt>
                <c:pt idx="384">
                  <c:v>1.082361258395</c:v>
                </c:pt>
                <c:pt idx="385">
                  <c:v>1.0440928980140001</c:v>
                </c:pt>
                <c:pt idx="386">
                  <c:v>1.0427034297240001</c:v>
                </c:pt>
                <c:pt idx="387">
                  <c:v>0.99933884297499997</c:v>
                </c:pt>
                <c:pt idx="388">
                  <c:v>1.0107282184649999</c:v>
                </c:pt>
                <c:pt idx="389">
                  <c:v>1.053559764859</c:v>
                </c:pt>
                <c:pt idx="390">
                  <c:v>1.060928433268</c:v>
                </c:pt>
                <c:pt idx="391">
                  <c:v>1.1244759754910001</c:v>
                </c:pt>
                <c:pt idx="392">
                  <c:v>1.112801852464</c:v>
                </c:pt>
                <c:pt idx="393">
                  <c:v>1.1502090704400001</c:v>
                </c:pt>
                <c:pt idx="394">
                  <c:v>1.2442653440789999</c:v>
                </c:pt>
                <c:pt idx="395">
                  <c:v>1.3093284715889999</c:v>
                </c:pt>
                <c:pt idx="396">
                  <c:v>1.2738743905929999</c:v>
                </c:pt>
                <c:pt idx="397">
                  <c:v>1.3397740784779999</c:v>
                </c:pt>
                <c:pt idx="398">
                  <c:v>1.301174496644</c:v>
                </c:pt>
                <c:pt idx="399">
                  <c:v>1.3238664673639999</c:v>
                </c:pt>
                <c:pt idx="400">
                  <c:v>1.3058714318860001</c:v>
                </c:pt>
                <c:pt idx="401">
                  <c:v>1.2825303917149999</c:v>
                </c:pt>
                <c:pt idx="402">
                  <c:v>1.3061903705339999</c:v>
                </c:pt>
                <c:pt idx="403">
                  <c:v>1.290135396518</c:v>
                </c:pt>
                <c:pt idx="404">
                  <c:v>1.133421151674</c:v>
                </c:pt>
                <c:pt idx="405">
                  <c:v>1.163319708548</c:v>
                </c:pt>
                <c:pt idx="406">
                  <c:v>1.2144988590479999</c:v>
                </c:pt>
                <c:pt idx="407">
                  <c:v>1.2520808561229999</c:v>
                </c:pt>
                <c:pt idx="408">
                  <c:v>1.3193403298349999</c:v>
                </c:pt>
                <c:pt idx="409">
                  <c:v>1.4416403785480001</c:v>
                </c:pt>
                <c:pt idx="410">
                  <c:v>1.4013137794070001</c:v>
                </c:pt>
                <c:pt idx="411">
                  <c:v>1.3919641566700001</c:v>
                </c:pt>
                <c:pt idx="412">
                  <c:v>1.468457468457</c:v>
                </c:pt>
                <c:pt idx="413">
                  <c:v>1.5864898989889999</c:v>
                </c:pt>
                <c:pt idx="414">
                  <c:v>1.652193942185</c:v>
                </c:pt>
                <c:pt idx="415">
                  <c:v>1.7934154584099999</c:v>
                </c:pt>
                <c:pt idx="416">
                  <c:v>1.9632436922430001</c:v>
                </c:pt>
                <c:pt idx="417">
                  <c:v>1.894493717664</c:v>
                </c:pt>
                <c:pt idx="418">
                  <c:v>1.715081575805</c:v>
                </c:pt>
                <c:pt idx="419">
                  <c:v>1.62400669176</c:v>
                </c:pt>
                <c:pt idx="420">
                  <c:v>1.601118473041</c:v>
                </c:pt>
                <c:pt idx="421">
                  <c:v>1.5297757562930001</c:v>
                </c:pt>
                <c:pt idx="422">
                  <c:v>1.4452355408169999</c:v>
                </c:pt>
                <c:pt idx="423">
                  <c:v>1.4458004640369999</c:v>
                </c:pt>
                <c:pt idx="424">
                  <c:v>1.4362606232290001</c:v>
                </c:pt>
                <c:pt idx="425">
                  <c:v>1.3065299924060001</c:v>
                </c:pt>
                <c:pt idx="426">
                  <c:v>1.30492653414</c:v>
                </c:pt>
                <c:pt idx="427">
                  <c:v>1.3967809420970001</c:v>
                </c:pt>
                <c:pt idx="428">
                  <c:v>1.4446833777320001</c:v>
                </c:pt>
                <c:pt idx="429">
                  <c:v>1.4688303149840001</c:v>
                </c:pt>
                <c:pt idx="430">
                  <c:v>1.5298425059559999</c:v>
                </c:pt>
                <c:pt idx="431">
                  <c:v>1.4129553583250001</c:v>
                </c:pt>
                <c:pt idx="432">
                  <c:v>1.2937069694400001</c:v>
                </c:pt>
                <c:pt idx="433">
                  <c:v>1.2268728339099999</c:v>
                </c:pt>
                <c:pt idx="434">
                  <c:v>1.218026449643</c:v>
                </c:pt>
                <c:pt idx="435">
                  <c:v>1.214746998936</c:v>
                </c:pt>
                <c:pt idx="436">
                  <c:v>1.235899647491</c:v>
                </c:pt>
                <c:pt idx="437">
                  <c:v>1.32420219222</c:v>
                </c:pt>
                <c:pt idx="438">
                  <c:v>1.34638925105</c:v>
                </c:pt>
                <c:pt idx="439">
                  <c:v>1.2868573146690001</c:v>
                </c:pt>
                <c:pt idx="440">
                  <c:v>1.2401569878350001</c:v>
                </c:pt>
                <c:pt idx="441">
                  <c:v>1.3240331952719999</c:v>
                </c:pt>
                <c:pt idx="442">
                  <c:v>1.2395261933299999</c:v>
                </c:pt>
                <c:pt idx="443">
                  <c:v>1.2234476080309999</c:v>
                </c:pt>
                <c:pt idx="444">
                  <c:v>1.2938771271689999</c:v>
                </c:pt>
                <c:pt idx="445">
                  <c:v>1.322746586309</c:v>
                </c:pt>
                <c:pt idx="446">
                  <c:v>1.231680627012</c:v>
                </c:pt>
                <c:pt idx="447">
                  <c:v>1.256470347322</c:v>
                </c:pt>
                <c:pt idx="448">
                  <c:v>1.2511789989769999</c:v>
                </c:pt>
                <c:pt idx="449">
                  <c:v>1.1804091132529999</c:v>
                </c:pt>
                <c:pt idx="450">
                  <c:v>1.2589623585700001</c:v>
                </c:pt>
                <c:pt idx="451">
                  <c:v>1.2046795050700001</c:v>
                </c:pt>
                <c:pt idx="452">
                  <c:v>1.1553623975730001</c:v>
                </c:pt>
                <c:pt idx="453">
                  <c:v>1.13018380544</c:v>
                </c:pt>
                <c:pt idx="454">
                  <c:v>1.1195798133629999</c:v>
                </c:pt>
                <c:pt idx="455">
                  <c:v>0.96794342779700004</c:v>
                </c:pt>
                <c:pt idx="456">
                  <c:v>1.011282637403</c:v>
                </c:pt>
                <c:pt idx="457">
                  <c:v>0.95327732672900001</c:v>
                </c:pt>
                <c:pt idx="458">
                  <c:v>0.92466940831599997</c:v>
                </c:pt>
                <c:pt idx="459">
                  <c:v>0.89118057875000001</c:v>
                </c:pt>
                <c:pt idx="460">
                  <c:v>0.89502913684499996</c:v>
                </c:pt>
                <c:pt idx="461">
                  <c:v>0.85824576944200004</c:v>
                </c:pt>
                <c:pt idx="462">
                  <c:v>0.90347906150799995</c:v>
                </c:pt>
                <c:pt idx="463">
                  <c:v>0.882405858268</c:v>
                </c:pt>
                <c:pt idx="464">
                  <c:v>0.85687027777500002</c:v>
                </c:pt>
                <c:pt idx="465">
                  <c:v>0.832947345422</c:v>
                </c:pt>
                <c:pt idx="466">
                  <c:v>0.83116675119399996</c:v>
                </c:pt>
                <c:pt idx="467">
                  <c:v>0.829910555863</c:v>
                </c:pt>
                <c:pt idx="468">
                  <c:v>0.83398757574600002</c:v>
                </c:pt>
                <c:pt idx="469">
                  <c:v>0.84201841064000005</c:v>
                </c:pt>
                <c:pt idx="470">
                  <c:v>0.84053089917099999</c:v>
                </c:pt>
                <c:pt idx="471">
                  <c:v>0.80659215963300002</c:v>
                </c:pt>
                <c:pt idx="472">
                  <c:v>0.78839575475799994</c:v>
                </c:pt>
                <c:pt idx="473">
                  <c:v>0.78607823424500001</c:v>
                </c:pt>
                <c:pt idx="474">
                  <c:v>0.80780855233600002</c:v>
                </c:pt>
                <c:pt idx="475">
                  <c:v>0.812847174545</c:v>
                </c:pt>
                <c:pt idx="476">
                  <c:v>0.79972659827100001</c:v>
                </c:pt>
                <c:pt idx="477">
                  <c:v>0.78343160705299997</c:v>
                </c:pt>
                <c:pt idx="478">
                  <c:v>0.78763788568000004</c:v>
                </c:pt>
                <c:pt idx="479">
                  <c:v>0.69098110284500003</c:v>
                </c:pt>
                <c:pt idx="480">
                  <c:v>0.65087994103000002</c:v>
                </c:pt>
                <c:pt idx="481">
                  <c:v>0.67467680103500005</c:v>
                </c:pt>
                <c:pt idx="482">
                  <c:v>0.69083163219999999</c:v>
                </c:pt>
                <c:pt idx="483">
                  <c:v>0.66703570440000004</c:v>
                </c:pt>
                <c:pt idx="484">
                  <c:v>0.73212208379999999</c:v>
                </c:pt>
                <c:pt idx="485">
                  <c:v>0.77880804076999999</c:v>
                </c:pt>
                <c:pt idx="486">
                  <c:v>0.88456240468299996</c:v>
                </c:pt>
                <c:pt idx="487">
                  <c:v>0.92409681895200002</c:v>
                </c:pt>
                <c:pt idx="488">
                  <c:v>0.99253112033099999</c:v>
                </c:pt>
                <c:pt idx="489">
                  <c:v>1.1085976772399999</c:v>
                </c:pt>
                <c:pt idx="490">
                  <c:v>1.195885970492</c:v>
                </c:pt>
                <c:pt idx="491">
                  <c:v>1.1318650760540001</c:v>
                </c:pt>
                <c:pt idx="492">
                  <c:v>1.1563786008229999</c:v>
                </c:pt>
                <c:pt idx="493">
                  <c:v>1.2057971014490001</c:v>
                </c:pt>
                <c:pt idx="494">
                  <c:v>1.2022515831439999</c:v>
                </c:pt>
                <c:pt idx="495">
                  <c:v>1.189791006966</c:v>
                </c:pt>
                <c:pt idx="496">
                  <c:v>1.1048571358370001</c:v>
                </c:pt>
                <c:pt idx="497">
                  <c:v>1.134197364624</c:v>
                </c:pt>
                <c:pt idx="498">
                  <c:v>1.184541420118</c:v>
                </c:pt>
                <c:pt idx="499">
                  <c:v>1.22035808731</c:v>
                </c:pt>
                <c:pt idx="500">
                  <c:v>1.338258777439</c:v>
                </c:pt>
                <c:pt idx="501">
                  <c:v>1.516177091903</c:v>
                </c:pt>
                <c:pt idx="502">
                  <c:v>1.540545697385</c:v>
                </c:pt>
                <c:pt idx="503">
                  <c:v>1.6705822666250001</c:v>
                </c:pt>
                <c:pt idx="504">
                  <c:v>1.807087033747</c:v>
                </c:pt>
                <c:pt idx="505">
                  <c:v>1.850192509625</c:v>
                </c:pt>
                <c:pt idx="506">
                  <c:v>1.9291622668070001</c:v>
                </c:pt>
                <c:pt idx="507">
                  <c:v>1.994509123936</c:v>
                </c:pt>
                <c:pt idx="508">
                  <c:v>1.798736188006</c:v>
                </c:pt>
                <c:pt idx="509">
                  <c:v>1.569240900736</c:v>
                </c:pt>
                <c:pt idx="510">
                  <c:v>1.4595930932479999</c:v>
                </c:pt>
                <c:pt idx="511">
                  <c:v>1.3750703218839999</c:v>
                </c:pt>
                <c:pt idx="512">
                  <c:v>1.4458749905120001</c:v>
                </c:pt>
                <c:pt idx="513">
                  <c:v>1.4119041280019999</c:v>
                </c:pt>
                <c:pt idx="514">
                  <c:v>1.4912090596480001</c:v>
                </c:pt>
                <c:pt idx="515">
                  <c:v>1.4021762824099999</c:v>
                </c:pt>
                <c:pt idx="516">
                  <c:v>1.3768922012</c:v>
                </c:pt>
                <c:pt idx="517">
                  <c:v>1.184433680895</c:v>
                </c:pt>
                <c:pt idx="518">
                  <c:v>1.222472623247</c:v>
                </c:pt>
                <c:pt idx="519">
                  <c:v>1.0687133520380001</c:v>
                </c:pt>
                <c:pt idx="520">
                  <c:v>1.081116283759</c:v>
                </c:pt>
                <c:pt idx="521">
                  <c:v>0.95868199996699999</c:v>
                </c:pt>
                <c:pt idx="522">
                  <c:v>0.98498009701599998</c:v>
                </c:pt>
                <c:pt idx="523">
                  <c:v>0.86381917298999999</c:v>
                </c:pt>
                <c:pt idx="524">
                  <c:v>0.90267062314500002</c:v>
                </c:pt>
                <c:pt idx="525">
                  <c:v>0.81686681434800001</c:v>
                </c:pt>
                <c:pt idx="526">
                  <c:v>0.82052656709399996</c:v>
                </c:pt>
                <c:pt idx="527">
                  <c:v>0.73988448763799997</c:v>
                </c:pt>
                <c:pt idx="528">
                  <c:v>0.75915489277100001</c:v>
                </c:pt>
                <c:pt idx="529">
                  <c:v>0.70209996037800004</c:v>
                </c:pt>
                <c:pt idx="530">
                  <c:v>0.75825451500499996</c:v>
                </c:pt>
                <c:pt idx="531">
                  <c:v>0.76173023521700001</c:v>
                </c:pt>
                <c:pt idx="532">
                  <c:v>0.77264987505799998</c:v>
                </c:pt>
                <c:pt idx="533">
                  <c:v>0.73262958606999995</c:v>
                </c:pt>
                <c:pt idx="534">
                  <c:v>0.74761863418700003</c:v>
                </c:pt>
                <c:pt idx="535">
                  <c:v>0.70391401465699999</c:v>
                </c:pt>
                <c:pt idx="536">
                  <c:v>0.73347137898199999</c:v>
                </c:pt>
                <c:pt idx="537">
                  <c:v>0.76224241556899996</c:v>
                </c:pt>
                <c:pt idx="538">
                  <c:v>0.78710425133700002</c:v>
                </c:pt>
                <c:pt idx="539">
                  <c:v>0.71695076935799995</c:v>
                </c:pt>
                <c:pt idx="540">
                  <c:v>0.71885334307799997</c:v>
                </c:pt>
                <c:pt idx="541">
                  <c:v>0.68658693685799999</c:v>
                </c:pt>
                <c:pt idx="542">
                  <c:v>0.66186368287099995</c:v>
                </c:pt>
                <c:pt idx="543">
                  <c:v>0.61970471775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R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-0.23227746890000001</c:v>
                </c:pt>
                <c:pt idx="1">
                  <c:v>-5.3076687579999997E-2</c:v>
                </c:pt>
                <c:pt idx="2">
                  <c:v>-5.4045002609999997E-2</c:v>
                </c:pt>
                <c:pt idx="3">
                  <c:v>6.059125018E-2</c:v>
                </c:pt>
                <c:pt idx="4">
                  <c:v>0.13978769268999999</c:v>
                </c:pt>
                <c:pt idx="5">
                  <c:v>0.1162921908</c:v>
                </c:pt>
                <c:pt idx="6">
                  <c:v>5.1874945030000001E-2</c:v>
                </c:pt>
                <c:pt idx="7">
                  <c:v>4.9699899810000003E-2</c:v>
                </c:pt>
                <c:pt idx="8">
                  <c:v>-3.512231733E-2</c:v>
                </c:pt>
                <c:pt idx="9">
                  <c:v>-4.2571746719999998E-2</c:v>
                </c:pt>
                <c:pt idx="10">
                  <c:v>7.9316806190000005E-2</c:v>
                </c:pt>
                <c:pt idx="11">
                  <c:v>0.12770434090999999</c:v>
                </c:pt>
                <c:pt idx="12">
                  <c:v>3.1630195599999999E-3</c:v>
                </c:pt>
                <c:pt idx="13">
                  <c:v>-0.13052285098999999</c:v>
                </c:pt>
                <c:pt idx="14">
                  <c:v>-0.19505997255999999</c:v>
                </c:pt>
                <c:pt idx="15">
                  <c:v>-0.21346145015000001</c:v>
                </c:pt>
                <c:pt idx="16">
                  <c:v>-0.24560077221000001</c:v>
                </c:pt>
                <c:pt idx="17">
                  <c:v>-0.28394270153000001</c:v>
                </c:pt>
                <c:pt idx="18">
                  <c:v>-0.26465176163999998</c:v>
                </c:pt>
                <c:pt idx="19">
                  <c:v>-0.23780851090999999</c:v>
                </c:pt>
                <c:pt idx="20">
                  <c:v>-0.29819985079</c:v>
                </c:pt>
                <c:pt idx="21">
                  <c:v>-0.34869370919999998</c:v>
                </c:pt>
                <c:pt idx="22">
                  <c:v>-0.41255274222999999</c:v>
                </c:pt>
                <c:pt idx="23">
                  <c:v>-0.39116107666</c:v>
                </c:pt>
                <c:pt idx="24">
                  <c:v>-0.36101618816999997</c:v>
                </c:pt>
                <c:pt idx="25">
                  <c:v>-0.32314095120000003</c:v>
                </c:pt>
                <c:pt idx="26">
                  <c:v>-0.33610406206999999</c:v>
                </c:pt>
                <c:pt idx="27">
                  <c:v>-0.34345019590999998</c:v>
                </c:pt>
                <c:pt idx="28">
                  <c:v>-0.26799457865999998</c:v>
                </c:pt>
                <c:pt idx="29">
                  <c:v>-0.27257454530000003</c:v>
                </c:pt>
                <c:pt idx="30">
                  <c:v>-0.20158766915000001</c:v>
                </c:pt>
                <c:pt idx="31">
                  <c:v>-0.15801138856999999</c:v>
                </c:pt>
                <c:pt idx="32">
                  <c:v>-4.643157824E-2</c:v>
                </c:pt>
                <c:pt idx="33">
                  <c:v>4.5342792530000002E-2</c:v>
                </c:pt>
                <c:pt idx="34">
                  <c:v>8.7470152159999995E-2</c:v>
                </c:pt>
                <c:pt idx="35">
                  <c:v>0.12591136625999999</c:v>
                </c:pt>
                <c:pt idx="36">
                  <c:v>0.17478135431</c:v>
                </c:pt>
                <c:pt idx="37">
                  <c:v>0.16307040685999999</c:v>
                </c:pt>
                <c:pt idx="38">
                  <c:v>0.38968777207999999</c:v>
                </c:pt>
                <c:pt idx="39">
                  <c:v>0.33693597445000001</c:v>
                </c:pt>
                <c:pt idx="40">
                  <c:v>9.3450538900000005E-2</c:v>
                </c:pt>
                <c:pt idx="41">
                  <c:v>-7.648637422E-2</c:v>
                </c:pt>
                <c:pt idx="42">
                  <c:v>-0.13385908655000001</c:v>
                </c:pt>
                <c:pt idx="43">
                  <c:v>-0.21657118285999999</c:v>
                </c:pt>
                <c:pt idx="44">
                  <c:v>-0.28699864953999998</c:v>
                </c:pt>
                <c:pt idx="45">
                  <c:v>-0.27268015193</c:v>
                </c:pt>
                <c:pt idx="46">
                  <c:v>-0.17500911696999999</c:v>
                </c:pt>
                <c:pt idx="47">
                  <c:v>-0.18600382102999999</c:v>
                </c:pt>
                <c:pt idx="48">
                  <c:v>-0.23238457468000001</c:v>
                </c:pt>
                <c:pt idx="49">
                  <c:v>-0.28443793010000001</c:v>
                </c:pt>
                <c:pt idx="50">
                  <c:v>-0.19897743833000001</c:v>
                </c:pt>
                <c:pt idx="51">
                  <c:v>-0.23977432733000001</c:v>
                </c:pt>
                <c:pt idx="52">
                  <c:v>-0.19685874972</c:v>
                </c:pt>
                <c:pt idx="53">
                  <c:v>-0.18933177612999999</c:v>
                </c:pt>
                <c:pt idx="54">
                  <c:v>-0.19670339850999999</c:v>
                </c:pt>
                <c:pt idx="55">
                  <c:v>-0.24844559008</c:v>
                </c:pt>
                <c:pt idx="56">
                  <c:v>-0.25865493331</c:v>
                </c:pt>
                <c:pt idx="57">
                  <c:v>-0.31785798553</c:v>
                </c:pt>
                <c:pt idx="58">
                  <c:v>-0.34865127759999998</c:v>
                </c:pt>
                <c:pt idx="59">
                  <c:v>-0.3655011977</c:v>
                </c:pt>
                <c:pt idx="60">
                  <c:v>-0.33832600730000001</c:v>
                </c:pt>
                <c:pt idx="61">
                  <c:v>-0.36979543924000002</c:v>
                </c:pt>
                <c:pt idx="62">
                  <c:v>-0.36102869901000001</c:v>
                </c:pt>
                <c:pt idx="63">
                  <c:v>-0.34785923335000002</c:v>
                </c:pt>
                <c:pt idx="64">
                  <c:v>-0.25988016366</c:v>
                </c:pt>
                <c:pt idx="65">
                  <c:v>-0.20855911053000001</c:v>
                </c:pt>
                <c:pt idx="66">
                  <c:v>-0.16869538134000001</c:v>
                </c:pt>
                <c:pt idx="67">
                  <c:v>-0.12274892234</c:v>
                </c:pt>
                <c:pt idx="68">
                  <c:v>-0.10008159742</c:v>
                </c:pt>
                <c:pt idx="69">
                  <c:v>-0.20232291385000001</c:v>
                </c:pt>
                <c:pt idx="70">
                  <c:v>-0.24868244567</c:v>
                </c:pt>
                <c:pt idx="71">
                  <c:v>-0.32260209552000002</c:v>
                </c:pt>
                <c:pt idx="72">
                  <c:v>-0.35059354529999998</c:v>
                </c:pt>
                <c:pt idx="73">
                  <c:v>-0.34013044724000002</c:v>
                </c:pt>
                <c:pt idx="74">
                  <c:v>-0.30388306580000002</c:v>
                </c:pt>
                <c:pt idx="75">
                  <c:v>-0.32506973275000001</c:v>
                </c:pt>
                <c:pt idx="76">
                  <c:v>-0.23144415615</c:v>
                </c:pt>
                <c:pt idx="77">
                  <c:v>-0.21370678196000001</c:v>
                </c:pt>
                <c:pt idx="78">
                  <c:v>-0.15319482833</c:v>
                </c:pt>
                <c:pt idx="79">
                  <c:v>-8.6462071749999994E-2</c:v>
                </c:pt>
                <c:pt idx="80">
                  <c:v>-1.1764351750000001E-2</c:v>
                </c:pt>
                <c:pt idx="81">
                  <c:v>4.0322779699999999E-2</c:v>
                </c:pt>
                <c:pt idx="82">
                  <c:v>6.2752537950000006E-2</c:v>
                </c:pt>
                <c:pt idx="83">
                  <c:v>4.7033005599999997E-2</c:v>
                </c:pt>
                <c:pt idx="84">
                  <c:v>0.12466659587999999</c:v>
                </c:pt>
                <c:pt idx="85">
                  <c:v>0.12803561959000001</c:v>
                </c:pt>
                <c:pt idx="86">
                  <c:v>5.0866430679999998E-2</c:v>
                </c:pt>
                <c:pt idx="87">
                  <c:v>8.9065362940000004E-2</c:v>
                </c:pt>
                <c:pt idx="88">
                  <c:v>0.17564546038000001</c:v>
                </c:pt>
                <c:pt idx="89">
                  <c:v>-8.4996070490000006E-2</c:v>
                </c:pt>
                <c:pt idx="90">
                  <c:v>-0.18268043153999999</c:v>
                </c:pt>
                <c:pt idx="91">
                  <c:v>-0.18684415007999999</c:v>
                </c:pt>
                <c:pt idx="92">
                  <c:v>-0.16493486425000001</c:v>
                </c:pt>
                <c:pt idx="93">
                  <c:v>-0.10664880295</c:v>
                </c:pt>
                <c:pt idx="94">
                  <c:v>-1.73636964E-3</c:v>
                </c:pt>
                <c:pt idx="95">
                  <c:v>9.3985468409999995E-2</c:v>
                </c:pt>
                <c:pt idx="96">
                  <c:v>0.10380583429</c:v>
                </c:pt>
                <c:pt idx="97">
                  <c:v>9.8752359809999996E-2</c:v>
                </c:pt>
                <c:pt idx="98">
                  <c:v>6.1142603660000003E-2</c:v>
                </c:pt>
                <c:pt idx="99">
                  <c:v>7.8342442639999996E-2</c:v>
                </c:pt>
                <c:pt idx="100">
                  <c:v>5.164239994E-2</c:v>
                </c:pt>
                <c:pt idx="101">
                  <c:v>0.12353904834</c:v>
                </c:pt>
                <c:pt idx="102">
                  <c:v>0.13426738748</c:v>
                </c:pt>
                <c:pt idx="103">
                  <c:v>-4.45543669E-3</c:v>
                </c:pt>
                <c:pt idx="104">
                  <c:v>-0.11788977973</c:v>
                </c:pt>
                <c:pt idx="105">
                  <c:v>-0.11563529756</c:v>
                </c:pt>
                <c:pt idx="106">
                  <c:v>-0.13586031605000001</c:v>
                </c:pt>
                <c:pt idx="107">
                  <c:v>-0.12324300378</c:v>
                </c:pt>
                <c:pt idx="108">
                  <c:v>-6.2174795319999997E-2</c:v>
                </c:pt>
                <c:pt idx="109">
                  <c:v>8.7584913899999995E-3</c:v>
                </c:pt>
                <c:pt idx="110">
                  <c:v>-9.7012900169999999E-2</c:v>
                </c:pt>
                <c:pt idx="111">
                  <c:v>-0.1111316141</c:v>
                </c:pt>
                <c:pt idx="112">
                  <c:v>-0.10908863237999999</c:v>
                </c:pt>
                <c:pt idx="113">
                  <c:v>-5.0884358499999997E-2</c:v>
                </c:pt>
                <c:pt idx="114">
                  <c:v>-0.18063125551000001</c:v>
                </c:pt>
                <c:pt idx="115">
                  <c:v>-0.26329143662999999</c:v>
                </c:pt>
                <c:pt idx="116">
                  <c:v>-0.31662515813999997</c:v>
                </c:pt>
                <c:pt idx="117">
                  <c:v>-0.38827902870999997</c:v>
                </c:pt>
                <c:pt idx="118">
                  <c:v>-0.44456427829</c:v>
                </c:pt>
                <c:pt idx="119">
                  <c:v>-0.38135235030999998</c:v>
                </c:pt>
                <c:pt idx="120">
                  <c:v>-0.17050260299</c:v>
                </c:pt>
                <c:pt idx="121">
                  <c:v>0.132111911</c:v>
                </c:pt>
                <c:pt idx="122">
                  <c:v>0.30263634132</c:v>
                </c:pt>
                <c:pt idx="123">
                  <c:v>0.37554877289999999</c:v>
                </c:pt>
                <c:pt idx="124">
                  <c:v>0.18221917527000001</c:v>
                </c:pt>
                <c:pt idx="125">
                  <c:v>0.11835433643</c:v>
                </c:pt>
                <c:pt idx="126">
                  <c:v>-0.15102262317000001</c:v>
                </c:pt>
                <c:pt idx="127">
                  <c:v>-0.23854696616000001</c:v>
                </c:pt>
                <c:pt idx="128">
                  <c:v>-0.27006274274999997</c:v>
                </c:pt>
                <c:pt idx="129">
                  <c:v>-0.22631097974</c:v>
                </c:pt>
                <c:pt idx="130">
                  <c:v>-0.20191881939</c:v>
                </c:pt>
                <c:pt idx="131">
                  <c:v>-0.23438445217000001</c:v>
                </c:pt>
                <c:pt idx="132">
                  <c:v>-0.28723545254999999</c:v>
                </c:pt>
                <c:pt idx="133">
                  <c:v>-0.26850987443000002</c:v>
                </c:pt>
                <c:pt idx="134">
                  <c:v>-0.38548732001000002</c:v>
                </c:pt>
                <c:pt idx="135">
                  <c:v>-0.44884098735</c:v>
                </c:pt>
                <c:pt idx="136">
                  <c:v>-0.47955841914000003</c:v>
                </c:pt>
                <c:pt idx="137">
                  <c:v>-0.46867639153000001</c:v>
                </c:pt>
                <c:pt idx="138">
                  <c:v>-0.45193976442</c:v>
                </c:pt>
                <c:pt idx="139">
                  <c:v>-0.39890970250000002</c:v>
                </c:pt>
                <c:pt idx="140">
                  <c:v>-0.28814014899000001</c:v>
                </c:pt>
                <c:pt idx="141">
                  <c:v>-9.4788356310000002E-2</c:v>
                </c:pt>
                <c:pt idx="142">
                  <c:v>5.7139589329999997E-2</c:v>
                </c:pt>
                <c:pt idx="143">
                  <c:v>0.17141842661000001</c:v>
                </c:pt>
                <c:pt idx="144">
                  <c:v>0.24578873710999999</c:v>
                </c:pt>
                <c:pt idx="145">
                  <c:v>0.10821107211</c:v>
                </c:pt>
                <c:pt idx="146">
                  <c:v>4.6728893190000002E-2</c:v>
                </c:pt>
                <c:pt idx="147">
                  <c:v>-1.156965358E-2</c:v>
                </c:pt>
                <c:pt idx="148">
                  <c:v>7.3997140799999996E-3</c:v>
                </c:pt>
                <c:pt idx="149">
                  <c:v>-2.265604173E-2</c:v>
                </c:pt>
                <c:pt idx="150">
                  <c:v>3.4875778119999999E-2</c:v>
                </c:pt>
                <c:pt idx="151">
                  <c:v>7.0092255960000002E-2</c:v>
                </c:pt>
                <c:pt idx="152">
                  <c:v>-2.3583034860000001E-2</c:v>
                </c:pt>
                <c:pt idx="153">
                  <c:v>-9.8643172330000001E-2</c:v>
                </c:pt>
                <c:pt idx="154">
                  <c:v>-0.10006107378</c:v>
                </c:pt>
                <c:pt idx="155">
                  <c:v>-8.2690566160000006E-2</c:v>
                </c:pt>
                <c:pt idx="156">
                  <c:v>-0.10415400532999999</c:v>
                </c:pt>
                <c:pt idx="157">
                  <c:v>-2.438788343E-2</c:v>
                </c:pt>
                <c:pt idx="158">
                  <c:v>3.7279348400000001E-3</c:v>
                </c:pt>
                <c:pt idx="159">
                  <c:v>-9.4623216630000007E-2</c:v>
                </c:pt>
                <c:pt idx="160">
                  <c:v>-0.13423060529</c:v>
                </c:pt>
                <c:pt idx="161">
                  <c:v>-0.11518042896</c:v>
                </c:pt>
                <c:pt idx="162">
                  <c:v>-0.12854112051</c:v>
                </c:pt>
                <c:pt idx="163">
                  <c:v>-0.13863953793</c:v>
                </c:pt>
                <c:pt idx="164">
                  <c:v>-7.796620336E-2</c:v>
                </c:pt>
                <c:pt idx="165">
                  <c:v>-4.9650288389999998E-2</c:v>
                </c:pt>
                <c:pt idx="166">
                  <c:v>-0.14841796706999999</c:v>
                </c:pt>
                <c:pt idx="167">
                  <c:v>-0.15285050653000001</c:v>
                </c:pt>
                <c:pt idx="168">
                  <c:v>-0.13694038953000001</c:v>
                </c:pt>
                <c:pt idx="169">
                  <c:v>-9.9854736599999994E-2</c:v>
                </c:pt>
                <c:pt idx="170">
                  <c:v>-6.134661072E-2</c:v>
                </c:pt>
                <c:pt idx="171">
                  <c:v>2.4218216460000001E-2</c:v>
                </c:pt>
                <c:pt idx="172">
                  <c:v>7.6898597099999993E-2</c:v>
                </c:pt>
                <c:pt idx="173">
                  <c:v>-3.5426075719999998E-2</c:v>
                </c:pt>
                <c:pt idx="174">
                  <c:v>-9.4012416949999997E-2</c:v>
                </c:pt>
                <c:pt idx="175">
                  <c:v>-8.5449309959999997E-2</c:v>
                </c:pt>
                <c:pt idx="176">
                  <c:v>-0.11026301400999999</c:v>
                </c:pt>
                <c:pt idx="177">
                  <c:v>-0.12185988903</c:v>
                </c:pt>
                <c:pt idx="178">
                  <c:v>-6.4620168130000002E-2</c:v>
                </c:pt>
                <c:pt idx="179">
                  <c:v>-5.373518746E-2</c:v>
                </c:pt>
                <c:pt idx="180">
                  <c:v>-0.15639377745999999</c:v>
                </c:pt>
                <c:pt idx="181">
                  <c:v>-0.2286326464</c:v>
                </c:pt>
                <c:pt idx="182">
                  <c:v>-0.22539080075000001</c:v>
                </c:pt>
                <c:pt idx="183">
                  <c:v>-0.24807691972000001</c:v>
                </c:pt>
                <c:pt idx="184">
                  <c:v>-0.26384771995</c:v>
                </c:pt>
                <c:pt idx="185">
                  <c:v>-0.24118684795000001</c:v>
                </c:pt>
                <c:pt idx="186">
                  <c:v>-0.18937851588999999</c:v>
                </c:pt>
                <c:pt idx="187">
                  <c:v>-0.23899934589999999</c:v>
                </c:pt>
                <c:pt idx="188">
                  <c:v>-0.27773187426000001</c:v>
                </c:pt>
                <c:pt idx="189">
                  <c:v>-0.25873600353999998</c:v>
                </c:pt>
                <c:pt idx="190">
                  <c:v>-0.22325908564999999</c:v>
                </c:pt>
                <c:pt idx="191">
                  <c:v>-0.24608022243</c:v>
                </c:pt>
                <c:pt idx="192">
                  <c:v>-0.17102591011000001</c:v>
                </c:pt>
                <c:pt idx="193">
                  <c:v>-0.13174570788000001</c:v>
                </c:pt>
                <c:pt idx="194">
                  <c:v>-0.17045008043000001</c:v>
                </c:pt>
                <c:pt idx="195">
                  <c:v>-0.17581440056</c:v>
                </c:pt>
                <c:pt idx="196">
                  <c:v>-0.1347801733</c:v>
                </c:pt>
                <c:pt idx="197">
                  <c:v>-0.16330833968</c:v>
                </c:pt>
                <c:pt idx="198">
                  <c:v>-0.13769492632999999</c:v>
                </c:pt>
                <c:pt idx="199">
                  <c:v>-0.14205325851</c:v>
                </c:pt>
                <c:pt idx="200">
                  <c:v>-0.11899586136</c:v>
                </c:pt>
                <c:pt idx="201">
                  <c:v>-0.19722054585000001</c:v>
                </c:pt>
                <c:pt idx="202">
                  <c:v>-0.23624252088</c:v>
                </c:pt>
                <c:pt idx="203">
                  <c:v>-0.27200884075999998</c:v>
                </c:pt>
                <c:pt idx="204">
                  <c:v>-0.20575062315000001</c:v>
                </c:pt>
                <c:pt idx="205">
                  <c:v>-0.2333251925</c:v>
                </c:pt>
                <c:pt idx="206">
                  <c:v>-0.16120932942999999</c:v>
                </c:pt>
                <c:pt idx="207">
                  <c:v>-9.8176795090000005E-2</c:v>
                </c:pt>
                <c:pt idx="208">
                  <c:v>-0.14148529015</c:v>
                </c:pt>
                <c:pt idx="209">
                  <c:v>-0.14991822870999999</c:v>
                </c:pt>
                <c:pt idx="210">
                  <c:v>-9.2121759940000006E-2</c:v>
                </c:pt>
                <c:pt idx="211">
                  <c:v>-0.10122423513000001</c:v>
                </c:pt>
                <c:pt idx="212">
                  <c:v>-8.7277481810000002E-2</c:v>
                </c:pt>
                <c:pt idx="213">
                  <c:v>-8.623678605E-2</c:v>
                </c:pt>
                <c:pt idx="214">
                  <c:v>-7.5909544920000002E-2</c:v>
                </c:pt>
                <c:pt idx="215">
                  <c:v>-0.14648966218000001</c:v>
                </c:pt>
                <c:pt idx="216">
                  <c:v>-0.29241306835999997</c:v>
                </c:pt>
                <c:pt idx="217">
                  <c:v>-0.32380939010999998</c:v>
                </c:pt>
                <c:pt idx="218">
                  <c:v>-0.2519698273</c:v>
                </c:pt>
                <c:pt idx="219">
                  <c:v>-0.19911631869999999</c:v>
                </c:pt>
                <c:pt idx="220">
                  <c:v>-7.3393431250000002E-2</c:v>
                </c:pt>
                <c:pt idx="221">
                  <c:v>0.11807526728000001</c:v>
                </c:pt>
                <c:pt idx="222">
                  <c:v>0.14758776455</c:v>
                </c:pt>
                <c:pt idx="223">
                  <c:v>0.25973092978000001</c:v>
                </c:pt>
                <c:pt idx="224">
                  <c:v>0.28765229727000002</c:v>
                </c:pt>
                <c:pt idx="225">
                  <c:v>5.9499683079999997E-2</c:v>
                </c:pt>
                <c:pt idx="226">
                  <c:v>-2.9799070699999999E-2</c:v>
                </c:pt>
                <c:pt idx="227">
                  <c:v>-9.1157308400000008E-3</c:v>
                </c:pt>
                <c:pt idx="228">
                  <c:v>-0.21883748451999999</c:v>
                </c:pt>
                <c:pt idx="229">
                  <c:v>-0.33130170302</c:v>
                </c:pt>
                <c:pt idx="230">
                  <c:v>-0.34608632556000002</c:v>
                </c:pt>
                <c:pt idx="231">
                  <c:v>-0.32004067584000001</c:v>
                </c:pt>
                <c:pt idx="232">
                  <c:v>-0.17974394785</c:v>
                </c:pt>
                <c:pt idx="233">
                  <c:v>-0.11901866161000001</c:v>
                </c:pt>
                <c:pt idx="234">
                  <c:v>-5.7086513450000001E-2</c:v>
                </c:pt>
                <c:pt idx="235">
                  <c:v>0.10267664238</c:v>
                </c:pt>
                <c:pt idx="236">
                  <c:v>4.3567924860000003E-2</c:v>
                </c:pt>
                <c:pt idx="237">
                  <c:v>-7.6618665860000004E-2</c:v>
                </c:pt>
                <c:pt idx="238">
                  <c:v>-6.8114143560000007E-2</c:v>
                </c:pt>
                <c:pt idx="239">
                  <c:v>-8.3085626430000004E-2</c:v>
                </c:pt>
                <c:pt idx="240">
                  <c:v>-9.4060820229999995E-2</c:v>
                </c:pt>
                <c:pt idx="241">
                  <c:v>-3.7084170409999999E-2</c:v>
                </c:pt>
                <c:pt idx="242">
                  <c:v>9.6143293900000006E-3</c:v>
                </c:pt>
                <c:pt idx="243">
                  <c:v>-0.12353752975</c:v>
                </c:pt>
                <c:pt idx="244">
                  <c:v>-0.15085578306</c:v>
                </c:pt>
                <c:pt idx="245">
                  <c:v>-0.15201133307</c:v>
                </c:pt>
                <c:pt idx="246">
                  <c:v>-0.16299425040000001</c:v>
                </c:pt>
                <c:pt idx="247">
                  <c:v>-0.18863376506999999</c:v>
                </c:pt>
                <c:pt idx="248">
                  <c:v>-0.13777822472000001</c:v>
                </c:pt>
                <c:pt idx="249">
                  <c:v>-0.14263938547999999</c:v>
                </c:pt>
                <c:pt idx="250">
                  <c:v>-0.20213622166</c:v>
                </c:pt>
                <c:pt idx="251">
                  <c:v>-0.22944456541</c:v>
                </c:pt>
                <c:pt idx="252">
                  <c:v>-0.19771667659</c:v>
                </c:pt>
                <c:pt idx="253">
                  <c:v>-0.1872974627</c:v>
                </c:pt>
                <c:pt idx="254">
                  <c:v>-0.16042581288999999</c:v>
                </c:pt>
                <c:pt idx="255">
                  <c:v>-0.13441884154</c:v>
                </c:pt>
                <c:pt idx="256">
                  <c:v>-5.5594693870000003E-2</c:v>
                </c:pt>
                <c:pt idx="257">
                  <c:v>-0.13774181812</c:v>
                </c:pt>
                <c:pt idx="258">
                  <c:v>-0.13139201093</c:v>
                </c:pt>
                <c:pt idx="259">
                  <c:v>-0.11485437353</c:v>
                </c:pt>
                <c:pt idx="260">
                  <c:v>-0.10231518365</c:v>
                </c:pt>
                <c:pt idx="261">
                  <c:v>-0.1548998365</c:v>
                </c:pt>
                <c:pt idx="262">
                  <c:v>-0.10904410997</c:v>
                </c:pt>
                <c:pt idx="263">
                  <c:v>-0.1105105059</c:v>
                </c:pt>
                <c:pt idx="264">
                  <c:v>-0.1996128324</c:v>
                </c:pt>
                <c:pt idx="265">
                  <c:v>-0.23359244233000001</c:v>
                </c:pt>
                <c:pt idx="266">
                  <c:v>-0.20300692473000001</c:v>
                </c:pt>
                <c:pt idx="267">
                  <c:v>-0.19003089813999999</c:v>
                </c:pt>
                <c:pt idx="268">
                  <c:v>-0.13143365087</c:v>
                </c:pt>
                <c:pt idx="269">
                  <c:v>-8.4898385189999995E-2</c:v>
                </c:pt>
                <c:pt idx="270">
                  <c:v>-1.3500758829999999E-2</c:v>
                </c:pt>
                <c:pt idx="271">
                  <c:v>-6.2340141799999998E-2</c:v>
                </c:pt>
                <c:pt idx="272">
                  <c:v>-4.8598209759999997E-2</c:v>
                </c:pt>
                <c:pt idx="273">
                  <c:v>-2.1145635440000001E-2</c:v>
                </c:pt>
                <c:pt idx="274">
                  <c:v>-3.4635293810000002E-2</c:v>
                </c:pt>
                <c:pt idx="275">
                  <c:v>-2.6558868350000001E-2</c:v>
                </c:pt>
                <c:pt idx="276">
                  <c:v>5.629858754E-2</c:v>
                </c:pt>
                <c:pt idx="277">
                  <c:v>5.7269138109999999E-2</c:v>
                </c:pt>
                <c:pt idx="278">
                  <c:v>-9.8338827419999997E-2</c:v>
                </c:pt>
                <c:pt idx="279">
                  <c:v>-0.12536290411000001</c:v>
                </c:pt>
                <c:pt idx="280">
                  <c:v>-9.8769527460000006E-2</c:v>
                </c:pt>
                <c:pt idx="281">
                  <c:v>-0.12155966744</c:v>
                </c:pt>
                <c:pt idx="282">
                  <c:v>-0.18518319676</c:v>
                </c:pt>
                <c:pt idx="283">
                  <c:v>-0.1852328291</c:v>
                </c:pt>
                <c:pt idx="284">
                  <c:v>-0.15264433452000001</c:v>
                </c:pt>
                <c:pt idx="285">
                  <c:v>-0.25372714770999999</c:v>
                </c:pt>
                <c:pt idx="286">
                  <c:v>-0.29446539899000002</c:v>
                </c:pt>
                <c:pt idx="287">
                  <c:v>-0.25790328248</c:v>
                </c:pt>
                <c:pt idx="288">
                  <c:v>-0.26238389181999999</c:v>
                </c:pt>
                <c:pt idx="289">
                  <c:v>-0.17185315143999999</c:v>
                </c:pt>
                <c:pt idx="290">
                  <c:v>-4.6073687000000002E-2</c:v>
                </c:pt>
                <c:pt idx="291">
                  <c:v>-1.9855958299999999E-3</c:v>
                </c:pt>
                <c:pt idx="292">
                  <c:v>6.4960914329999994E-2</c:v>
                </c:pt>
                <c:pt idx="293">
                  <c:v>0.13774192471999999</c:v>
                </c:pt>
                <c:pt idx="294">
                  <c:v>9.8230042190000005E-2</c:v>
                </c:pt>
                <c:pt idx="295">
                  <c:v>9.3645244700000005E-2</c:v>
                </c:pt>
                <c:pt idx="296">
                  <c:v>5.43230156E-3</c:v>
                </c:pt>
                <c:pt idx="297">
                  <c:v>3.6501634460000001E-2</c:v>
                </c:pt>
                <c:pt idx="298">
                  <c:v>2.9882613509999999E-2</c:v>
                </c:pt>
                <c:pt idx="299">
                  <c:v>-7.2537405469999996E-2</c:v>
                </c:pt>
                <c:pt idx="300">
                  <c:v>-5.5966379150000002E-2</c:v>
                </c:pt>
                <c:pt idx="301">
                  <c:v>0.18421004549</c:v>
                </c:pt>
                <c:pt idx="302">
                  <c:v>0.25741562644999999</c:v>
                </c:pt>
                <c:pt idx="303">
                  <c:v>0.39325868984000001</c:v>
                </c:pt>
                <c:pt idx="304">
                  <c:v>0.63011955492000005</c:v>
                </c:pt>
                <c:pt idx="305">
                  <c:v>0.57048784433999999</c:v>
                </c:pt>
                <c:pt idx="306">
                  <c:v>0.21961987958000001</c:v>
                </c:pt>
                <c:pt idx="307">
                  <c:v>7.0933660930000003E-2</c:v>
                </c:pt>
                <c:pt idx="308">
                  <c:v>-0.16977070727999999</c:v>
                </c:pt>
                <c:pt idx="309">
                  <c:v>-0.15441410391999999</c:v>
                </c:pt>
                <c:pt idx="310">
                  <c:v>-0.19266211836</c:v>
                </c:pt>
                <c:pt idx="311">
                  <c:v>-0.14806471431000001</c:v>
                </c:pt>
                <c:pt idx="312">
                  <c:v>-9.3952848670000005E-2</c:v>
                </c:pt>
                <c:pt idx="313">
                  <c:v>-5.7776565700000003E-3</c:v>
                </c:pt>
                <c:pt idx="314">
                  <c:v>4.6108428800000004E-3</c:v>
                </c:pt>
                <c:pt idx="315">
                  <c:v>4.4197077020000003E-2</c:v>
                </c:pt>
                <c:pt idx="316">
                  <c:v>-0.11472982975</c:v>
                </c:pt>
                <c:pt idx="317">
                  <c:v>-0.1779935275</c:v>
                </c:pt>
                <c:pt idx="318">
                  <c:v>-0.18550495267</c:v>
                </c:pt>
                <c:pt idx="319">
                  <c:v>-0.26685103539999999</c:v>
                </c:pt>
                <c:pt idx="320">
                  <c:v>-0.45462559485999998</c:v>
                </c:pt>
                <c:pt idx="321">
                  <c:v>-0.43926747964000001</c:v>
                </c:pt>
                <c:pt idx="322">
                  <c:v>-0.43391361027000003</c:v>
                </c:pt>
                <c:pt idx="323">
                  <c:v>-0.35150076419999998</c:v>
                </c:pt>
                <c:pt idx="324">
                  <c:v>-0.34406740268000002</c:v>
                </c:pt>
                <c:pt idx="325">
                  <c:v>-0.29516715062999999</c:v>
                </c:pt>
                <c:pt idx="326">
                  <c:v>-0.24577634754</c:v>
                </c:pt>
                <c:pt idx="327">
                  <c:v>-0.17880332645999999</c:v>
                </c:pt>
                <c:pt idx="328">
                  <c:v>-0.21441308379999999</c:v>
                </c:pt>
                <c:pt idx="329">
                  <c:v>-0.21633720862</c:v>
                </c:pt>
                <c:pt idx="330">
                  <c:v>-0.20523100420000001</c:v>
                </c:pt>
                <c:pt idx="331">
                  <c:v>-0.13641566014000001</c:v>
                </c:pt>
                <c:pt idx="332">
                  <c:v>-0.10791954122</c:v>
                </c:pt>
                <c:pt idx="333">
                  <c:v>-4.2443227719999997E-2</c:v>
                </c:pt>
                <c:pt idx="334">
                  <c:v>-7.9224283670000006E-2</c:v>
                </c:pt>
                <c:pt idx="335">
                  <c:v>-0.12718048309999999</c:v>
                </c:pt>
                <c:pt idx="336">
                  <c:v>-8.2626518750000003E-2</c:v>
                </c:pt>
                <c:pt idx="337">
                  <c:v>-5.862093266E-2</c:v>
                </c:pt>
                <c:pt idx="338">
                  <c:v>-8.4433471709999999E-2</c:v>
                </c:pt>
                <c:pt idx="339">
                  <c:v>-2.319100503E-2</c:v>
                </c:pt>
                <c:pt idx="340">
                  <c:v>7.4830457889999993E-2</c:v>
                </c:pt>
                <c:pt idx="341">
                  <c:v>2.1644689629999998E-2</c:v>
                </c:pt>
                <c:pt idx="342">
                  <c:v>-2.0456980319999998E-2</c:v>
                </c:pt>
                <c:pt idx="343">
                  <c:v>6.4307978299999999E-2</c:v>
                </c:pt>
                <c:pt idx="344">
                  <c:v>2.4873999010000002E-2</c:v>
                </c:pt>
                <c:pt idx="345">
                  <c:v>2.4190214000000002E-2</c:v>
                </c:pt>
                <c:pt idx="346">
                  <c:v>1.6788198569999999E-2</c:v>
                </c:pt>
                <c:pt idx="347">
                  <c:v>-4.3981597990000003E-2</c:v>
                </c:pt>
                <c:pt idx="348">
                  <c:v>-0.15595102394999999</c:v>
                </c:pt>
                <c:pt idx="349">
                  <c:v>-0.19472873714</c:v>
                </c:pt>
                <c:pt idx="350">
                  <c:v>-0.20529499967000001</c:v>
                </c:pt>
                <c:pt idx="351">
                  <c:v>-0.20043938082000001</c:v>
                </c:pt>
                <c:pt idx="352">
                  <c:v>-0.21062483202000001</c:v>
                </c:pt>
                <c:pt idx="353">
                  <c:v>-0.18407857884000001</c:v>
                </c:pt>
                <c:pt idx="354">
                  <c:v>-0.15262784565000001</c:v>
                </c:pt>
                <c:pt idx="355">
                  <c:v>-0.20639194886000001</c:v>
                </c:pt>
                <c:pt idx="356">
                  <c:v>-0.25551298702000003</c:v>
                </c:pt>
                <c:pt idx="357">
                  <c:v>-0.23045361847000001</c:v>
                </c:pt>
                <c:pt idx="358">
                  <c:v>-0.11450499061</c:v>
                </c:pt>
                <c:pt idx="359">
                  <c:v>-7.4818798219999996E-2</c:v>
                </c:pt>
                <c:pt idx="360">
                  <c:v>-5.3388530720000001E-2</c:v>
                </c:pt>
                <c:pt idx="361">
                  <c:v>7.8084070000000001E-4</c:v>
                </c:pt>
                <c:pt idx="362">
                  <c:v>-4.639465852E-2</c:v>
                </c:pt>
                <c:pt idx="363">
                  <c:v>-8.7603211459999997E-2</c:v>
                </c:pt>
                <c:pt idx="364">
                  <c:v>-8.1335034010000001E-2</c:v>
                </c:pt>
                <c:pt idx="365">
                  <c:v>-0.12037449451</c:v>
                </c:pt>
                <c:pt idx="366">
                  <c:v>-7.6953584850000006E-2</c:v>
                </c:pt>
                <c:pt idx="367">
                  <c:v>7.1613519220000005E-2</c:v>
                </c:pt>
                <c:pt idx="368">
                  <c:v>0.13766177661000001</c:v>
                </c:pt>
                <c:pt idx="369">
                  <c:v>9.3083075599999995E-3</c:v>
                </c:pt>
                <c:pt idx="370">
                  <c:v>6.9514726109999994E-2</c:v>
                </c:pt>
                <c:pt idx="371">
                  <c:v>0.19301097114999999</c:v>
                </c:pt>
                <c:pt idx="372">
                  <c:v>0.13178720345</c:v>
                </c:pt>
                <c:pt idx="373">
                  <c:v>7.375238948E-2</c:v>
                </c:pt>
                <c:pt idx="374">
                  <c:v>5.9519228620000003E-2</c:v>
                </c:pt>
                <c:pt idx="375">
                  <c:v>7.7028302899999996E-3</c:v>
                </c:pt>
                <c:pt idx="376">
                  <c:v>-0.23191362026000001</c:v>
                </c:pt>
                <c:pt idx="377">
                  <c:v>-0.34131700749999999</c:v>
                </c:pt>
                <c:pt idx="378">
                  <c:v>-0.36054544321999998</c:v>
                </c:pt>
                <c:pt idx="379">
                  <c:v>-0.34789611786000002</c:v>
                </c:pt>
                <c:pt idx="380">
                  <c:v>-0.32999031698999998</c:v>
                </c:pt>
                <c:pt idx="381">
                  <c:v>-0.29002521904</c:v>
                </c:pt>
                <c:pt idx="382">
                  <c:v>-0.22573818242999999</c:v>
                </c:pt>
                <c:pt idx="383">
                  <c:v>-0.18841403519</c:v>
                </c:pt>
                <c:pt idx="384">
                  <c:v>-0.23142420733999999</c:v>
                </c:pt>
                <c:pt idx="385">
                  <c:v>-0.20790710071999999</c:v>
                </c:pt>
                <c:pt idx="386">
                  <c:v>-0.2094395406</c:v>
                </c:pt>
                <c:pt idx="387">
                  <c:v>-0.23566216015999999</c:v>
                </c:pt>
                <c:pt idx="388">
                  <c:v>-0.19444097118000001</c:v>
                </c:pt>
                <c:pt idx="389">
                  <c:v>-0.11039289073</c:v>
                </c:pt>
                <c:pt idx="390">
                  <c:v>-0.19856207472000001</c:v>
                </c:pt>
                <c:pt idx="391">
                  <c:v>-0.13059783146000001</c:v>
                </c:pt>
                <c:pt idx="392">
                  <c:v>-8.7962950710000001E-2</c:v>
                </c:pt>
                <c:pt idx="393">
                  <c:v>-4.582377252E-2</c:v>
                </c:pt>
                <c:pt idx="394">
                  <c:v>5.8167744120000003E-2</c:v>
                </c:pt>
                <c:pt idx="395">
                  <c:v>0.14158003927999999</c:v>
                </c:pt>
                <c:pt idx="396">
                  <c:v>0.12118522103</c:v>
                </c:pt>
                <c:pt idx="397">
                  <c:v>4.7373788159999999E-2</c:v>
                </c:pt>
                <c:pt idx="398">
                  <c:v>1.8667537000000001E-2</c:v>
                </c:pt>
                <c:pt idx="399">
                  <c:v>-2.3652517479999999E-2</c:v>
                </c:pt>
                <c:pt idx="400">
                  <c:v>-9.7386775950000004E-2</c:v>
                </c:pt>
                <c:pt idx="401">
                  <c:v>-0.14568592944</c:v>
                </c:pt>
                <c:pt idx="402">
                  <c:v>-0.1156814422</c:v>
                </c:pt>
                <c:pt idx="403">
                  <c:v>-5.4894510989999999E-2</c:v>
                </c:pt>
                <c:pt idx="404">
                  <c:v>-0.28464751326999999</c:v>
                </c:pt>
                <c:pt idx="405">
                  <c:v>-0.28126619250000001</c:v>
                </c:pt>
                <c:pt idx="406">
                  <c:v>-0.23373177928</c:v>
                </c:pt>
                <c:pt idx="407">
                  <c:v>-0.18488949855</c:v>
                </c:pt>
                <c:pt idx="408">
                  <c:v>-0.12738091941999999</c:v>
                </c:pt>
                <c:pt idx="409">
                  <c:v>-8.7760204200000008E-3</c:v>
                </c:pt>
                <c:pt idx="410">
                  <c:v>2.8278349719999998E-2</c:v>
                </c:pt>
                <c:pt idx="411">
                  <c:v>3.7857957E-3</c:v>
                </c:pt>
                <c:pt idx="412">
                  <c:v>2.5951101930000001E-2</c:v>
                </c:pt>
                <c:pt idx="413">
                  <c:v>7.3551841610000002E-2</c:v>
                </c:pt>
                <c:pt idx="414">
                  <c:v>9.1389782050000007E-2</c:v>
                </c:pt>
                <c:pt idx="415">
                  <c:v>0.10965501925</c:v>
                </c:pt>
                <c:pt idx="416">
                  <c:v>0.20156658453000001</c:v>
                </c:pt>
                <c:pt idx="417">
                  <c:v>0.24399196266000001</c:v>
                </c:pt>
                <c:pt idx="418">
                  <c:v>-2.4926095070000001E-2</c:v>
                </c:pt>
                <c:pt idx="419">
                  <c:v>-0.14939577027000001</c:v>
                </c:pt>
                <c:pt idx="420">
                  <c:v>-0.19974389078999999</c:v>
                </c:pt>
                <c:pt idx="421">
                  <c:v>-0.26172505047</c:v>
                </c:pt>
                <c:pt idx="422">
                  <c:v>-0.35924864107999999</c:v>
                </c:pt>
                <c:pt idx="423">
                  <c:v>-0.35725146468000002</c:v>
                </c:pt>
                <c:pt idx="424">
                  <c:v>-0.30430121785000003</c:v>
                </c:pt>
                <c:pt idx="425">
                  <c:v>-0.36461085441000002</c:v>
                </c:pt>
                <c:pt idx="426">
                  <c:v>-0.36731636558000003</c:v>
                </c:pt>
                <c:pt idx="427">
                  <c:v>-0.28651669630999999</c:v>
                </c:pt>
                <c:pt idx="428">
                  <c:v>-0.17925385174</c:v>
                </c:pt>
                <c:pt idx="429">
                  <c:v>-0.14906106794000001</c:v>
                </c:pt>
                <c:pt idx="430">
                  <c:v>-8.9731459400000005E-2</c:v>
                </c:pt>
                <c:pt idx="431">
                  <c:v>-9.198891327E-2</c:v>
                </c:pt>
                <c:pt idx="432">
                  <c:v>-0.18927860735999999</c:v>
                </c:pt>
                <c:pt idx="433">
                  <c:v>-0.25581309563999999</c:v>
                </c:pt>
                <c:pt idx="434">
                  <c:v>-0.29051000704000002</c:v>
                </c:pt>
                <c:pt idx="435">
                  <c:v>-0.29265568531000002</c:v>
                </c:pt>
                <c:pt idx="436">
                  <c:v>-0.29195189007</c:v>
                </c:pt>
                <c:pt idx="437">
                  <c:v>-0.21957950022</c:v>
                </c:pt>
                <c:pt idx="438">
                  <c:v>-9.8066158819999999E-2</c:v>
                </c:pt>
                <c:pt idx="439">
                  <c:v>-0.15232712929</c:v>
                </c:pt>
                <c:pt idx="440">
                  <c:v>-0.20033884370999999</c:v>
                </c:pt>
                <c:pt idx="441">
                  <c:v>-0.11384953705</c:v>
                </c:pt>
                <c:pt idx="442">
                  <c:v>-0.12296292029</c:v>
                </c:pt>
                <c:pt idx="443">
                  <c:v>-0.18614860574</c:v>
                </c:pt>
                <c:pt idx="444">
                  <c:v>-0.13492219791000001</c:v>
                </c:pt>
                <c:pt idx="445">
                  <c:v>-8.750115571E-2</c:v>
                </c:pt>
                <c:pt idx="446">
                  <c:v>-0.1677863658</c:v>
                </c:pt>
                <c:pt idx="447">
                  <c:v>-0.21106383065000001</c:v>
                </c:pt>
                <c:pt idx="448">
                  <c:v>-0.18727371728</c:v>
                </c:pt>
                <c:pt idx="449">
                  <c:v>-0.17464122552</c:v>
                </c:pt>
                <c:pt idx="450">
                  <c:v>-0.17844084775999999</c:v>
                </c:pt>
                <c:pt idx="451">
                  <c:v>-0.18657156037</c:v>
                </c:pt>
                <c:pt idx="452">
                  <c:v>-0.19042258665</c:v>
                </c:pt>
                <c:pt idx="453">
                  <c:v>-0.19159177360999999</c:v>
                </c:pt>
                <c:pt idx="454">
                  <c:v>-0.27827551812000001</c:v>
                </c:pt>
                <c:pt idx="455">
                  <c:v>-0.33225461428000003</c:v>
                </c:pt>
                <c:pt idx="456">
                  <c:v>-0.30766253879</c:v>
                </c:pt>
                <c:pt idx="457">
                  <c:v>-0.3440423078</c:v>
                </c:pt>
                <c:pt idx="458">
                  <c:v>-0.30014494749999998</c:v>
                </c:pt>
                <c:pt idx="459">
                  <c:v>-0.28109181132</c:v>
                </c:pt>
                <c:pt idx="460">
                  <c:v>-0.30346231630999998</c:v>
                </c:pt>
                <c:pt idx="461">
                  <c:v>-0.34323046283999997</c:v>
                </c:pt>
                <c:pt idx="462">
                  <c:v>-0.19911804128999999</c:v>
                </c:pt>
                <c:pt idx="463">
                  <c:v>-0.23609853659999999</c:v>
                </c:pt>
                <c:pt idx="464">
                  <c:v>-0.21522694865</c:v>
                </c:pt>
                <c:pt idx="465">
                  <c:v>-0.17533564837999999</c:v>
                </c:pt>
                <c:pt idx="466">
                  <c:v>-0.11509344011</c:v>
                </c:pt>
                <c:pt idx="467">
                  <c:v>-0.18388447445</c:v>
                </c:pt>
                <c:pt idx="468">
                  <c:v>-0.17216969347</c:v>
                </c:pt>
                <c:pt idx="469">
                  <c:v>-0.18781378552</c:v>
                </c:pt>
                <c:pt idx="470">
                  <c:v>-0.1614290541</c:v>
                </c:pt>
                <c:pt idx="471">
                  <c:v>-0.16198504566999999</c:v>
                </c:pt>
                <c:pt idx="472">
                  <c:v>-0.13586550980000001</c:v>
                </c:pt>
                <c:pt idx="473">
                  <c:v>-9.4281017920000001E-2</c:v>
                </c:pt>
                <c:pt idx="474">
                  <c:v>-0.13901285278</c:v>
                </c:pt>
                <c:pt idx="475">
                  <c:v>-0.18156171824</c:v>
                </c:pt>
                <c:pt idx="476">
                  <c:v>-0.16478719449000001</c:v>
                </c:pt>
                <c:pt idx="477">
                  <c:v>-0.16675371079000001</c:v>
                </c:pt>
                <c:pt idx="478">
                  <c:v>-0.12730069798999999</c:v>
                </c:pt>
                <c:pt idx="479">
                  <c:v>-0.19090284840999999</c:v>
                </c:pt>
                <c:pt idx="480">
                  <c:v>-0.21473118593000001</c:v>
                </c:pt>
                <c:pt idx="481">
                  <c:v>-0.25805961333999999</c:v>
                </c:pt>
                <c:pt idx="482">
                  <c:v>-0.28092078260999997</c:v>
                </c:pt>
                <c:pt idx="483">
                  <c:v>-0.26038380616000001</c:v>
                </c:pt>
                <c:pt idx="484">
                  <c:v>-0.17348915470000001</c:v>
                </c:pt>
                <c:pt idx="485">
                  <c:v>-4.7181862669999998E-2</c:v>
                </c:pt>
                <c:pt idx="486">
                  <c:v>0.25130586565000002</c:v>
                </c:pt>
                <c:pt idx="487">
                  <c:v>0.35533090061</c:v>
                </c:pt>
                <c:pt idx="488">
                  <c:v>0.25861668667999999</c:v>
                </c:pt>
                <c:pt idx="489">
                  <c:v>0.30120947884999999</c:v>
                </c:pt>
                <c:pt idx="490">
                  <c:v>0.53181375965</c:v>
                </c:pt>
                <c:pt idx="491">
                  <c:v>0.32557465767999999</c:v>
                </c:pt>
                <c:pt idx="492">
                  <c:v>0.28955062533999998</c:v>
                </c:pt>
                <c:pt idx="493">
                  <c:v>0.32294692509</c:v>
                </c:pt>
                <c:pt idx="494">
                  <c:v>0.23470714111999999</c:v>
                </c:pt>
                <c:pt idx="495">
                  <c:v>-4.9208725109999997E-2</c:v>
                </c:pt>
                <c:pt idx="496">
                  <c:v>-0.21233446131</c:v>
                </c:pt>
                <c:pt idx="497">
                  <c:v>-0.20110277171999999</c:v>
                </c:pt>
                <c:pt idx="498">
                  <c:v>-0.10025992715</c:v>
                </c:pt>
                <c:pt idx="499">
                  <c:v>-9.0610454349999994E-2</c:v>
                </c:pt>
                <c:pt idx="500">
                  <c:v>1.6721894979999999E-2</c:v>
                </c:pt>
                <c:pt idx="501">
                  <c:v>0.18982910441</c:v>
                </c:pt>
                <c:pt idx="502">
                  <c:v>0.11936830739</c:v>
                </c:pt>
                <c:pt idx="503">
                  <c:v>0.18568257508</c:v>
                </c:pt>
                <c:pt idx="504">
                  <c:v>0.28168933009000002</c:v>
                </c:pt>
                <c:pt idx="505">
                  <c:v>0.27177402228000003</c:v>
                </c:pt>
                <c:pt idx="506">
                  <c:v>0.28005942953000001</c:v>
                </c:pt>
                <c:pt idx="507">
                  <c:v>0.29840617106</c:v>
                </c:pt>
                <c:pt idx="508">
                  <c:v>7.2397787490000004E-2</c:v>
                </c:pt>
                <c:pt idx="509">
                  <c:v>-0.20387712775</c:v>
                </c:pt>
                <c:pt idx="510">
                  <c:v>-0.34452161515000002</c:v>
                </c:pt>
                <c:pt idx="511">
                  <c:v>-0.39404300971</c:v>
                </c:pt>
                <c:pt idx="512">
                  <c:v>-0.36550728087000001</c:v>
                </c:pt>
                <c:pt idx="513">
                  <c:v>-0.39132105219000002</c:v>
                </c:pt>
                <c:pt idx="514">
                  <c:v>-0.33639416051999999</c:v>
                </c:pt>
                <c:pt idx="515">
                  <c:v>-0.2807271449</c:v>
                </c:pt>
                <c:pt idx="516">
                  <c:v>-0.26290392080000002</c:v>
                </c:pt>
                <c:pt idx="517">
                  <c:v>-0.34214282553000003</c:v>
                </c:pt>
                <c:pt idx="518">
                  <c:v>-0.31740802752000002</c:v>
                </c:pt>
                <c:pt idx="519">
                  <c:v>-0.36615337420999999</c:v>
                </c:pt>
                <c:pt idx="520">
                  <c:v>-0.37102647025000002</c:v>
                </c:pt>
                <c:pt idx="521">
                  <c:v>-0.40296512597</c:v>
                </c:pt>
                <c:pt idx="522">
                  <c:v>-0.36174044769000002</c:v>
                </c:pt>
                <c:pt idx="523">
                  <c:v>-0.43918524798000003</c:v>
                </c:pt>
                <c:pt idx="524">
                  <c:v>-0.38069747991000003</c:v>
                </c:pt>
                <c:pt idx="525">
                  <c:v>-0.42546149726999999</c:v>
                </c:pt>
                <c:pt idx="526">
                  <c:v>-0.33128277134</c:v>
                </c:pt>
                <c:pt idx="527">
                  <c:v>-0.38433324616999998</c:v>
                </c:pt>
                <c:pt idx="528">
                  <c:v>-0.28047552294</c:v>
                </c:pt>
                <c:pt idx="529">
                  <c:v>-0.31269269257999999</c:v>
                </c:pt>
                <c:pt idx="530">
                  <c:v>-0.22251314164</c:v>
                </c:pt>
                <c:pt idx="531">
                  <c:v>-0.27526490841000001</c:v>
                </c:pt>
                <c:pt idx="532">
                  <c:v>-0.16898775135999999</c:v>
                </c:pt>
                <c:pt idx="533">
                  <c:v>-0.19972254363</c:v>
                </c:pt>
                <c:pt idx="534">
                  <c:v>-9.9715725069999997E-2</c:v>
                </c:pt>
                <c:pt idx="535">
                  <c:v>-0.12759178542999999</c:v>
                </c:pt>
                <c:pt idx="536">
                  <c:v>6.5926659999999997E-5</c:v>
                </c:pt>
                <c:pt idx="537">
                  <c:v>-0.10418786431</c:v>
                </c:pt>
                <c:pt idx="538">
                  <c:v>-0.13134395840999999</c:v>
                </c:pt>
                <c:pt idx="539">
                  <c:v>-0.17267452430999999</c:v>
                </c:pt>
                <c:pt idx="540">
                  <c:v>-0.12514238658999999</c:v>
                </c:pt>
                <c:pt idx="541">
                  <c:v>-0.17576036135000001</c:v>
                </c:pt>
                <c:pt idx="542">
                  <c:v>-0.12392812442999999</c:v>
                </c:pt>
                <c:pt idx="543">
                  <c:v>-0.18684496625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ovych_hosp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1.5205812359819999</c:v>
                </c:pt>
                <c:pt idx="1">
                  <c:v>1.5543719301150001</c:v>
                </c:pt>
                <c:pt idx="2">
                  <c:v>1.7007982713580001</c:v>
                </c:pt>
                <c:pt idx="3">
                  <c:v>1.8246974831780001</c:v>
                </c:pt>
                <c:pt idx="4">
                  <c:v>2.027441647976</c:v>
                </c:pt>
                <c:pt idx="5">
                  <c:v>2.0837594715310002</c:v>
                </c:pt>
                <c:pt idx="6">
                  <c:v>2.342821459884</c:v>
                </c:pt>
                <c:pt idx="7">
                  <c:v>2.4216664128610002</c:v>
                </c:pt>
                <c:pt idx="8">
                  <c:v>2.7483097894789998</c:v>
                </c:pt>
                <c:pt idx="9">
                  <c:v>2.7257826600569999</c:v>
                </c:pt>
                <c:pt idx="10">
                  <c:v>3.0073717778320002</c:v>
                </c:pt>
                <c:pt idx="11">
                  <c:v>2.9848446484100002</c:v>
                </c:pt>
                <c:pt idx="12">
                  <c:v>3.2551702014730002</c:v>
                </c:pt>
                <c:pt idx="13">
                  <c:v>3.3227515897390001</c:v>
                </c:pt>
                <c:pt idx="14">
                  <c:v>3.8971933899989999</c:v>
                </c:pt>
                <c:pt idx="15">
                  <c:v>4.2125732019070004</c:v>
                </c:pt>
                <c:pt idx="16">
                  <c:v>5.3501932377159998</c:v>
                </c:pt>
                <c:pt idx="17">
                  <c:v>5.6430459202009997</c:v>
                </c:pt>
                <c:pt idx="18">
                  <c:v>6.1048520733510001</c:v>
                </c:pt>
                <c:pt idx="19">
                  <c:v>6.2512784145940001</c:v>
                </c:pt>
                <c:pt idx="20">
                  <c:v>6.8595109089869997</c:v>
                </c:pt>
                <c:pt idx="21">
                  <c:v>7.1974178503169997</c:v>
                </c:pt>
                <c:pt idx="22">
                  <c:v>7.8957588623969999</c:v>
                </c:pt>
                <c:pt idx="23">
                  <c:v>7.997130944796</c:v>
                </c:pt>
                <c:pt idx="24">
                  <c:v>8.5603091803449995</c:v>
                </c:pt>
                <c:pt idx="25">
                  <c:v>8.9770610746519992</c:v>
                </c:pt>
                <c:pt idx="26">
                  <c:v>9.6416113925999998</c:v>
                </c:pt>
                <c:pt idx="27">
                  <c:v>9.5852935690449996</c:v>
                </c:pt>
                <c:pt idx="28">
                  <c:v>10.621541522455001</c:v>
                </c:pt>
                <c:pt idx="29">
                  <c:v>11.308618969825</c:v>
                </c:pt>
                <c:pt idx="30">
                  <c:v>11.928115028929</c:v>
                </c:pt>
                <c:pt idx="31">
                  <c:v>12.716564558698</c:v>
                </c:pt>
                <c:pt idx="32">
                  <c:v>13.178370711848</c:v>
                </c:pt>
                <c:pt idx="33">
                  <c:v>13.741548947397</c:v>
                </c:pt>
                <c:pt idx="34">
                  <c:v>15.96047119546</c:v>
                </c:pt>
                <c:pt idx="35">
                  <c:v>17.120618360691001</c:v>
                </c:pt>
                <c:pt idx="36">
                  <c:v>18.629936031962998</c:v>
                </c:pt>
                <c:pt idx="37">
                  <c:v>20.432106385720001</c:v>
                </c:pt>
                <c:pt idx="38">
                  <c:v>22.301858127742999</c:v>
                </c:pt>
                <c:pt idx="39">
                  <c:v>23.743594410747999</c:v>
                </c:pt>
                <c:pt idx="40">
                  <c:v>24.700997411182001</c:v>
                </c:pt>
                <c:pt idx="41">
                  <c:v>27.122663824042998</c:v>
                </c:pt>
                <c:pt idx="42">
                  <c:v>28.857252789534002</c:v>
                </c:pt>
                <c:pt idx="43">
                  <c:v>31.143756425863</c:v>
                </c:pt>
                <c:pt idx="44">
                  <c:v>32.788236873666001</c:v>
                </c:pt>
                <c:pt idx="45">
                  <c:v>35.209903286527002</c:v>
                </c:pt>
                <c:pt idx="46">
                  <c:v>37.744205346497999</c:v>
                </c:pt>
                <c:pt idx="47">
                  <c:v>40.379879488867999</c:v>
                </c:pt>
                <c:pt idx="48">
                  <c:v>42.576274607508999</c:v>
                </c:pt>
                <c:pt idx="49">
                  <c:v>46.067979667914003</c:v>
                </c:pt>
                <c:pt idx="50">
                  <c:v>50.472033469906997</c:v>
                </c:pt>
                <c:pt idx="51">
                  <c:v>54.256591212796998</c:v>
                </c:pt>
                <c:pt idx="52">
                  <c:v>57.996094696843002</c:v>
                </c:pt>
                <c:pt idx="53">
                  <c:v>60.316389027305</c:v>
                </c:pt>
                <c:pt idx="54">
                  <c:v>63.064698816784997</c:v>
                </c:pt>
                <c:pt idx="55">
                  <c:v>67.637706089443</c:v>
                </c:pt>
                <c:pt idx="56">
                  <c:v>71.411000267622001</c:v>
                </c:pt>
                <c:pt idx="57">
                  <c:v>70.442333702477001</c:v>
                </c:pt>
                <c:pt idx="58">
                  <c:v>73.742558162795007</c:v>
                </c:pt>
                <c:pt idx="59">
                  <c:v>77.031519058401997</c:v>
                </c:pt>
                <c:pt idx="60">
                  <c:v>77.099100446666995</c:v>
                </c:pt>
                <c:pt idx="61">
                  <c:v>76.186751705077995</c:v>
                </c:pt>
                <c:pt idx="62">
                  <c:v>76.310650916898993</c:v>
                </c:pt>
                <c:pt idx="63">
                  <c:v>75.803790504904995</c:v>
                </c:pt>
                <c:pt idx="64">
                  <c:v>77.673542246926999</c:v>
                </c:pt>
                <c:pt idx="65">
                  <c:v>75.150503751667998</c:v>
                </c:pt>
                <c:pt idx="66">
                  <c:v>72.188186232679996</c:v>
                </c:pt>
                <c:pt idx="67">
                  <c:v>70.453597267188002</c:v>
                </c:pt>
                <c:pt idx="68">
                  <c:v>68.989333854761</c:v>
                </c:pt>
                <c:pt idx="69">
                  <c:v>66.511349618344994</c:v>
                </c:pt>
                <c:pt idx="70">
                  <c:v>64.551489358634001</c:v>
                </c:pt>
                <c:pt idx="71">
                  <c:v>61.780652439732997</c:v>
                </c:pt>
                <c:pt idx="72">
                  <c:v>59.550466626957999</c:v>
                </c:pt>
                <c:pt idx="73">
                  <c:v>58.232629555773997</c:v>
                </c:pt>
                <c:pt idx="74">
                  <c:v>57.049955261119997</c:v>
                </c:pt>
                <c:pt idx="75">
                  <c:v>55.394211248605998</c:v>
                </c:pt>
                <c:pt idx="76">
                  <c:v>53.434350988894998</c:v>
                </c:pt>
                <c:pt idx="77">
                  <c:v>48.512173210196998</c:v>
                </c:pt>
                <c:pt idx="78">
                  <c:v>48.399537563087002</c:v>
                </c:pt>
                <c:pt idx="79">
                  <c:v>46.912747021237003</c:v>
                </c:pt>
                <c:pt idx="80">
                  <c:v>43.567468302076001</c:v>
                </c:pt>
                <c:pt idx="81">
                  <c:v>42.317212619156997</c:v>
                </c:pt>
                <c:pt idx="82">
                  <c:v>41.404863877567003</c:v>
                </c:pt>
                <c:pt idx="83">
                  <c:v>40.064499676959997</c:v>
                </c:pt>
                <c:pt idx="84">
                  <c:v>42.463638960399997</c:v>
                </c:pt>
                <c:pt idx="85">
                  <c:v>39.692802041497998</c:v>
                </c:pt>
                <c:pt idx="86">
                  <c:v>38.408755664445998</c:v>
                </c:pt>
                <c:pt idx="87">
                  <c:v>37.552724746411997</c:v>
                </c:pt>
                <c:pt idx="88">
                  <c:v>36.820593040197998</c:v>
                </c:pt>
                <c:pt idx="89">
                  <c:v>37.192290675659997</c:v>
                </c:pt>
                <c:pt idx="90">
                  <c:v>36.561531051845002</c:v>
                </c:pt>
                <c:pt idx="91">
                  <c:v>34.646725050977999</c:v>
                </c:pt>
                <c:pt idx="92">
                  <c:v>34.252500286093998</c:v>
                </c:pt>
                <c:pt idx="93">
                  <c:v>35.074740509995998</c:v>
                </c:pt>
                <c:pt idx="94">
                  <c:v>35.818135780920002</c:v>
                </c:pt>
                <c:pt idx="95">
                  <c:v>36.043407075140003</c:v>
                </c:pt>
                <c:pt idx="96">
                  <c:v>35.930771428029999</c:v>
                </c:pt>
                <c:pt idx="97">
                  <c:v>35.840662910341997</c:v>
                </c:pt>
                <c:pt idx="98">
                  <c:v>35.964562122163002</c:v>
                </c:pt>
                <c:pt idx="99">
                  <c:v>37.000810075574002</c:v>
                </c:pt>
                <c:pt idx="100">
                  <c:v>36.809329475486997</c:v>
                </c:pt>
                <c:pt idx="101">
                  <c:v>36.448895404734998</c:v>
                </c:pt>
                <c:pt idx="102">
                  <c:v>37.349980581613998</c:v>
                </c:pt>
                <c:pt idx="103">
                  <c:v>37.744205346497999</c:v>
                </c:pt>
                <c:pt idx="104">
                  <c:v>38.194747934938</c:v>
                </c:pt>
                <c:pt idx="105">
                  <c:v>39.276050147192002</c:v>
                </c:pt>
                <c:pt idx="106">
                  <c:v>38.611499829244003</c:v>
                </c:pt>
                <c:pt idx="107">
                  <c:v>38.949406770572999</c:v>
                </c:pt>
                <c:pt idx="108">
                  <c:v>39.4900578767</c:v>
                </c:pt>
                <c:pt idx="109">
                  <c:v>39.062042417683003</c:v>
                </c:pt>
                <c:pt idx="110">
                  <c:v>39.478794311988999</c:v>
                </c:pt>
                <c:pt idx="111">
                  <c:v>39.535112135543997</c:v>
                </c:pt>
                <c:pt idx="112">
                  <c:v>40.188398888781002</c:v>
                </c:pt>
                <c:pt idx="113">
                  <c:v>42.204576972047001</c:v>
                </c:pt>
                <c:pt idx="114">
                  <c:v>40.222189582913998</c:v>
                </c:pt>
                <c:pt idx="115">
                  <c:v>39.602693523809997</c:v>
                </c:pt>
                <c:pt idx="116">
                  <c:v>41.889197160138998</c:v>
                </c:pt>
                <c:pt idx="117">
                  <c:v>44.491080608376002</c:v>
                </c:pt>
                <c:pt idx="118">
                  <c:v>49.638529681294997</c:v>
                </c:pt>
                <c:pt idx="119">
                  <c:v>52.972544835744998</c:v>
                </c:pt>
                <c:pt idx="120">
                  <c:v>54.864823707189998</c:v>
                </c:pt>
                <c:pt idx="121">
                  <c:v>59.449094544559998</c:v>
                </c:pt>
                <c:pt idx="122">
                  <c:v>60.733140921611003</c:v>
                </c:pt>
                <c:pt idx="123">
                  <c:v>62.535311275368002</c:v>
                </c:pt>
                <c:pt idx="124">
                  <c:v>63.166070899182998</c:v>
                </c:pt>
                <c:pt idx="125">
                  <c:v>65.621528006177002</c:v>
                </c:pt>
                <c:pt idx="126">
                  <c:v>66.781675171407997</c:v>
                </c:pt>
                <c:pt idx="127">
                  <c:v>68.076985113171006</c:v>
                </c:pt>
                <c:pt idx="128">
                  <c:v>70.025581808170998</c:v>
                </c:pt>
                <c:pt idx="129">
                  <c:v>72.717573774095996</c:v>
                </c:pt>
                <c:pt idx="130">
                  <c:v>71.534899479442998</c:v>
                </c:pt>
                <c:pt idx="131">
                  <c:v>70.239589537680004</c:v>
                </c:pt>
                <c:pt idx="132">
                  <c:v>66.443768230079002</c:v>
                </c:pt>
                <c:pt idx="133">
                  <c:v>65.846799300396995</c:v>
                </c:pt>
                <c:pt idx="134">
                  <c:v>63.098489510916998</c:v>
                </c:pt>
                <c:pt idx="135">
                  <c:v>60.541660321525001</c:v>
                </c:pt>
                <c:pt idx="136">
                  <c:v>59.685629403489997</c:v>
                </c:pt>
                <c:pt idx="137">
                  <c:v>58.221365991063003</c:v>
                </c:pt>
                <c:pt idx="138">
                  <c:v>56.588149107969997</c:v>
                </c:pt>
                <c:pt idx="139">
                  <c:v>55.439265507450003</c:v>
                </c:pt>
                <c:pt idx="140">
                  <c:v>52.690955717971001</c:v>
                </c:pt>
                <c:pt idx="141">
                  <c:v>52.600847200282999</c:v>
                </c:pt>
                <c:pt idx="142">
                  <c:v>51.136583787855002</c:v>
                </c:pt>
                <c:pt idx="143">
                  <c:v>50.776149717103998</c:v>
                </c:pt>
                <c:pt idx="144">
                  <c:v>50.697304764126997</c:v>
                </c:pt>
                <c:pt idx="145">
                  <c:v>50.517087728751001</c:v>
                </c:pt>
                <c:pt idx="146">
                  <c:v>49.176723528144002</c:v>
                </c:pt>
                <c:pt idx="147">
                  <c:v>49.041560751612998</c:v>
                </c:pt>
                <c:pt idx="148">
                  <c:v>48.129212010022997</c:v>
                </c:pt>
                <c:pt idx="149">
                  <c:v>47.847622892248999</c:v>
                </c:pt>
                <c:pt idx="150">
                  <c:v>46.845165632971003</c:v>
                </c:pt>
                <c:pt idx="151">
                  <c:v>46.541049385774997</c:v>
                </c:pt>
                <c:pt idx="152">
                  <c:v>46.619894338751998</c:v>
                </c:pt>
                <c:pt idx="153">
                  <c:v>47.802568633405002</c:v>
                </c:pt>
                <c:pt idx="154">
                  <c:v>46.980328409503002</c:v>
                </c:pt>
                <c:pt idx="155">
                  <c:v>47.081700491901998</c:v>
                </c:pt>
                <c:pt idx="156">
                  <c:v>48.185529833578002</c:v>
                </c:pt>
                <c:pt idx="157">
                  <c:v>47.982785668779997</c:v>
                </c:pt>
                <c:pt idx="158">
                  <c:v>48.545963904329</c:v>
                </c:pt>
                <c:pt idx="159">
                  <c:v>49.097878575167996</c:v>
                </c:pt>
                <c:pt idx="160">
                  <c:v>48.185529833578002</c:v>
                </c:pt>
                <c:pt idx="161">
                  <c:v>48.523436774907999</c:v>
                </c:pt>
                <c:pt idx="162">
                  <c:v>48.658599551439004</c:v>
                </c:pt>
                <c:pt idx="163">
                  <c:v>48.365746868953998</c:v>
                </c:pt>
                <c:pt idx="164">
                  <c:v>48.579754598462003</c:v>
                </c:pt>
                <c:pt idx="165">
                  <c:v>48.658599551439004</c:v>
                </c:pt>
                <c:pt idx="166">
                  <c:v>49.593475422451</c:v>
                </c:pt>
                <c:pt idx="167">
                  <c:v>50.179180787421998</c:v>
                </c:pt>
                <c:pt idx="168">
                  <c:v>51.361855082075003</c:v>
                </c:pt>
                <c:pt idx="169">
                  <c:v>53.209079694675999</c:v>
                </c:pt>
                <c:pt idx="170">
                  <c:v>54.380490424618003</c:v>
                </c:pt>
                <c:pt idx="171">
                  <c:v>56.205187907796997</c:v>
                </c:pt>
                <c:pt idx="172">
                  <c:v>57.083745955253001</c:v>
                </c:pt>
                <c:pt idx="173">
                  <c:v>57.849668355600002</c:v>
                </c:pt>
                <c:pt idx="174">
                  <c:v>60.519133192102998</c:v>
                </c:pt>
                <c:pt idx="175">
                  <c:v>61.825706698577001</c:v>
                </c:pt>
                <c:pt idx="176">
                  <c:v>62.490257016525</c:v>
                </c:pt>
                <c:pt idx="177">
                  <c:v>64.923186994096</c:v>
                </c:pt>
                <c:pt idx="178">
                  <c:v>66.319869018258004</c:v>
                </c:pt>
                <c:pt idx="179">
                  <c:v>68.076985113171006</c:v>
                </c:pt>
                <c:pt idx="180">
                  <c:v>68.910488901784007</c:v>
                </c:pt>
                <c:pt idx="181">
                  <c:v>71.185728973401993</c:v>
                </c:pt>
                <c:pt idx="182">
                  <c:v>73.517286868574999</c:v>
                </c:pt>
                <c:pt idx="183">
                  <c:v>73.967829457015</c:v>
                </c:pt>
                <c:pt idx="184">
                  <c:v>73.708767468662003</c:v>
                </c:pt>
                <c:pt idx="185">
                  <c:v>73.798875986349998</c:v>
                </c:pt>
                <c:pt idx="186">
                  <c:v>74.181837186522998</c:v>
                </c:pt>
                <c:pt idx="187">
                  <c:v>74.823860375048994</c:v>
                </c:pt>
                <c:pt idx="188">
                  <c:v>73.562341127419003</c:v>
                </c:pt>
                <c:pt idx="189">
                  <c:v>72.773891597651001</c:v>
                </c:pt>
                <c:pt idx="190">
                  <c:v>74.564798386697007</c:v>
                </c:pt>
                <c:pt idx="191">
                  <c:v>74.767542551494003</c:v>
                </c:pt>
                <c:pt idx="192">
                  <c:v>75.533464951840998</c:v>
                </c:pt>
                <c:pt idx="193">
                  <c:v>75.488410692996993</c:v>
                </c:pt>
                <c:pt idx="194">
                  <c:v>74.677434033805994</c:v>
                </c:pt>
                <c:pt idx="195">
                  <c:v>75.274402963488001</c:v>
                </c:pt>
                <c:pt idx="196">
                  <c:v>74.373317786610002</c:v>
                </c:pt>
                <c:pt idx="197">
                  <c:v>72.717573774095996</c:v>
                </c:pt>
                <c:pt idx="198">
                  <c:v>71.478581655887993</c:v>
                </c:pt>
                <c:pt idx="199">
                  <c:v>69.620093478575996</c:v>
                </c:pt>
                <c:pt idx="200">
                  <c:v>67.648969654154001</c:v>
                </c:pt>
                <c:pt idx="201">
                  <c:v>66.804202300829999</c:v>
                </c:pt>
                <c:pt idx="202">
                  <c:v>65.553946617910995</c:v>
                </c:pt>
                <c:pt idx="203">
                  <c:v>63.717985570021</c:v>
                </c:pt>
                <c:pt idx="204">
                  <c:v>61.927078780975002</c:v>
                </c:pt>
                <c:pt idx="205">
                  <c:v>60.834513004009999</c:v>
                </c:pt>
                <c:pt idx="206">
                  <c:v>59.843319309443999</c:v>
                </c:pt>
                <c:pt idx="207">
                  <c:v>59.696892968200999</c:v>
                </c:pt>
                <c:pt idx="208">
                  <c:v>58.773280661900998</c:v>
                </c:pt>
                <c:pt idx="209">
                  <c:v>56.47551346086</c:v>
                </c:pt>
                <c:pt idx="210">
                  <c:v>55.191467083809002</c:v>
                </c:pt>
                <c:pt idx="211">
                  <c:v>54.267854777507999</c:v>
                </c:pt>
                <c:pt idx="212">
                  <c:v>53.028862659300003</c:v>
                </c:pt>
                <c:pt idx="213">
                  <c:v>50.618459811149997</c:v>
                </c:pt>
                <c:pt idx="214">
                  <c:v>49.706111069560997</c:v>
                </c:pt>
                <c:pt idx="215">
                  <c:v>49.154196398722</c:v>
                </c:pt>
                <c:pt idx="216">
                  <c:v>44.344654267133002</c:v>
                </c:pt>
                <c:pt idx="217">
                  <c:v>47.960258539358001</c:v>
                </c:pt>
                <c:pt idx="218">
                  <c:v>46.462204432798003</c:v>
                </c:pt>
                <c:pt idx="219">
                  <c:v>44.265809314157003</c:v>
                </c:pt>
                <c:pt idx="220">
                  <c:v>43.837793855138997</c:v>
                </c:pt>
                <c:pt idx="221">
                  <c:v>41.866670030717003</c:v>
                </c:pt>
                <c:pt idx="222">
                  <c:v>40.087026806381999</c:v>
                </c:pt>
                <c:pt idx="223">
                  <c:v>41.157065453926002</c:v>
                </c:pt>
                <c:pt idx="224">
                  <c:v>34.128601074273</c:v>
                </c:pt>
                <c:pt idx="225">
                  <c:v>32.484120626470002</c:v>
                </c:pt>
                <c:pt idx="226">
                  <c:v>31.616826143724001</c:v>
                </c:pt>
                <c:pt idx="227">
                  <c:v>30.017399954765001</c:v>
                </c:pt>
                <c:pt idx="228">
                  <c:v>29.533066672193002</c:v>
                </c:pt>
                <c:pt idx="229">
                  <c:v>28.891043483667001</c:v>
                </c:pt>
                <c:pt idx="230">
                  <c:v>28.057539695054</c:v>
                </c:pt>
                <c:pt idx="231">
                  <c:v>27.708369189014</c:v>
                </c:pt>
                <c:pt idx="232">
                  <c:v>27.190245212309001</c:v>
                </c:pt>
                <c:pt idx="233">
                  <c:v>26.322950729563001</c:v>
                </c:pt>
                <c:pt idx="234">
                  <c:v>25.399338423263</c:v>
                </c:pt>
                <c:pt idx="235">
                  <c:v>24.351826905140999</c:v>
                </c:pt>
                <c:pt idx="236">
                  <c:v>23.597168069506001</c:v>
                </c:pt>
                <c:pt idx="237">
                  <c:v>21.851315539302998</c:v>
                </c:pt>
                <c:pt idx="238">
                  <c:v>20.770013327049</c:v>
                </c:pt>
                <c:pt idx="239">
                  <c:v>19.463439820575001</c:v>
                </c:pt>
                <c:pt idx="240">
                  <c:v>19.170587138089999</c:v>
                </c:pt>
                <c:pt idx="241">
                  <c:v>18.494773255430999</c:v>
                </c:pt>
                <c:pt idx="242">
                  <c:v>18.359610478899</c:v>
                </c:pt>
                <c:pt idx="243">
                  <c:v>18.100548490546998</c:v>
                </c:pt>
                <c:pt idx="244">
                  <c:v>18.337083349476998</c:v>
                </c:pt>
                <c:pt idx="245">
                  <c:v>17.537370254997999</c:v>
                </c:pt>
                <c:pt idx="246">
                  <c:v>16.906610631183</c:v>
                </c:pt>
                <c:pt idx="247">
                  <c:v>15.802781289505999</c:v>
                </c:pt>
                <c:pt idx="248">
                  <c:v>15.543719301154001</c:v>
                </c:pt>
                <c:pt idx="249">
                  <c:v>14.755269771385001</c:v>
                </c:pt>
                <c:pt idx="250">
                  <c:v>14.225882229969001</c:v>
                </c:pt>
                <c:pt idx="251">
                  <c:v>13.009417241183</c:v>
                </c:pt>
                <c:pt idx="252">
                  <c:v>12.378657617368001</c:v>
                </c:pt>
                <c:pt idx="253">
                  <c:v>11.905587899506999</c:v>
                </c:pt>
                <c:pt idx="254">
                  <c:v>11.432518181646</c:v>
                </c:pt>
                <c:pt idx="255">
                  <c:v>10.531433004767001</c:v>
                </c:pt>
                <c:pt idx="256">
                  <c:v>10.21605319286</c:v>
                </c:pt>
                <c:pt idx="257">
                  <c:v>9.7767741691310004</c:v>
                </c:pt>
                <c:pt idx="258">
                  <c:v>8.9320068158080002</c:v>
                </c:pt>
                <c:pt idx="259">
                  <c:v>8.5265184862119998</c:v>
                </c:pt>
                <c:pt idx="260">
                  <c:v>7.7268053917330004</c:v>
                </c:pt>
                <c:pt idx="261">
                  <c:v>7.073518638496</c:v>
                </c:pt>
                <c:pt idx="262">
                  <c:v>6.9834101208080002</c:v>
                </c:pt>
                <c:pt idx="263">
                  <c:v>6.6229760500569999</c:v>
                </c:pt>
                <c:pt idx="264">
                  <c:v>6.2174877204610004</c:v>
                </c:pt>
                <c:pt idx="265">
                  <c:v>5.4853560142470004</c:v>
                </c:pt>
                <c:pt idx="266">
                  <c:v>4.9447049081200003</c:v>
                </c:pt>
                <c:pt idx="267">
                  <c:v>5.023549861097</c:v>
                </c:pt>
                <c:pt idx="268">
                  <c:v>4.7081700491899996</c:v>
                </c:pt>
                <c:pt idx="269">
                  <c:v>4.0886739900859999</c:v>
                </c:pt>
                <c:pt idx="270">
                  <c:v>3.9309840841320001</c:v>
                </c:pt>
                <c:pt idx="271">
                  <c:v>3.8971933899989999</c:v>
                </c:pt>
                <c:pt idx="272">
                  <c:v>3.8746662605769999</c:v>
                </c:pt>
                <c:pt idx="273">
                  <c:v>3.6043407075139999</c:v>
                </c:pt>
                <c:pt idx="274">
                  <c:v>3.1537981190740001</c:v>
                </c:pt>
                <c:pt idx="275">
                  <c:v>2.9172632601439998</c:v>
                </c:pt>
                <c:pt idx="276">
                  <c:v>2.7370462247680001</c:v>
                </c:pt>
                <c:pt idx="277">
                  <c:v>2.6694648365020002</c:v>
                </c:pt>
                <c:pt idx="278">
                  <c:v>2.5005113658370002</c:v>
                </c:pt>
                <c:pt idx="279">
                  <c:v>2.0161780832649998</c:v>
                </c:pt>
                <c:pt idx="280">
                  <c:v>1.9711238244210001</c:v>
                </c:pt>
                <c:pt idx="281">
                  <c:v>1.6670075772249999</c:v>
                </c:pt>
                <c:pt idx="282">
                  <c:v>1.6670075772249999</c:v>
                </c:pt>
                <c:pt idx="283">
                  <c:v>1.419209153583</c:v>
                </c:pt>
                <c:pt idx="284">
                  <c:v>1.3403642006059999</c:v>
                </c:pt>
                <c:pt idx="285">
                  <c:v>1.261519247629</c:v>
                </c:pt>
                <c:pt idx="286">
                  <c:v>1.317837071184</c:v>
                </c:pt>
                <c:pt idx="287">
                  <c:v>1.0700386475429999</c:v>
                </c:pt>
                <c:pt idx="288">
                  <c:v>0.96866656514399996</c:v>
                </c:pt>
                <c:pt idx="289">
                  <c:v>0.99119369456600004</c:v>
                </c:pt>
                <c:pt idx="290">
                  <c:v>0.97993012985500005</c:v>
                </c:pt>
                <c:pt idx="291">
                  <c:v>1.002457259277</c:v>
                </c:pt>
                <c:pt idx="292">
                  <c:v>0.96866656514399996</c:v>
                </c:pt>
                <c:pt idx="293">
                  <c:v>0.83350378861200003</c:v>
                </c:pt>
                <c:pt idx="294">
                  <c:v>0.81097665918999995</c:v>
                </c:pt>
                <c:pt idx="295">
                  <c:v>0.82224022390100004</c:v>
                </c:pt>
                <c:pt idx="296">
                  <c:v>0.61949605910299999</c:v>
                </c:pt>
                <c:pt idx="297">
                  <c:v>0.57444180026000002</c:v>
                </c:pt>
                <c:pt idx="298">
                  <c:v>0.47306971786099999</c:v>
                </c:pt>
                <c:pt idx="299">
                  <c:v>0.48433328257199998</c:v>
                </c:pt>
                <c:pt idx="300">
                  <c:v>0.45054258843900002</c:v>
                </c:pt>
                <c:pt idx="301">
                  <c:v>0.382961200173</c:v>
                </c:pt>
                <c:pt idx="302">
                  <c:v>0.45054258843900002</c:v>
                </c:pt>
                <c:pt idx="303">
                  <c:v>0.428015459017</c:v>
                </c:pt>
                <c:pt idx="304">
                  <c:v>0.40548832959499997</c:v>
                </c:pt>
                <c:pt idx="305">
                  <c:v>0.41675189430600001</c:v>
                </c:pt>
                <c:pt idx="306">
                  <c:v>0.41675189430600001</c:v>
                </c:pt>
                <c:pt idx="307">
                  <c:v>0.382961200173</c:v>
                </c:pt>
                <c:pt idx="308">
                  <c:v>0.34917050603999999</c:v>
                </c:pt>
                <c:pt idx="309">
                  <c:v>0.31537981190699999</c:v>
                </c:pt>
                <c:pt idx="310">
                  <c:v>0.31537981190699999</c:v>
                </c:pt>
                <c:pt idx="311">
                  <c:v>0.33790694132900001</c:v>
                </c:pt>
                <c:pt idx="312">
                  <c:v>0.34917050603999999</c:v>
                </c:pt>
                <c:pt idx="313">
                  <c:v>0.36043407075099998</c:v>
                </c:pt>
                <c:pt idx="314">
                  <c:v>0.40548832959499997</c:v>
                </c:pt>
                <c:pt idx="315">
                  <c:v>0.41675189430600001</c:v>
                </c:pt>
                <c:pt idx="316">
                  <c:v>0.36043407075099998</c:v>
                </c:pt>
                <c:pt idx="317">
                  <c:v>0.39422476488399999</c:v>
                </c:pt>
                <c:pt idx="318">
                  <c:v>0.428015459017</c:v>
                </c:pt>
                <c:pt idx="319">
                  <c:v>0.43927902372799998</c:v>
                </c:pt>
                <c:pt idx="320">
                  <c:v>0.428015459017</c:v>
                </c:pt>
                <c:pt idx="321">
                  <c:v>0.49559684728300002</c:v>
                </c:pt>
                <c:pt idx="322">
                  <c:v>0.54065110612699996</c:v>
                </c:pt>
                <c:pt idx="323">
                  <c:v>0.55191467083800005</c:v>
                </c:pt>
                <c:pt idx="324">
                  <c:v>0.54065110612699996</c:v>
                </c:pt>
                <c:pt idx="325">
                  <c:v>0.49559684728300002</c:v>
                </c:pt>
                <c:pt idx="326">
                  <c:v>0.51812397670499999</c:v>
                </c:pt>
                <c:pt idx="327">
                  <c:v>0.57444180026000002</c:v>
                </c:pt>
                <c:pt idx="328">
                  <c:v>0.57444180026000002</c:v>
                </c:pt>
                <c:pt idx="329">
                  <c:v>0.56317823554900004</c:v>
                </c:pt>
                <c:pt idx="330">
                  <c:v>0.57444180026000002</c:v>
                </c:pt>
                <c:pt idx="331">
                  <c:v>0.63075962381399997</c:v>
                </c:pt>
                <c:pt idx="332">
                  <c:v>0.64202318852499995</c:v>
                </c:pt>
                <c:pt idx="333">
                  <c:v>0.64202318852499995</c:v>
                </c:pt>
                <c:pt idx="334">
                  <c:v>0.59696892968199999</c:v>
                </c:pt>
                <c:pt idx="335">
                  <c:v>0.55191467083800005</c:v>
                </c:pt>
                <c:pt idx="336">
                  <c:v>0.56317823554900004</c:v>
                </c:pt>
                <c:pt idx="337">
                  <c:v>0.608232494392</c:v>
                </c:pt>
                <c:pt idx="338">
                  <c:v>0.54065110612699996</c:v>
                </c:pt>
                <c:pt idx="339">
                  <c:v>0.59696892968199999</c:v>
                </c:pt>
                <c:pt idx="340">
                  <c:v>0.59696892968199999</c:v>
                </c:pt>
                <c:pt idx="341">
                  <c:v>0.57444180026000002</c:v>
                </c:pt>
                <c:pt idx="342">
                  <c:v>0.57444180026000002</c:v>
                </c:pt>
                <c:pt idx="343">
                  <c:v>0.608232494392</c:v>
                </c:pt>
                <c:pt idx="344">
                  <c:v>0.56317823554900004</c:v>
                </c:pt>
                <c:pt idx="345">
                  <c:v>0.56317823554900004</c:v>
                </c:pt>
                <c:pt idx="346">
                  <c:v>0.52938754141599997</c:v>
                </c:pt>
                <c:pt idx="347">
                  <c:v>0.55191467083800005</c:v>
                </c:pt>
                <c:pt idx="348">
                  <c:v>0.58570536497100001</c:v>
                </c:pt>
                <c:pt idx="349">
                  <c:v>0.65328675323600005</c:v>
                </c:pt>
                <c:pt idx="350">
                  <c:v>0.65328675323600005</c:v>
                </c:pt>
                <c:pt idx="351">
                  <c:v>0.67581388265800002</c:v>
                </c:pt>
                <c:pt idx="352">
                  <c:v>0.73213170621300006</c:v>
                </c:pt>
                <c:pt idx="353">
                  <c:v>0.77718596505699999</c:v>
                </c:pt>
                <c:pt idx="354">
                  <c:v>0.75465883563500002</c:v>
                </c:pt>
                <c:pt idx="355">
                  <c:v>0.76592240034600001</c:v>
                </c:pt>
                <c:pt idx="356">
                  <c:v>0.66455031794700004</c:v>
                </c:pt>
                <c:pt idx="357">
                  <c:v>0.69834101207999999</c:v>
                </c:pt>
                <c:pt idx="358">
                  <c:v>0.77718596505699999</c:v>
                </c:pt>
                <c:pt idx="359">
                  <c:v>0.74339527092400004</c:v>
                </c:pt>
                <c:pt idx="360">
                  <c:v>0.69834101207999999</c:v>
                </c:pt>
                <c:pt idx="361">
                  <c:v>0.68707744736900001</c:v>
                </c:pt>
                <c:pt idx="362">
                  <c:v>0.65328675323600005</c:v>
                </c:pt>
                <c:pt idx="363">
                  <c:v>0.68707744736900001</c:v>
                </c:pt>
                <c:pt idx="364">
                  <c:v>0.66455031794700004</c:v>
                </c:pt>
                <c:pt idx="365">
                  <c:v>0.64202318852499995</c:v>
                </c:pt>
                <c:pt idx="366">
                  <c:v>0.68707744736900001</c:v>
                </c:pt>
                <c:pt idx="367">
                  <c:v>0.77718596505699999</c:v>
                </c:pt>
                <c:pt idx="368">
                  <c:v>0.78844952976799998</c:v>
                </c:pt>
                <c:pt idx="369">
                  <c:v>0.86729448274499998</c:v>
                </c:pt>
                <c:pt idx="370">
                  <c:v>1.024984388699</c:v>
                </c:pt>
                <c:pt idx="371">
                  <c:v>1.0813022122539999</c:v>
                </c:pt>
                <c:pt idx="372">
                  <c:v>1.1038293416760001</c:v>
                </c:pt>
                <c:pt idx="373">
                  <c:v>1.171410729942</c:v>
                </c:pt>
                <c:pt idx="374">
                  <c:v>1.14888360052</c:v>
                </c:pt>
                <c:pt idx="375">
                  <c:v>1.2164649887850001</c:v>
                </c:pt>
                <c:pt idx="376">
                  <c:v>1.284046377051</c:v>
                </c:pt>
                <c:pt idx="377">
                  <c:v>1.3516277653169999</c:v>
                </c:pt>
                <c:pt idx="378">
                  <c:v>1.475526977138</c:v>
                </c:pt>
                <c:pt idx="379">
                  <c:v>1.4867905418489999</c:v>
                </c:pt>
                <c:pt idx="380">
                  <c:v>1.5093176712709999</c:v>
                </c:pt>
                <c:pt idx="381">
                  <c:v>1.7120618360690001</c:v>
                </c:pt>
                <c:pt idx="382">
                  <c:v>1.7007982713580001</c:v>
                </c:pt>
                <c:pt idx="383">
                  <c:v>1.6670075772249999</c:v>
                </c:pt>
                <c:pt idx="384">
                  <c:v>1.633216883092</c:v>
                </c:pt>
                <c:pt idx="385">
                  <c:v>1.576899059537</c:v>
                </c:pt>
                <c:pt idx="386">
                  <c:v>1.588162624248</c:v>
                </c:pt>
                <c:pt idx="387">
                  <c:v>1.599426188959</c:v>
                </c:pt>
                <c:pt idx="388">
                  <c:v>1.5431083654040001</c:v>
                </c:pt>
                <c:pt idx="389">
                  <c:v>1.644480447803</c:v>
                </c:pt>
                <c:pt idx="390">
                  <c:v>1.6782711419359999</c:v>
                </c:pt>
                <c:pt idx="391">
                  <c:v>1.768379659624</c:v>
                </c:pt>
                <c:pt idx="392">
                  <c:v>1.7345889654910001</c:v>
                </c:pt>
                <c:pt idx="393">
                  <c:v>1.9260695655769999</c:v>
                </c:pt>
                <c:pt idx="394">
                  <c:v>2.049968777398</c:v>
                </c:pt>
                <c:pt idx="395">
                  <c:v>2.1062866009530001</c:v>
                </c:pt>
                <c:pt idx="396">
                  <c:v>2.173867989219</c:v>
                </c:pt>
                <c:pt idx="397">
                  <c:v>2.2865036363289999</c:v>
                </c:pt>
                <c:pt idx="398">
                  <c:v>2.613147012947</c:v>
                </c:pt>
                <c:pt idx="399">
                  <c:v>2.9059996954330001</c:v>
                </c:pt>
                <c:pt idx="400">
                  <c:v>3.0974802955189999</c:v>
                </c:pt>
                <c:pt idx="401">
                  <c:v>3.198852377918</c:v>
                </c:pt>
                <c:pt idx="402">
                  <c:v>3.412860107427</c:v>
                </c:pt>
                <c:pt idx="403">
                  <c:v>3.4579143662709999</c:v>
                </c:pt>
                <c:pt idx="404">
                  <c:v>3.5705500133810002</c:v>
                </c:pt>
                <c:pt idx="405">
                  <c:v>3.9197205194209999</c:v>
                </c:pt>
                <c:pt idx="406">
                  <c:v>4.144991813641</c:v>
                </c:pt>
                <c:pt idx="407">
                  <c:v>4.2914181548829999</c:v>
                </c:pt>
                <c:pt idx="408">
                  <c:v>4.5054258843920003</c:v>
                </c:pt>
                <c:pt idx="409">
                  <c:v>4.8771235198539999</c:v>
                </c:pt>
                <c:pt idx="410">
                  <c:v>5.3051389788719998</c:v>
                </c:pt>
                <c:pt idx="411">
                  <c:v>5.5078831436689999</c:v>
                </c:pt>
                <c:pt idx="412">
                  <c:v>6.0034799909530001</c:v>
                </c:pt>
                <c:pt idx="413">
                  <c:v>6.972146556097</c:v>
                </c:pt>
                <c:pt idx="414">
                  <c:v>7.7380689564439997</c:v>
                </c:pt>
                <c:pt idx="415">
                  <c:v>8.5715727450560006</c:v>
                </c:pt>
                <c:pt idx="416">
                  <c:v>9.4276036630910003</c:v>
                </c:pt>
                <c:pt idx="417">
                  <c:v>9.9232005103740004</c:v>
                </c:pt>
                <c:pt idx="418">
                  <c:v>10.520169440056</c:v>
                </c:pt>
                <c:pt idx="419">
                  <c:v>11.466308875778999</c:v>
                </c:pt>
                <c:pt idx="420">
                  <c:v>12.795409511674</c:v>
                </c:pt>
                <c:pt idx="421">
                  <c:v>14.045665194592999</c:v>
                </c:pt>
                <c:pt idx="422">
                  <c:v>14.451153524188999</c:v>
                </c:pt>
                <c:pt idx="423">
                  <c:v>15.746463465952001</c:v>
                </c:pt>
                <c:pt idx="424">
                  <c:v>16.602494383985999</c:v>
                </c:pt>
                <c:pt idx="425">
                  <c:v>17.785168678639</c:v>
                </c:pt>
                <c:pt idx="426">
                  <c:v>20.330734303321002</c:v>
                </c:pt>
                <c:pt idx="427">
                  <c:v>21.930160492279999</c:v>
                </c:pt>
                <c:pt idx="428">
                  <c:v>23.585904504795</c:v>
                </c:pt>
                <c:pt idx="429">
                  <c:v>26.063888741210999</c:v>
                </c:pt>
                <c:pt idx="430">
                  <c:v>27.055082435776999</c:v>
                </c:pt>
                <c:pt idx="431">
                  <c:v>28.12512108332</c:v>
                </c:pt>
                <c:pt idx="432">
                  <c:v>28.958624871933001</c:v>
                </c:pt>
                <c:pt idx="433">
                  <c:v>30.039927084186999</c:v>
                </c:pt>
                <c:pt idx="434">
                  <c:v>31.763252484967001</c:v>
                </c:pt>
                <c:pt idx="435">
                  <c:v>32.822027567798997</c:v>
                </c:pt>
                <c:pt idx="436">
                  <c:v>33.993438297741001</c:v>
                </c:pt>
                <c:pt idx="437">
                  <c:v>36.065934204561998</c:v>
                </c:pt>
                <c:pt idx="438">
                  <c:v>37.226081369793</c:v>
                </c:pt>
                <c:pt idx="439">
                  <c:v>37.935685946584996</c:v>
                </c:pt>
                <c:pt idx="440">
                  <c:v>40.717786430197002</c:v>
                </c:pt>
                <c:pt idx="441">
                  <c:v>41.979305677827</c:v>
                </c:pt>
                <c:pt idx="442">
                  <c:v>41.922987854272002</c:v>
                </c:pt>
                <c:pt idx="443">
                  <c:v>43.713894643318</c:v>
                </c:pt>
                <c:pt idx="444">
                  <c:v>45.685018467740001</c:v>
                </c:pt>
                <c:pt idx="445">
                  <c:v>46.912747021237003</c:v>
                </c:pt>
                <c:pt idx="446">
                  <c:v>48.748708069126998</c:v>
                </c:pt>
                <c:pt idx="447">
                  <c:v>49.672320375428001</c:v>
                </c:pt>
                <c:pt idx="448">
                  <c:v>50.798676846526</c:v>
                </c:pt>
                <c:pt idx="449">
                  <c:v>53.873630012623998</c:v>
                </c:pt>
                <c:pt idx="450">
                  <c:v>54.662079542392</c:v>
                </c:pt>
                <c:pt idx="451">
                  <c:v>55.596955413403997</c:v>
                </c:pt>
                <c:pt idx="452">
                  <c:v>56.070025131264998</c:v>
                </c:pt>
                <c:pt idx="453">
                  <c:v>55.979916613576997</c:v>
                </c:pt>
                <c:pt idx="454">
                  <c:v>56.824683966900999</c:v>
                </c:pt>
                <c:pt idx="455">
                  <c:v>56.498040590282002</c:v>
                </c:pt>
                <c:pt idx="456">
                  <c:v>56.137606519530998</c:v>
                </c:pt>
                <c:pt idx="457">
                  <c:v>56.903528919877999</c:v>
                </c:pt>
                <c:pt idx="458">
                  <c:v>55.416738378028001</c:v>
                </c:pt>
                <c:pt idx="459">
                  <c:v>54.515653201150002</c:v>
                </c:pt>
                <c:pt idx="460">
                  <c:v>54.087637742132003</c:v>
                </c:pt>
                <c:pt idx="461">
                  <c:v>52.285467388374997</c:v>
                </c:pt>
                <c:pt idx="462">
                  <c:v>51.474490729185</c:v>
                </c:pt>
                <c:pt idx="463">
                  <c:v>50.911312493635997</c:v>
                </c:pt>
                <c:pt idx="464">
                  <c:v>48.917661539792</c:v>
                </c:pt>
                <c:pt idx="465">
                  <c:v>48.962715798635998</c:v>
                </c:pt>
                <c:pt idx="466">
                  <c:v>48.140475574733998</c:v>
                </c:pt>
                <c:pt idx="467">
                  <c:v>46.721266421149998</c:v>
                </c:pt>
                <c:pt idx="468">
                  <c:v>46.045452538492</c:v>
                </c:pt>
                <c:pt idx="469">
                  <c:v>45.065522408635999</c:v>
                </c:pt>
                <c:pt idx="470">
                  <c:v>43.240824925456998</c:v>
                </c:pt>
                <c:pt idx="471">
                  <c:v>41.900460724849999</c:v>
                </c:pt>
                <c:pt idx="472">
                  <c:v>39.816701253319003</c:v>
                </c:pt>
                <c:pt idx="473">
                  <c:v>38.397492099734997</c:v>
                </c:pt>
                <c:pt idx="474">
                  <c:v>37.732941781786998</c:v>
                </c:pt>
                <c:pt idx="475">
                  <c:v>35.694236569099999</c:v>
                </c:pt>
                <c:pt idx="476">
                  <c:v>34.139864638984001</c:v>
                </c:pt>
                <c:pt idx="477">
                  <c:v>32.765709744243999</c:v>
                </c:pt>
                <c:pt idx="478">
                  <c:v>30.727004531557</c:v>
                </c:pt>
                <c:pt idx="479">
                  <c:v>27.460570765372001</c:v>
                </c:pt>
                <c:pt idx="480">
                  <c:v>26.874865400400999</c:v>
                </c:pt>
                <c:pt idx="481">
                  <c:v>26.401795682540001</c:v>
                </c:pt>
                <c:pt idx="482">
                  <c:v>26.334214294273998</c:v>
                </c:pt>
                <c:pt idx="483">
                  <c:v>25.658400411614998</c:v>
                </c:pt>
                <c:pt idx="484">
                  <c:v>25.241648517308999</c:v>
                </c:pt>
                <c:pt idx="485">
                  <c:v>24.813633058292002</c:v>
                </c:pt>
                <c:pt idx="486">
                  <c:v>25.320493470285999</c:v>
                </c:pt>
                <c:pt idx="487">
                  <c:v>25.027640787799999</c:v>
                </c:pt>
                <c:pt idx="488">
                  <c:v>24.284245516875</c:v>
                </c:pt>
                <c:pt idx="489">
                  <c:v>21.727416327482999</c:v>
                </c:pt>
                <c:pt idx="490">
                  <c:v>20.612323421096001</c:v>
                </c:pt>
                <c:pt idx="491">
                  <c:v>19.609866161818001</c:v>
                </c:pt>
                <c:pt idx="492">
                  <c:v>18.832680196759998</c:v>
                </c:pt>
                <c:pt idx="493">
                  <c:v>18.314556220055</c:v>
                </c:pt>
                <c:pt idx="494">
                  <c:v>18.078021361125</c:v>
                </c:pt>
                <c:pt idx="495">
                  <c:v>17.447261737310001</c:v>
                </c:pt>
                <c:pt idx="496">
                  <c:v>16.050579713148</c:v>
                </c:pt>
                <c:pt idx="497">
                  <c:v>15.205812359824</c:v>
                </c:pt>
                <c:pt idx="498">
                  <c:v>13.842921029796001</c:v>
                </c:pt>
                <c:pt idx="499">
                  <c:v>13.245952100114</c:v>
                </c:pt>
                <c:pt idx="500">
                  <c:v>12.457502570345</c:v>
                </c:pt>
                <c:pt idx="501">
                  <c:v>11.646525911154001</c:v>
                </c:pt>
                <c:pt idx="502">
                  <c:v>11.331146099247</c:v>
                </c:pt>
                <c:pt idx="503">
                  <c:v>11.590208087599001</c:v>
                </c:pt>
                <c:pt idx="504">
                  <c:v>11.432518181646</c:v>
                </c:pt>
                <c:pt idx="505">
                  <c:v>12.254758405546999</c:v>
                </c:pt>
                <c:pt idx="506">
                  <c:v>13.031944370605</c:v>
                </c:pt>
                <c:pt idx="507">
                  <c:v>14.169564406414001</c:v>
                </c:pt>
                <c:pt idx="508">
                  <c:v>14.980541065604999</c:v>
                </c:pt>
                <c:pt idx="509">
                  <c:v>16.140688230835998</c:v>
                </c:pt>
                <c:pt idx="510">
                  <c:v>17.683796596240001</c:v>
                </c:pt>
                <c:pt idx="511">
                  <c:v>19.148060008668001</c:v>
                </c:pt>
                <c:pt idx="512">
                  <c:v>20.713695503494002</c:v>
                </c:pt>
                <c:pt idx="513">
                  <c:v>22.819982104447998</c:v>
                </c:pt>
                <c:pt idx="514">
                  <c:v>25.016377223088998</c:v>
                </c:pt>
                <c:pt idx="515">
                  <c:v>26.176524388320001</c:v>
                </c:pt>
                <c:pt idx="516">
                  <c:v>27.314144424129001</c:v>
                </c:pt>
                <c:pt idx="517">
                  <c:v>29.814655789966999</c:v>
                </c:pt>
                <c:pt idx="518">
                  <c:v>33.069825991441</c:v>
                </c:pt>
                <c:pt idx="519">
                  <c:v>35.502755969013002</c:v>
                </c:pt>
                <c:pt idx="520">
                  <c:v>36.685430263665999</c:v>
                </c:pt>
                <c:pt idx="521">
                  <c:v>37.946949511295998</c:v>
                </c:pt>
                <c:pt idx="522">
                  <c:v>38.859298252884997</c:v>
                </c:pt>
                <c:pt idx="523">
                  <c:v>39.174678064793</c:v>
                </c:pt>
                <c:pt idx="524">
                  <c:v>41.438654571699999</c:v>
                </c:pt>
                <c:pt idx="525">
                  <c:v>41.911724289561</c:v>
                </c:pt>
                <c:pt idx="526">
                  <c:v>43.116925713636</c:v>
                </c:pt>
                <c:pt idx="527">
                  <c:v>43.984220196381997</c:v>
                </c:pt>
                <c:pt idx="528">
                  <c:v>44.232018620024</c:v>
                </c:pt>
                <c:pt idx="529">
                  <c:v>43.905375243404997</c:v>
                </c:pt>
                <c:pt idx="530">
                  <c:v>43.905375243404997</c:v>
                </c:pt>
                <c:pt idx="531">
                  <c:v>43.578731866787003</c:v>
                </c:pt>
                <c:pt idx="532">
                  <c:v>42.463638960399997</c:v>
                </c:pt>
                <c:pt idx="533">
                  <c:v>40.830422077306999</c:v>
                </c:pt>
                <c:pt idx="534">
                  <c:v>39.659011347365002</c:v>
                </c:pt>
                <c:pt idx="535">
                  <c:v>38.622763393954997</c:v>
                </c:pt>
                <c:pt idx="536">
                  <c:v>38.149693676094003</c:v>
                </c:pt>
                <c:pt idx="537">
                  <c:v>37.766732475920001</c:v>
                </c:pt>
                <c:pt idx="538">
                  <c:v>35.885717169186002</c:v>
                </c:pt>
                <c:pt idx="539">
                  <c:v>34.962104862886001</c:v>
                </c:pt>
                <c:pt idx="540">
                  <c:v>33.880802650631999</c:v>
                </c:pt>
                <c:pt idx="541">
                  <c:v>32.776973308955</c:v>
                </c:pt>
                <c:pt idx="542">
                  <c:v>30.017399954765001</c:v>
                </c:pt>
                <c:pt idx="543">
                  <c:v>26.953710353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Novych_hosp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106557</c:v>
                </c:pt>
                <c:pt idx="1">
                  <c:v>6.1538000000000002E-2</c:v>
                </c:pt>
                <c:pt idx="2">
                  <c:v>0.152671</c:v>
                </c:pt>
                <c:pt idx="3">
                  <c:v>0.29599900000000001</c:v>
                </c:pt>
                <c:pt idx="4">
                  <c:v>0.40625</c:v>
                </c:pt>
                <c:pt idx="5">
                  <c:v>0.30281599999999997</c:v>
                </c:pt>
                <c:pt idx="6">
                  <c:v>0.368421</c:v>
                </c:pt>
                <c:pt idx="7">
                  <c:v>0.40522799999999998</c:v>
                </c:pt>
                <c:pt idx="8">
                  <c:v>0.40229799999999999</c:v>
                </c:pt>
                <c:pt idx="9">
                  <c:v>0.30810799999999999</c:v>
                </c:pt>
                <c:pt idx="10">
                  <c:v>0.36923</c:v>
                </c:pt>
                <c:pt idx="11">
                  <c:v>0.318407</c:v>
                </c:pt>
                <c:pt idx="12">
                  <c:v>0.25108200000000003</c:v>
                </c:pt>
                <c:pt idx="13">
                  <c:v>0.25531900000000002</c:v>
                </c:pt>
                <c:pt idx="14">
                  <c:v>0.32061000000000001</c:v>
                </c:pt>
                <c:pt idx="15">
                  <c:v>0.34532299999999999</c:v>
                </c:pt>
                <c:pt idx="16">
                  <c:v>0.57807299999999995</c:v>
                </c:pt>
                <c:pt idx="17">
                  <c:v>0.68120800000000004</c:v>
                </c:pt>
                <c:pt idx="18">
                  <c:v>0.74838700000000002</c:v>
                </c:pt>
                <c:pt idx="19">
                  <c:v>0.62756500000000004</c:v>
                </c:pt>
                <c:pt idx="20">
                  <c:v>0.63270700000000002</c:v>
                </c:pt>
                <c:pt idx="21">
                  <c:v>0.517814</c:v>
                </c:pt>
                <c:pt idx="22">
                  <c:v>0.37720999999999999</c:v>
                </c:pt>
                <c:pt idx="23">
                  <c:v>0.26785700000000001</c:v>
                </c:pt>
                <c:pt idx="24">
                  <c:v>0.32635199999999998</c:v>
                </c:pt>
                <c:pt idx="25">
                  <c:v>0.32833299999999999</c:v>
                </c:pt>
                <c:pt idx="26">
                  <c:v>0.29500700000000002</c:v>
                </c:pt>
                <c:pt idx="27">
                  <c:v>0.186889</c:v>
                </c:pt>
                <c:pt idx="28">
                  <c:v>0.21520600000000001</c:v>
                </c:pt>
                <c:pt idx="29">
                  <c:v>0.188165</c:v>
                </c:pt>
                <c:pt idx="30">
                  <c:v>0.25325399999999998</c:v>
                </c:pt>
                <c:pt idx="31">
                  <c:v>0.29919400000000002</c:v>
                </c:pt>
                <c:pt idx="32">
                  <c:v>0.28008699999999997</c:v>
                </c:pt>
                <c:pt idx="33">
                  <c:v>0.27481699999999998</c:v>
                </c:pt>
                <c:pt idx="34">
                  <c:v>0.34823900000000002</c:v>
                </c:pt>
                <c:pt idx="35">
                  <c:v>0.33216400000000001</c:v>
                </c:pt>
                <c:pt idx="36">
                  <c:v>0.37489600000000001</c:v>
                </c:pt>
                <c:pt idx="37">
                  <c:v>0.43512600000000001</c:v>
                </c:pt>
                <c:pt idx="38">
                  <c:v>0.54808400000000002</c:v>
                </c:pt>
                <c:pt idx="39">
                  <c:v>0.57666399999999995</c:v>
                </c:pt>
                <c:pt idx="40">
                  <c:v>0.444664</c:v>
                </c:pt>
                <c:pt idx="41">
                  <c:v>0.39999899999999999</c:v>
                </c:pt>
                <c:pt idx="42">
                  <c:v>0.38336900000000002</c:v>
                </c:pt>
                <c:pt idx="43">
                  <c:v>0.37357099999999999</c:v>
                </c:pt>
                <c:pt idx="44">
                  <c:v>0.33226499999999998</c:v>
                </c:pt>
                <c:pt idx="45">
                  <c:v>0.38440999999999997</c:v>
                </c:pt>
                <c:pt idx="46">
                  <c:v>0.41991499999999998</c:v>
                </c:pt>
                <c:pt idx="47">
                  <c:v>0.32483299999999998</c:v>
                </c:pt>
                <c:pt idx="48">
                  <c:v>0.31937100000000002</c:v>
                </c:pt>
                <c:pt idx="49">
                  <c:v>0.32063199999999997</c:v>
                </c:pt>
                <c:pt idx="50">
                  <c:v>0.370336</c:v>
                </c:pt>
                <c:pt idx="51">
                  <c:v>0.37746600000000002</c:v>
                </c:pt>
                <c:pt idx="52">
                  <c:v>0.418848</c:v>
                </c:pt>
                <c:pt idx="53">
                  <c:v>0.395621</c:v>
                </c:pt>
                <c:pt idx="54">
                  <c:v>0.30421599999999999</c:v>
                </c:pt>
                <c:pt idx="55">
                  <c:v>0.32064999999999999</c:v>
                </c:pt>
                <c:pt idx="56">
                  <c:v>0.263955</c:v>
                </c:pt>
                <c:pt idx="57">
                  <c:v>0.175122</c:v>
                </c:pt>
                <c:pt idx="58">
                  <c:v>0.14158599999999999</c:v>
                </c:pt>
                <c:pt idx="59">
                  <c:v>0.167463</c:v>
                </c:pt>
                <c:pt idx="60">
                  <c:v>0.12489699999999999</c:v>
                </c:pt>
                <c:pt idx="61">
                  <c:v>7.5969999999999996E-3</c:v>
                </c:pt>
                <c:pt idx="62">
                  <c:v>-4.6713999999999999E-2</c:v>
                </c:pt>
                <c:pt idx="63">
                  <c:v>-6.2673999999999994E-2</c:v>
                </c:pt>
                <c:pt idx="64">
                  <c:v>-6.6594E-2</c:v>
                </c:pt>
                <c:pt idx="65">
                  <c:v>-0.139873</c:v>
                </c:pt>
                <c:pt idx="66">
                  <c:v>-0.15157499999999999</c:v>
                </c:pt>
                <c:pt idx="67">
                  <c:v>-0.16533200000000001</c:v>
                </c:pt>
                <c:pt idx="68">
                  <c:v>-0.223602</c:v>
                </c:pt>
                <c:pt idx="69">
                  <c:v>-0.24604100000000001</c:v>
                </c:pt>
                <c:pt idx="70">
                  <c:v>-0.25917699999999999</c:v>
                </c:pt>
                <c:pt idx="71">
                  <c:v>-0.29733500000000002</c:v>
                </c:pt>
                <c:pt idx="72">
                  <c:v>-0.30607600000000001</c:v>
                </c:pt>
                <c:pt idx="73">
                  <c:v>-0.25824900000000001</c:v>
                </c:pt>
                <c:pt idx="74">
                  <c:v>-0.25228800000000001</c:v>
                </c:pt>
                <c:pt idx="75">
                  <c:v>-0.30042600000000003</c:v>
                </c:pt>
                <c:pt idx="76">
                  <c:v>-0.30111900000000003</c:v>
                </c:pt>
                <c:pt idx="77">
                  <c:v>-0.33646500000000001</c:v>
                </c:pt>
                <c:pt idx="78">
                  <c:v>-0.30659900000000001</c:v>
                </c:pt>
                <c:pt idx="79">
                  <c:v>-0.31911</c:v>
                </c:pt>
                <c:pt idx="80">
                  <c:v>-0.312477</c:v>
                </c:pt>
                <c:pt idx="81">
                  <c:v>-0.30899300000000002</c:v>
                </c:pt>
                <c:pt idx="82">
                  <c:v>-0.34926499999999999</c:v>
                </c:pt>
                <c:pt idx="83">
                  <c:v>-0.31464300000000001</c:v>
                </c:pt>
                <c:pt idx="84">
                  <c:v>-0.254498</c:v>
                </c:pt>
                <c:pt idx="85">
                  <c:v>-0.277424</c:v>
                </c:pt>
                <c:pt idx="86">
                  <c:v>-0.27415899999999999</c:v>
                </c:pt>
                <c:pt idx="87">
                  <c:v>-0.20863899999999999</c:v>
                </c:pt>
                <c:pt idx="88">
                  <c:v>-0.19244</c:v>
                </c:pt>
                <c:pt idx="89">
                  <c:v>-0.22994400000000001</c:v>
                </c:pt>
                <c:pt idx="90">
                  <c:v>-0.230075</c:v>
                </c:pt>
                <c:pt idx="91">
                  <c:v>-0.28029900000000002</c:v>
                </c:pt>
                <c:pt idx="92">
                  <c:v>-0.237844</c:v>
                </c:pt>
                <c:pt idx="93">
                  <c:v>-0.19472400000000001</c:v>
                </c:pt>
                <c:pt idx="94">
                  <c:v>-0.120088</c:v>
                </c:pt>
                <c:pt idx="95">
                  <c:v>-0.109379</c:v>
                </c:pt>
                <c:pt idx="96">
                  <c:v>-0.17314599999999999</c:v>
                </c:pt>
                <c:pt idx="97">
                  <c:v>-0.148058</c:v>
                </c:pt>
                <c:pt idx="98">
                  <c:v>-9.9293999999999993E-2</c:v>
                </c:pt>
                <c:pt idx="99">
                  <c:v>-8.2402000000000003E-2</c:v>
                </c:pt>
                <c:pt idx="100">
                  <c:v>-0.10145700000000001</c:v>
                </c:pt>
                <c:pt idx="101">
                  <c:v>-7.0113999999999996E-2</c:v>
                </c:pt>
                <c:pt idx="102">
                  <c:v>-5.6346E-2</c:v>
                </c:pt>
                <c:pt idx="103">
                  <c:v>-0.103531</c:v>
                </c:pt>
                <c:pt idx="104">
                  <c:v>-7.9033000000000006E-2</c:v>
                </c:pt>
                <c:pt idx="105">
                  <c:v>-7.1124000000000007E-2</c:v>
                </c:pt>
                <c:pt idx="106">
                  <c:v>-9.9553000000000003E-2</c:v>
                </c:pt>
                <c:pt idx="107">
                  <c:v>-8.0074000000000006E-2</c:v>
                </c:pt>
                <c:pt idx="108">
                  <c:v>-3.0419999999999999E-2</c:v>
                </c:pt>
                <c:pt idx="109">
                  <c:v>-5.3751E-2</c:v>
                </c:pt>
                <c:pt idx="110">
                  <c:v>-0.11018</c:v>
                </c:pt>
                <c:pt idx="111">
                  <c:v>-0.11963799999999999</c:v>
                </c:pt>
                <c:pt idx="112">
                  <c:v>-0.10553999999999999</c:v>
                </c:pt>
                <c:pt idx="113">
                  <c:v>-5.8541999999999997E-2</c:v>
                </c:pt>
                <c:pt idx="114">
                  <c:v>-0.10657899999999999</c:v>
                </c:pt>
                <c:pt idx="115">
                  <c:v>-8.6277999999999994E-2</c:v>
                </c:pt>
                <c:pt idx="116">
                  <c:v>-3.5027999999999997E-2</c:v>
                </c:pt>
                <c:pt idx="117">
                  <c:v>-3.6115000000000001E-2</c:v>
                </c:pt>
                <c:pt idx="118">
                  <c:v>5.8356999999999999E-2</c:v>
                </c:pt>
                <c:pt idx="119">
                  <c:v>0.106848</c:v>
                </c:pt>
                <c:pt idx="120">
                  <c:v>0.181421</c:v>
                </c:pt>
                <c:pt idx="121">
                  <c:v>0.30160199999999998</c:v>
                </c:pt>
                <c:pt idx="122">
                  <c:v>0.32775100000000001</c:v>
                </c:pt>
                <c:pt idx="123">
                  <c:v>0.28044200000000002</c:v>
                </c:pt>
                <c:pt idx="124">
                  <c:v>0.121599</c:v>
                </c:pt>
                <c:pt idx="125">
                  <c:v>8.7549000000000002E-2</c:v>
                </c:pt>
                <c:pt idx="126">
                  <c:v>6.7903000000000005E-2</c:v>
                </c:pt>
                <c:pt idx="127">
                  <c:v>6.8976999999999997E-2</c:v>
                </c:pt>
                <c:pt idx="128">
                  <c:v>5.8032E-2</c:v>
                </c:pt>
                <c:pt idx="129">
                  <c:v>5.8881000000000003E-2</c:v>
                </c:pt>
                <c:pt idx="130">
                  <c:v>2.0240000000000001E-2</c:v>
                </c:pt>
                <c:pt idx="131">
                  <c:v>-9.3076999999999993E-2</c:v>
                </c:pt>
                <c:pt idx="132">
                  <c:v>-0.14246200000000001</c:v>
                </c:pt>
                <c:pt idx="133">
                  <c:v>-0.151893</c:v>
                </c:pt>
                <c:pt idx="134">
                  <c:v>-0.199714</c:v>
                </c:pt>
                <c:pt idx="135">
                  <c:v>-0.23802000000000001</c:v>
                </c:pt>
                <c:pt idx="136">
                  <c:v>-0.24900700000000001</c:v>
                </c:pt>
                <c:pt idx="137">
                  <c:v>-0.25184499999999999</c:v>
                </c:pt>
                <c:pt idx="138">
                  <c:v>-0.29900900000000002</c:v>
                </c:pt>
                <c:pt idx="139">
                  <c:v>-0.28656300000000001</c:v>
                </c:pt>
                <c:pt idx="140">
                  <c:v>-0.28754099999999999</c:v>
                </c:pt>
                <c:pt idx="141">
                  <c:v>-0.26235900000000001</c:v>
                </c:pt>
                <c:pt idx="142">
                  <c:v>-0.260104</c:v>
                </c:pt>
                <c:pt idx="143">
                  <c:v>-0.218582</c:v>
                </c:pt>
                <c:pt idx="144">
                  <c:v>-0.193658</c:v>
                </c:pt>
                <c:pt idx="145">
                  <c:v>-0.23372599999999999</c:v>
                </c:pt>
                <c:pt idx="146">
                  <c:v>-0.23106699999999999</c:v>
                </c:pt>
                <c:pt idx="147">
                  <c:v>-0.19220699999999999</c:v>
                </c:pt>
                <c:pt idx="148">
                  <c:v>-0.18903</c:v>
                </c:pt>
                <c:pt idx="149">
                  <c:v>-0.193774</c:v>
                </c:pt>
                <c:pt idx="150">
                  <c:v>-0.16334699999999999</c:v>
                </c:pt>
                <c:pt idx="151">
                  <c:v>-0.15639</c:v>
                </c:pt>
                <c:pt idx="152">
                  <c:v>-0.20327200000000001</c:v>
                </c:pt>
                <c:pt idx="153">
                  <c:v>-0.16947100000000001</c:v>
                </c:pt>
                <c:pt idx="154">
                  <c:v>-0.16328899999999999</c:v>
                </c:pt>
                <c:pt idx="155">
                  <c:v>-0.13761000000000001</c:v>
                </c:pt>
                <c:pt idx="156">
                  <c:v>-0.124795</c:v>
                </c:pt>
                <c:pt idx="157">
                  <c:v>-7.2904999999999998E-2</c:v>
                </c:pt>
                <c:pt idx="158">
                  <c:v>-4.9822999999999999E-2</c:v>
                </c:pt>
                <c:pt idx="159">
                  <c:v>-0.120104</c:v>
                </c:pt>
                <c:pt idx="160">
                  <c:v>-0.129603</c:v>
                </c:pt>
                <c:pt idx="161">
                  <c:v>-0.10455200000000001</c:v>
                </c:pt>
                <c:pt idx="162">
                  <c:v>-0.10964500000000001</c:v>
                </c:pt>
                <c:pt idx="163">
                  <c:v>-0.12367300000000001</c:v>
                </c:pt>
                <c:pt idx="164">
                  <c:v>-9.1233999999999996E-2</c:v>
                </c:pt>
                <c:pt idx="165">
                  <c:v>-9.3007999999999993E-2</c:v>
                </c:pt>
                <c:pt idx="166">
                  <c:v>-0.13547999999999999</c:v>
                </c:pt>
                <c:pt idx="167">
                  <c:v>-0.105242</c:v>
                </c:pt>
                <c:pt idx="168">
                  <c:v>-8.0644999999999994E-2</c:v>
                </c:pt>
                <c:pt idx="169">
                  <c:v>-4.8730999999999997E-2</c:v>
                </c:pt>
                <c:pt idx="170">
                  <c:v>-2.1680999999999999E-2</c:v>
                </c:pt>
                <c:pt idx="171">
                  <c:v>3.8285E-2</c:v>
                </c:pt>
                <c:pt idx="172">
                  <c:v>4.3657000000000001E-2</c:v>
                </c:pt>
                <c:pt idx="173">
                  <c:v>-1.0213E-2</c:v>
                </c:pt>
                <c:pt idx="174">
                  <c:v>2.1288000000000001E-2</c:v>
                </c:pt>
                <c:pt idx="175">
                  <c:v>2.1018999999999999E-2</c:v>
                </c:pt>
                <c:pt idx="176">
                  <c:v>1.3518000000000001E-2</c:v>
                </c:pt>
                <c:pt idx="177">
                  <c:v>2.3619000000000001E-2</c:v>
                </c:pt>
                <c:pt idx="178">
                  <c:v>5.8802E-2</c:v>
                </c:pt>
                <c:pt idx="179">
                  <c:v>6.5585000000000004E-2</c:v>
                </c:pt>
                <c:pt idx="180">
                  <c:v>-6.6559999999999996E-3</c:v>
                </c:pt>
                <c:pt idx="181">
                  <c:v>3.9709999999999997E-3</c:v>
                </c:pt>
                <c:pt idx="182">
                  <c:v>2.5611999999999999E-2</c:v>
                </c:pt>
                <c:pt idx="183">
                  <c:v>8.1359999999999991E-3</c:v>
                </c:pt>
                <c:pt idx="184">
                  <c:v>-2.1968999999999999E-2</c:v>
                </c:pt>
                <c:pt idx="185">
                  <c:v>-9.5230000000000002E-3</c:v>
                </c:pt>
                <c:pt idx="186">
                  <c:v>-2.0232E-2</c:v>
                </c:pt>
                <c:pt idx="187">
                  <c:v>-9.5327999999999996E-2</c:v>
                </c:pt>
                <c:pt idx="188">
                  <c:v>-0.123238</c:v>
                </c:pt>
                <c:pt idx="189">
                  <c:v>-0.13181899999999999</c:v>
                </c:pt>
                <c:pt idx="190">
                  <c:v>-0.118508</c:v>
                </c:pt>
                <c:pt idx="191">
                  <c:v>-0.11244800000000001</c:v>
                </c:pt>
                <c:pt idx="192">
                  <c:v>-8.3002000000000006E-2</c:v>
                </c:pt>
                <c:pt idx="193">
                  <c:v>-8.4551000000000001E-2</c:v>
                </c:pt>
                <c:pt idx="194">
                  <c:v>-0.145177</c:v>
                </c:pt>
                <c:pt idx="195">
                  <c:v>-0.11949899999999999</c:v>
                </c:pt>
                <c:pt idx="196">
                  <c:v>-0.12368899999999999</c:v>
                </c:pt>
                <c:pt idx="197">
                  <c:v>-0.148397</c:v>
                </c:pt>
                <c:pt idx="198">
                  <c:v>-0.16947999999999999</c:v>
                </c:pt>
                <c:pt idx="199">
                  <c:v>-0.17177999999999999</c:v>
                </c:pt>
                <c:pt idx="200">
                  <c:v>-0.18452099999999999</c:v>
                </c:pt>
                <c:pt idx="201">
                  <c:v>-0.23922499999999999</c:v>
                </c:pt>
                <c:pt idx="202">
                  <c:v>-0.24040700000000001</c:v>
                </c:pt>
                <c:pt idx="203">
                  <c:v>-0.24873799999999999</c:v>
                </c:pt>
                <c:pt idx="204">
                  <c:v>-0.24757000000000001</c:v>
                </c:pt>
                <c:pt idx="205">
                  <c:v>-0.24818999999999999</c:v>
                </c:pt>
                <c:pt idx="206">
                  <c:v>-0.21440100000000001</c:v>
                </c:pt>
                <c:pt idx="207">
                  <c:v>-0.196239</c:v>
                </c:pt>
                <c:pt idx="208">
                  <c:v>-0.253077</c:v>
                </c:pt>
                <c:pt idx="209">
                  <c:v>-0.244424</c:v>
                </c:pt>
                <c:pt idx="210">
                  <c:v>-0.23735400000000001</c:v>
                </c:pt>
                <c:pt idx="211">
                  <c:v>-0.22936599999999999</c:v>
                </c:pt>
                <c:pt idx="212">
                  <c:v>-0.234596</c:v>
                </c:pt>
                <c:pt idx="213">
                  <c:v>-0.23597399999999999</c:v>
                </c:pt>
                <c:pt idx="214">
                  <c:v>-0.239924</c:v>
                </c:pt>
                <c:pt idx="215">
                  <c:v>-0.28093499999999999</c:v>
                </c:pt>
                <c:pt idx="216">
                  <c:v>-0.31123099999999998</c:v>
                </c:pt>
                <c:pt idx="217">
                  <c:v>-0.237737</c:v>
                </c:pt>
                <c:pt idx="218">
                  <c:v>-0.244782</c:v>
                </c:pt>
                <c:pt idx="219">
                  <c:v>-0.25057200000000002</c:v>
                </c:pt>
                <c:pt idx="220">
                  <c:v>-0.21878700000000001</c:v>
                </c:pt>
                <c:pt idx="221">
                  <c:v>-0.23675499999999999</c:v>
                </c:pt>
                <c:pt idx="222">
                  <c:v>-0.25668299999999999</c:v>
                </c:pt>
                <c:pt idx="223">
                  <c:v>-0.26330599999999998</c:v>
                </c:pt>
                <c:pt idx="224">
                  <c:v>-0.37019299999999999</c:v>
                </c:pt>
                <c:pt idx="225">
                  <c:v>-0.369479</c:v>
                </c:pt>
                <c:pt idx="226">
                  <c:v>-0.36607899999999999</c:v>
                </c:pt>
                <c:pt idx="227">
                  <c:v>-0.36623</c:v>
                </c:pt>
                <c:pt idx="228">
                  <c:v>-0.347111</c:v>
                </c:pt>
                <c:pt idx="229">
                  <c:v>-0.37101499999999998</c:v>
                </c:pt>
                <c:pt idx="230">
                  <c:v>-0.38539299999999999</c:v>
                </c:pt>
                <c:pt idx="231">
                  <c:v>-0.28425899999999998</c:v>
                </c:pt>
                <c:pt idx="232">
                  <c:v>-0.25859900000000002</c:v>
                </c:pt>
                <c:pt idx="233">
                  <c:v>-0.26114399999999999</c:v>
                </c:pt>
                <c:pt idx="234">
                  <c:v>-0.231686</c:v>
                </c:pt>
                <c:pt idx="235">
                  <c:v>-0.245111</c:v>
                </c:pt>
                <c:pt idx="236">
                  <c:v>-0.30398599999999998</c:v>
                </c:pt>
                <c:pt idx="237">
                  <c:v>-0.32144099999999998</c:v>
                </c:pt>
                <c:pt idx="238">
                  <c:v>-0.346331</c:v>
                </c:pt>
                <c:pt idx="239">
                  <c:v>-0.362126</c:v>
                </c:pt>
                <c:pt idx="240">
                  <c:v>-0.34814200000000001</c:v>
                </c:pt>
                <c:pt idx="241">
                  <c:v>-0.32483499999999998</c:v>
                </c:pt>
                <c:pt idx="242">
                  <c:v>-0.30252400000000002</c:v>
                </c:pt>
                <c:pt idx="243">
                  <c:v>-0.32620500000000002</c:v>
                </c:pt>
                <c:pt idx="244">
                  <c:v>-0.26401400000000003</c:v>
                </c:pt>
                <c:pt idx="245">
                  <c:v>-0.25466699999999998</c:v>
                </c:pt>
                <c:pt idx="246">
                  <c:v>-0.24837200000000001</c:v>
                </c:pt>
                <c:pt idx="247">
                  <c:v>-0.26774500000000001</c:v>
                </c:pt>
                <c:pt idx="248">
                  <c:v>-0.23630300000000001</c:v>
                </c:pt>
                <c:pt idx="249">
                  <c:v>-0.26486999999999999</c:v>
                </c:pt>
                <c:pt idx="250">
                  <c:v>-0.341501</c:v>
                </c:pt>
                <c:pt idx="251">
                  <c:v>-0.36850699999999997</c:v>
                </c:pt>
                <c:pt idx="252">
                  <c:v>-0.37056099999999997</c:v>
                </c:pt>
                <c:pt idx="253">
                  <c:v>-0.36782199999999998</c:v>
                </c:pt>
                <c:pt idx="254">
                  <c:v>-0.36323699999999998</c:v>
                </c:pt>
                <c:pt idx="255">
                  <c:v>-0.36610100000000001</c:v>
                </c:pt>
                <c:pt idx="256">
                  <c:v>-0.35901</c:v>
                </c:pt>
                <c:pt idx="257">
                  <c:v>-0.407912</c:v>
                </c:pt>
                <c:pt idx="258">
                  <c:v>-0.38999899999999998</c:v>
                </c:pt>
                <c:pt idx="259">
                  <c:v>-0.392455</c:v>
                </c:pt>
                <c:pt idx="260">
                  <c:v>-0.42158499999999999</c:v>
                </c:pt>
                <c:pt idx="261">
                  <c:v>-0.44227300000000003</c:v>
                </c:pt>
                <c:pt idx="262">
                  <c:v>-0.38123699999999999</c:v>
                </c:pt>
                <c:pt idx="263">
                  <c:v>-0.39568300000000001</c:v>
                </c:pt>
                <c:pt idx="264">
                  <c:v>-0.44578299999999998</c:v>
                </c:pt>
                <c:pt idx="265">
                  <c:v>-0.460088</c:v>
                </c:pt>
                <c:pt idx="266">
                  <c:v>-0.47298899999999999</c:v>
                </c:pt>
                <c:pt idx="267">
                  <c:v>-0.41083199999999997</c:v>
                </c:pt>
                <c:pt idx="268">
                  <c:v>-0.42818000000000001</c:v>
                </c:pt>
                <c:pt idx="269">
                  <c:v>-0.445801</c:v>
                </c:pt>
                <c:pt idx="270">
                  <c:v>-0.43527500000000002</c:v>
                </c:pt>
                <c:pt idx="271">
                  <c:v>-0.43739800000000001</c:v>
                </c:pt>
                <c:pt idx="272">
                  <c:v>-0.37226199999999998</c:v>
                </c:pt>
                <c:pt idx="273">
                  <c:v>-0.38697300000000001</c:v>
                </c:pt>
                <c:pt idx="274">
                  <c:v>-0.427402</c:v>
                </c:pt>
                <c:pt idx="275">
                  <c:v>-0.44420599999999999</c:v>
                </c:pt>
                <c:pt idx="276">
                  <c:v>-0.36718699999999999</c:v>
                </c:pt>
                <c:pt idx="277">
                  <c:v>-0.36968000000000001</c:v>
                </c:pt>
                <c:pt idx="278">
                  <c:v>-0.45454499999999998</c:v>
                </c:pt>
                <c:pt idx="279">
                  <c:v>-0.53018299999999996</c:v>
                </c:pt>
                <c:pt idx="280">
                  <c:v>-0.51790599999999998</c:v>
                </c:pt>
                <c:pt idx="281">
                  <c:v>-0.50993299999999997</c:v>
                </c:pt>
                <c:pt idx="282">
                  <c:v>-0.49140800000000001</c:v>
                </c:pt>
                <c:pt idx="283">
                  <c:v>-0.51162700000000005</c:v>
                </c:pt>
                <c:pt idx="284">
                  <c:v>-0.522088</c:v>
                </c:pt>
                <c:pt idx="285">
                  <c:v>-0.53333299999999995</c:v>
                </c:pt>
                <c:pt idx="286">
                  <c:v>-0.44811299999999998</c:v>
                </c:pt>
                <c:pt idx="287">
                  <c:v>-0.50261699999999998</c:v>
                </c:pt>
                <c:pt idx="288">
                  <c:v>-0.49411699999999997</c:v>
                </c:pt>
                <c:pt idx="289">
                  <c:v>-0.44303700000000001</c:v>
                </c:pt>
                <c:pt idx="290">
                  <c:v>-0.350746</c:v>
                </c:pt>
                <c:pt idx="291">
                  <c:v>-0.28225800000000001</c:v>
                </c:pt>
                <c:pt idx="292">
                  <c:v>-0.36296200000000001</c:v>
                </c:pt>
                <c:pt idx="293">
                  <c:v>-0.421875</c:v>
                </c:pt>
                <c:pt idx="294">
                  <c:v>-0.29411700000000002</c:v>
                </c:pt>
                <c:pt idx="295">
                  <c:v>-0.33636300000000002</c:v>
                </c:pt>
                <c:pt idx="296">
                  <c:v>-0.43298900000000001</c:v>
                </c:pt>
                <c:pt idx="297">
                  <c:v>-0.47422599999999998</c:v>
                </c:pt>
                <c:pt idx="298">
                  <c:v>-0.53846099999999997</c:v>
                </c:pt>
                <c:pt idx="299">
                  <c:v>-0.556701</c:v>
                </c:pt>
                <c:pt idx="300">
                  <c:v>-0.51807199999999998</c:v>
                </c:pt>
                <c:pt idx="301">
                  <c:v>-0.57499999999999996</c:v>
                </c:pt>
                <c:pt idx="302">
                  <c:v>-0.49367</c:v>
                </c:pt>
                <c:pt idx="303">
                  <c:v>-0.36666599999999999</c:v>
                </c:pt>
                <c:pt idx="304">
                  <c:v>-0.30769200000000002</c:v>
                </c:pt>
                <c:pt idx="305">
                  <c:v>-0.17777699999999999</c:v>
                </c:pt>
                <c:pt idx="306">
                  <c:v>-0.274509</c:v>
                </c:pt>
                <c:pt idx="307">
                  <c:v>-0.20930199999999999</c:v>
                </c:pt>
                <c:pt idx="308">
                  <c:v>-0.35416599999999998</c:v>
                </c:pt>
                <c:pt idx="309">
                  <c:v>-0.36363600000000001</c:v>
                </c:pt>
                <c:pt idx="310">
                  <c:v>-0.31707299999999999</c:v>
                </c:pt>
                <c:pt idx="311">
                  <c:v>-0.21052599999999999</c:v>
                </c:pt>
                <c:pt idx="312">
                  <c:v>-0.22500000000000001</c:v>
                </c:pt>
                <c:pt idx="313">
                  <c:v>-0.238095</c:v>
                </c:pt>
                <c:pt idx="314">
                  <c:v>5.8823E-2</c:v>
                </c:pt>
                <c:pt idx="315">
                  <c:v>-0.119047</c:v>
                </c:pt>
                <c:pt idx="316">
                  <c:v>0</c:v>
                </c:pt>
                <c:pt idx="317">
                  <c:v>6.0606E-2</c:v>
                </c:pt>
                <c:pt idx="318">
                  <c:v>0.15151500000000001</c:v>
                </c:pt>
                <c:pt idx="319">
                  <c:v>0.114285</c:v>
                </c:pt>
                <c:pt idx="320">
                  <c:v>-7.3169999999999999E-2</c:v>
                </c:pt>
                <c:pt idx="321">
                  <c:v>0.189189</c:v>
                </c:pt>
                <c:pt idx="322">
                  <c:v>0.11627899999999999</c:v>
                </c:pt>
                <c:pt idx="323">
                  <c:v>0.25641000000000003</c:v>
                </c:pt>
                <c:pt idx="324">
                  <c:v>0.11627899999999999</c:v>
                </c:pt>
                <c:pt idx="325">
                  <c:v>4.7619000000000002E-2</c:v>
                </c:pt>
                <c:pt idx="326">
                  <c:v>9.5238000000000003E-2</c:v>
                </c:pt>
                <c:pt idx="327">
                  <c:v>-3.7734999999999998E-2</c:v>
                </c:pt>
                <c:pt idx="328">
                  <c:v>4.0815999999999998E-2</c:v>
                </c:pt>
                <c:pt idx="329">
                  <c:v>-9.0909000000000004E-2</c:v>
                </c:pt>
                <c:pt idx="330">
                  <c:v>-7.2727E-2</c:v>
                </c:pt>
                <c:pt idx="331">
                  <c:v>7.6923000000000005E-2</c:v>
                </c:pt>
                <c:pt idx="332">
                  <c:v>0.13999900000000001</c:v>
                </c:pt>
                <c:pt idx="333">
                  <c:v>5.5555E-2</c:v>
                </c:pt>
                <c:pt idx="334">
                  <c:v>-0.19696900000000001</c:v>
                </c:pt>
                <c:pt idx="335">
                  <c:v>-0.10909000000000001</c:v>
                </c:pt>
                <c:pt idx="336">
                  <c:v>-0.137931</c:v>
                </c:pt>
                <c:pt idx="337">
                  <c:v>-0.12903200000000001</c:v>
                </c:pt>
                <c:pt idx="338">
                  <c:v>-0.213114</c:v>
                </c:pt>
                <c:pt idx="339">
                  <c:v>-0.15873000000000001</c:v>
                </c:pt>
                <c:pt idx="340">
                  <c:v>-0.13114700000000001</c:v>
                </c:pt>
                <c:pt idx="341">
                  <c:v>-0.203124</c:v>
                </c:pt>
                <c:pt idx="342">
                  <c:v>-5.5555E-2</c:v>
                </c:pt>
                <c:pt idx="343">
                  <c:v>-0.12903200000000001</c:v>
                </c:pt>
                <c:pt idx="344">
                  <c:v>-0.15254200000000001</c:v>
                </c:pt>
                <c:pt idx="345">
                  <c:v>-0.137931</c:v>
                </c:pt>
                <c:pt idx="346">
                  <c:v>-0.20338899999999999</c:v>
                </c:pt>
                <c:pt idx="347">
                  <c:v>-0.10909000000000001</c:v>
                </c:pt>
                <c:pt idx="348">
                  <c:v>-0.16128999999999999</c:v>
                </c:pt>
                <c:pt idx="349">
                  <c:v>-1.6948999999999999E-2</c:v>
                </c:pt>
                <c:pt idx="350">
                  <c:v>-6.4516000000000004E-2</c:v>
                </c:pt>
                <c:pt idx="351">
                  <c:v>9.0909000000000004E-2</c:v>
                </c:pt>
                <c:pt idx="352">
                  <c:v>0.14035</c:v>
                </c:pt>
                <c:pt idx="353">
                  <c:v>0.25454500000000002</c:v>
                </c:pt>
                <c:pt idx="354">
                  <c:v>0.24074000000000001</c:v>
                </c:pt>
                <c:pt idx="355">
                  <c:v>-1.4492E-2</c:v>
                </c:pt>
                <c:pt idx="356">
                  <c:v>-0.10606</c:v>
                </c:pt>
                <c:pt idx="357">
                  <c:v>-8.8234999999999994E-2</c:v>
                </c:pt>
                <c:pt idx="358">
                  <c:v>-1.4285000000000001E-2</c:v>
                </c:pt>
                <c:pt idx="359">
                  <c:v>-0.131578</c:v>
                </c:pt>
                <c:pt idx="360">
                  <c:v>-0.17333299999999999</c:v>
                </c:pt>
                <c:pt idx="361">
                  <c:v>-0.164383</c:v>
                </c:pt>
                <c:pt idx="362">
                  <c:v>-0.236842</c:v>
                </c:pt>
                <c:pt idx="363">
                  <c:v>-0.12857099999999999</c:v>
                </c:pt>
                <c:pt idx="364">
                  <c:v>-0.253164</c:v>
                </c:pt>
                <c:pt idx="365">
                  <c:v>-0.25</c:v>
                </c:pt>
                <c:pt idx="366">
                  <c:v>-0.164383</c:v>
                </c:pt>
                <c:pt idx="367">
                  <c:v>2.9850000000000002E-2</c:v>
                </c:pt>
                <c:pt idx="368">
                  <c:v>9.375E-2</c:v>
                </c:pt>
                <c:pt idx="369">
                  <c:v>0.115942</c:v>
                </c:pt>
                <c:pt idx="370">
                  <c:v>0.3</c:v>
                </c:pt>
                <c:pt idx="371">
                  <c:v>0.29729699999999998</c:v>
                </c:pt>
                <c:pt idx="372">
                  <c:v>0.44117600000000001</c:v>
                </c:pt>
                <c:pt idx="373">
                  <c:v>0.368421</c:v>
                </c:pt>
                <c:pt idx="374">
                  <c:v>0.36</c:v>
                </c:pt>
                <c:pt idx="375">
                  <c:v>0.349999</c:v>
                </c:pt>
                <c:pt idx="376">
                  <c:v>0.117647</c:v>
                </c:pt>
                <c:pt idx="377">
                  <c:v>0.14285700000000001</c:v>
                </c:pt>
                <c:pt idx="378">
                  <c:v>0.15929199999999999</c:v>
                </c:pt>
                <c:pt idx="379">
                  <c:v>0.14782600000000001</c:v>
                </c:pt>
                <c:pt idx="380">
                  <c:v>0.14529900000000001</c:v>
                </c:pt>
                <c:pt idx="381">
                  <c:v>0.33333299999999999</c:v>
                </c:pt>
                <c:pt idx="382">
                  <c:v>0.21774099999999999</c:v>
                </c:pt>
                <c:pt idx="383">
                  <c:v>2.0688999999999999E-2</c:v>
                </c:pt>
                <c:pt idx="384">
                  <c:v>0</c:v>
                </c:pt>
                <c:pt idx="385">
                  <c:v>-6.0401999999999997E-2</c:v>
                </c:pt>
                <c:pt idx="386">
                  <c:v>-6.6225000000000006E-2</c:v>
                </c:pt>
                <c:pt idx="387">
                  <c:v>-0.13939299999999999</c:v>
                </c:pt>
                <c:pt idx="388">
                  <c:v>-0.15950900000000001</c:v>
                </c:pt>
                <c:pt idx="389">
                  <c:v>-0.10975600000000001</c:v>
                </c:pt>
                <c:pt idx="390">
                  <c:v>-0.15340899999999999</c:v>
                </c:pt>
                <c:pt idx="391">
                  <c:v>-4.8483999999999999E-2</c:v>
                </c:pt>
                <c:pt idx="392">
                  <c:v>-3.1446000000000002E-2</c:v>
                </c:pt>
                <c:pt idx="393">
                  <c:v>6.2111E-2</c:v>
                </c:pt>
                <c:pt idx="394">
                  <c:v>8.3333000000000004E-2</c:v>
                </c:pt>
                <c:pt idx="395">
                  <c:v>0.191082</c:v>
                </c:pt>
                <c:pt idx="396">
                  <c:v>0.191358</c:v>
                </c:pt>
                <c:pt idx="397">
                  <c:v>9.7296999999999995E-2</c:v>
                </c:pt>
                <c:pt idx="398">
                  <c:v>0.33333299999999999</c:v>
                </c:pt>
                <c:pt idx="399">
                  <c:v>0.35789399999999999</c:v>
                </c:pt>
                <c:pt idx="400">
                  <c:v>0.36138599999999999</c:v>
                </c:pt>
                <c:pt idx="401">
                  <c:v>0.33333299999999999</c:v>
                </c:pt>
                <c:pt idx="402">
                  <c:v>0.42253499999999999</c:v>
                </c:pt>
                <c:pt idx="403">
                  <c:v>0.40182600000000002</c:v>
                </c:pt>
                <c:pt idx="404">
                  <c:v>0.182835</c:v>
                </c:pt>
                <c:pt idx="405">
                  <c:v>0.26545400000000002</c:v>
                </c:pt>
                <c:pt idx="406">
                  <c:v>0.183279</c:v>
                </c:pt>
                <c:pt idx="407">
                  <c:v>0.20952299999999999</c:v>
                </c:pt>
                <c:pt idx="408">
                  <c:v>0.197604</c:v>
                </c:pt>
                <c:pt idx="409">
                  <c:v>0.30030000000000001</c:v>
                </c:pt>
                <c:pt idx="410">
                  <c:v>0.37317699999999998</c:v>
                </c:pt>
                <c:pt idx="411">
                  <c:v>0.18401899999999999</c:v>
                </c:pt>
                <c:pt idx="412">
                  <c:v>0.29683599999999999</c:v>
                </c:pt>
                <c:pt idx="413">
                  <c:v>0.42626700000000001</c:v>
                </c:pt>
                <c:pt idx="414">
                  <c:v>0.56136299999999995</c:v>
                </c:pt>
                <c:pt idx="415">
                  <c:v>0.575569</c:v>
                </c:pt>
                <c:pt idx="416">
                  <c:v>0.67065799999999998</c:v>
                </c:pt>
                <c:pt idx="417">
                  <c:v>0.678095</c:v>
                </c:pt>
                <c:pt idx="418">
                  <c:v>0.48489599999999999</c:v>
                </c:pt>
                <c:pt idx="419">
                  <c:v>0.49266799999999999</c:v>
                </c:pt>
                <c:pt idx="420">
                  <c:v>0.50863199999999997</c:v>
                </c:pt>
                <c:pt idx="421">
                  <c:v>0.52073100000000005</c:v>
                </c:pt>
                <c:pt idx="422">
                  <c:v>0.394565</c:v>
                </c:pt>
                <c:pt idx="423">
                  <c:v>0.47312900000000002</c:v>
                </c:pt>
                <c:pt idx="424">
                  <c:v>0.49190200000000001</c:v>
                </c:pt>
                <c:pt idx="425">
                  <c:v>0.36355700000000002</c:v>
                </c:pt>
                <c:pt idx="426">
                  <c:v>0.404669</c:v>
                </c:pt>
                <c:pt idx="427">
                  <c:v>0.40984700000000002</c:v>
                </c:pt>
                <c:pt idx="428">
                  <c:v>0.47881299999999999</c:v>
                </c:pt>
                <c:pt idx="429">
                  <c:v>0.48619099999999998</c:v>
                </c:pt>
                <c:pt idx="430">
                  <c:v>0.51450099999999999</c:v>
                </c:pt>
                <c:pt idx="431">
                  <c:v>0.48102</c:v>
                </c:pt>
                <c:pt idx="432">
                  <c:v>0.26712599999999997</c:v>
                </c:pt>
                <c:pt idx="433">
                  <c:v>0.20460700000000001</c:v>
                </c:pt>
                <c:pt idx="434">
                  <c:v>0.20564299999999999</c:v>
                </c:pt>
                <c:pt idx="435">
                  <c:v>0.17358000000000001</c:v>
                </c:pt>
                <c:pt idx="436">
                  <c:v>0.127802</c:v>
                </c:pt>
                <c:pt idx="437">
                  <c:v>0.192551</c:v>
                </c:pt>
                <c:pt idx="438">
                  <c:v>0.18756700000000001</c:v>
                </c:pt>
                <c:pt idx="439">
                  <c:v>8.0526E-2</c:v>
                </c:pt>
                <c:pt idx="440">
                  <c:v>0.11954099999999999</c:v>
                </c:pt>
                <c:pt idx="441">
                  <c:v>0.12734400000000001</c:v>
                </c:pt>
                <c:pt idx="442">
                  <c:v>9.2455999999999997E-2</c:v>
                </c:pt>
                <c:pt idx="443">
                  <c:v>8.8944999999999996E-2</c:v>
                </c:pt>
                <c:pt idx="444">
                  <c:v>0.13043399999999999</c:v>
                </c:pt>
                <c:pt idx="445">
                  <c:v>0.139846</c:v>
                </c:pt>
                <c:pt idx="446">
                  <c:v>4.0134000000000003E-2</c:v>
                </c:pt>
                <c:pt idx="447">
                  <c:v>2.8211E-2</c:v>
                </c:pt>
                <c:pt idx="448">
                  <c:v>7.1767999999999998E-2</c:v>
                </c:pt>
                <c:pt idx="449">
                  <c:v>9.3507000000000007E-2</c:v>
                </c:pt>
                <c:pt idx="450">
                  <c:v>5.4540999999999999E-2</c:v>
                </c:pt>
                <c:pt idx="451">
                  <c:v>8.4596000000000005E-2</c:v>
                </c:pt>
                <c:pt idx="452">
                  <c:v>6.4356999999999998E-2</c:v>
                </c:pt>
                <c:pt idx="453">
                  <c:v>-4.4781000000000001E-2</c:v>
                </c:pt>
                <c:pt idx="454">
                  <c:v>-2.6813E-2</c:v>
                </c:pt>
                <c:pt idx="455">
                  <c:v>-4.7112000000000001E-2</c:v>
                </c:pt>
                <c:pt idx="456">
                  <c:v>-9.4641000000000003E-2</c:v>
                </c:pt>
                <c:pt idx="457">
                  <c:v>-0.106947</c:v>
                </c:pt>
                <c:pt idx="458">
                  <c:v>-0.10104100000000001</c:v>
                </c:pt>
                <c:pt idx="459">
                  <c:v>-0.11711000000000001</c:v>
                </c:pt>
                <c:pt idx="460">
                  <c:v>-0.18885099999999999</c:v>
                </c:pt>
                <c:pt idx="461">
                  <c:v>-0.198272</c:v>
                </c:pt>
                <c:pt idx="462">
                  <c:v>-0.20355500000000001</c:v>
                </c:pt>
                <c:pt idx="463">
                  <c:v>-0.21718000000000001</c:v>
                </c:pt>
                <c:pt idx="464">
                  <c:v>-0.24126400000000001</c:v>
                </c:pt>
                <c:pt idx="465">
                  <c:v>-0.191556</c:v>
                </c:pt>
                <c:pt idx="466">
                  <c:v>-0.194496</c:v>
                </c:pt>
                <c:pt idx="467">
                  <c:v>-0.25822600000000001</c:v>
                </c:pt>
                <c:pt idx="468">
                  <c:v>-0.23085600000000001</c:v>
                </c:pt>
                <c:pt idx="469">
                  <c:v>-0.23674100000000001</c:v>
                </c:pt>
                <c:pt idx="470">
                  <c:v>-0.25209399999999998</c:v>
                </c:pt>
                <c:pt idx="471">
                  <c:v>-0.25881599999999999</c:v>
                </c:pt>
                <c:pt idx="472">
                  <c:v>-0.25280000000000002</c:v>
                </c:pt>
                <c:pt idx="473">
                  <c:v>-0.26116099999999998</c:v>
                </c:pt>
                <c:pt idx="474">
                  <c:v>-0.31324299999999999</c:v>
                </c:pt>
                <c:pt idx="475">
                  <c:v>-0.321994</c:v>
                </c:pt>
                <c:pt idx="476">
                  <c:v>-0.32808599999999999</c:v>
                </c:pt>
                <c:pt idx="477">
                  <c:v>-0.32863999999999999</c:v>
                </c:pt>
                <c:pt idx="478">
                  <c:v>-0.35217199999999999</c:v>
                </c:pt>
                <c:pt idx="479">
                  <c:v>-0.35723700000000003</c:v>
                </c:pt>
                <c:pt idx="480">
                  <c:v>-0.35338700000000001</c:v>
                </c:pt>
                <c:pt idx="481">
                  <c:v>-0.39882000000000001</c:v>
                </c:pt>
                <c:pt idx="482">
                  <c:v>-0.353607</c:v>
                </c:pt>
                <c:pt idx="483">
                  <c:v>-0.33372299999999999</c:v>
                </c:pt>
                <c:pt idx="484">
                  <c:v>-0.30446899999999999</c:v>
                </c:pt>
                <c:pt idx="485">
                  <c:v>-0.247866</c:v>
                </c:pt>
                <c:pt idx="486">
                  <c:v>-0.14977299999999999</c:v>
                </c:pt>
                <c:pt idx="487">
                  <c:v>-0.15352299999999999</c:v>
                </c:pt>
                <c:pt idx="488">
                  <c:v>-0.25320399999999998</c:v>
                </c:pt>
                <c:pt idx="489">
                  <c:v>-0.29236899999999999</c:v>
                </c:pt>
                <c:pt idx="490">
                  <c:v>-0.30391699999999999</c:v>
                </c:pt>
                <c:pt idx="491">
                  <c:v>-0.30802800000000002</c:v>
                </c:pt>
                <c:pt idx="492">
                  <c:v>-0.317272</c:v>
                </c:pt>
                <c:pt idx="493">
                  <c:v>-0.33031300000000002</c:v>
                </c:pt>
                <c:pt idx="494">
                  <c:v>-0.32985300000000001</c:v>
                </c:pt>
                <c:pt idx="495">
                  <c:v>-0.37338100000000002</c:v>
                </c:pt>
                <c:pt idx="496">
                  <c:v>-0.35752899999999999</c:v>
                </c:pt>
                <c:pt idx="497">
                  <c:v>-0.354684</c:v>
                </c:pt>
                <c:pt idx="498">
                  <c:v>-0.36877199999999999</c:v>
                </c:pt>
                <c:pt idx="499">
                  <c:v>-0.37179400000000001</c:v>
                </c:pt>
                <c:pt idx="500">
                  <c:v>-0.38039200000000001</c:v>
                </c:pt>
                <c:pt idx="501">
                  <c:v>-0.39953499999999997</c:v>
                </c:pt>
                <c:pt idx="502">
                  <c:v>-0.42217100000000002</c:v>
                </c:pt>
                <c:pt idx="503">
                  <c:v>-0.37217800000000001</c:v>
                </c:pt>
                <c:pt idx="504">
                  <c:v>-0.31924799999999998</c:v>
                </c:pt>
                <c:pt idx="505">
                  <c:v>-0.21273500000000001</c:v>
                </c:pt>
                <c:pt idx="506">
                  <c:v>-0.11408799999999999</c:v>
                </c:pt>
                <c:pt idx="507">
                  <c:v>5.4483999999999998E-2</c:v>
                </c:pt>
                <c:pt idx="508">
                  <c:v>0.18432699999999999</c:v>
                </c:pt>
                <c:pt idx="509">
                  <c:v>0.173628</c:v>
                </c:pt>
                <c:pt idx="510">
                  <c:v>0.27746100000000001</c:v>
                </c:pt>
                <c:pt idx="511">
                  <c:v>0.38323800000000002</c:v>
                </c:pt>
                <c:pt idx="512">
                  <c:v>0.40381600000000001</c:v>
                </c:pt>
                <c:pt idx="513">
                  <c:v>0.45965400000000001</c:v>
                </c:pt>
                <c:pt idx="514">
                  <c:v>0.56739499999999998</c:v>
                </c:pt>
                <c:pt idx="515">
                  <c:v>0.52693800000000002</c:v>
                </c:pt>
                <c:pt idx="516">
                  <c:v>0.358543</c:v>
                </c:pt>
                <c:pt idx="517">
                  <c:v>0.39315699999999998</c:v>
                </c:pt>
                <c:pt idx="518">
                  <c:v>0.43010199999999998</c:v>
                </c:pt>
                <c:pt idx="519">
                  <c:v>0.40213500000000002</c:v>
                </c:pt>
                <c:pt idx="520">
                  <c:v>0.32830300000000001</c:v>
                </c:pt>
                <c:pt idx="521">
                  <c:v>0.35682599999999998</c:v>
                </c:pt>
                <c:pt idx="522">
                  <c:v>0.318303</c:v>
                </c:pt>
                <c:pt idx="523">
                  <c:v>0.159719</c:v>
                </c:pt>
                <c:pt idx="524">
                  <c:v>0.12645400000000001</c:v>
                </c:pt>
                <c:pt idx="525">
                  <c:v>6.1626E-2</c:v>
                </c:pt>
                <c:pt idx="526">
                  <c:v>4.4188999999999999E-2</c:v>
                </c:pt>
                <c:pt idx="527">
                  <c:v>2.8985E-2</c:v>
                </c:pt>
                <c:pt idx="528">
                  <c:v>5.7919999999999999E-2</c:v>
                </c:pt>
                <c:pt idx="529">
                  <c:v>3.3678E-2</c:v>
                </c:pt>
                <c:pt idx="530">
                  <c:v>-8.3470000000000003E-2</c:v>
                </c:pt>
                <c:pt idx="531">
                  <c:v>-0.108525</c:v>
                </c:pt>
                <c:pt idx="532">
                  <c:v>-0.142597</c:v>
                </c:pt>
                <c:pt idx="533">
                  <c:v>-0.179678</c:v>
                </c:pt>
                <c:pt idx="534">
                  <c:v>-0.211422</c:v>
                </c:pt>
                <c:pt idx="535">
                  <c:v>-0.191464</c:v>
                </c:pt>
                <c:pt idx="536">
                  <c:v>-0.19720299999999999</c:v>
                </c:pt>
                <c:pt idx="537">
                  <c:v>-0.27799299999999999</c:v>
                </c:pt>
                <c:pt idx="538">
                  <c:v>-0.280974</c:v>
                </c:pt>
                <c:pt idx="539">
                  <c:v>-0.27830700000000003</c:v>
                </c:pt>
                <c:pt idx="540">
                  <c:v>-0.268482</c:v>
                </c:pt>
                <c:pt idx="541">
                  <c:v>-0.27049299999999998</c:v>
                </c:pt>
                <c:pt idx="542">
                  <c:v>-0.27992400000000001</c:v>
                </c:pt>
                <c:pt idx="543">
                  <c:v>-0.348665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ovych_JIP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41675189430600001</c:v>
                </c:pt>
                <c:pt idx="1">
                  <c:v>0.46180615315000001</c:v>
                </c:pt>
                <c:pt idx="2">
                  <c:v>0.48433328257199998</c:v>
                </c:pt>
                <c:pt idx="3">
                  <c:v>0.52938754141599997</c:v>
                </c:pt>
                <c:pt idx="4">
                  <c:v>0.51812397670499999</c:v>
                </c:pt>
                <c:pt idx="5">
                  <c:v>0.49559684728300002</c:v>
                </c:pt>
                <c:pt idx="6">
                  <c:v>0.54065110612699996</c:v>
                </c:pt>
                <c:pt idx="7">
                  <c:v>0.55191467083800005</c:v>
                </c:pt>
                <c:pt idx="8">
                  <c:v>0.57444180026000002</c:v>
                </c:pt>
                <c:pt idx="9">
                  <c:v>0.54065110612699996</c:v>
                </c:pt>
                <c:pt idx="10">
                  <c:v>0.55191467083800005</c:v>
                </c:pt>
                <c:pt idx="11">
                  <c:v>0.57444180026000002</c:v>
                </c:pt>
                <c:pt idx="12">
                  <c:v>0.61949605910299999</c:v>
                </c:pt>
                <c:pt idx="13">
                  <c:v>0.64202318852499995</c:v>
                </c:pt>
                <c:pt idx="14">
                  <c:v>0.73213170621300006</c:v>
                </c:pt>
                <c:pt idx="15">
                  <c:v>0.72086814150199996</c:v>
                </c:pt>
                <c:pt idx="16">
                  <c:v>0.84476735332300001</c:v>
                </c:pt>
                <c:pt idx="17">
                  <c:v>1.013720823988</c:v>
                </c:pt>
                <c:pt idx="18">
                  <c:v>1.2277285534960001</c:v>
                </c:pt>
                <c:pt idx="19">
                  <c:v>1.317837071184</c:v>
                </c:pt>
                <c:pt idx="20">
                  <c:v>1.599426188959</c:v>
                </c:pt>
                <c:pt idx="21">
                  <c:v>1.6782711419359999</c:v>
                </c:pt>
                <c:pt idx="22">
                  <c:v>1.8359610478890001</c:v>
                </c:pt>
                <c:pt idx="23">
                  <c:v>2.004914518554</c:v>
                </c:pt>
                <c:pt idx="24">
                  <c:v>1.9823873891320001</c:v>
                </c:pt>
                <c:pt idx="25">
                  <c:v>1.9936509538430001</c:v>
                </c:pt>
                <c:pt idx="26">
                  <c:v>2.1062866009530001</c:v>
                </c:pt>
                <c:pt idx="27">
                  <c:v>2.2076586833520002</c:v>
                </c:pt>
                <c:pt idx="28">
                  <c:v>2.2639765069069999</c:v>
                </c:pt>
                <c:pt idx="29">
                  <c:v>2.387875718728</c:v>
                </c:pt>
                <c:pt idx="30">
                  <c:v>2.5680927541030001</c:v>
                </c:pt>
                <c:pt idx="31">
                  <c:v>2.7370462247680001</c:v>
                </c:pt>
                <c:pt idx="32">
                  <c:v>3.052426036675</c:v>
                </c:pt>
                <c:pt idx="33">
                  <c:v>3.2326430720510002</c:v>
                </c:pt>
                <c:pt idx="34">
                  <c:v>3.3452787191610001</c:v>
                </c:pt>
                <c:pt idx="35">
                  <c:v>3.829612001733</c:v>
                </c:pt>
                <c:pt idx="36">
                  <c:v>4.2463638960400001</c:v>
                </c:pt>
                <c:pt idx="37">
                  <c:v>4.4491080608370002</c:v>
                </c:pt>
                <c:pt idx="38">
                  <c:v>4.9334413434090001</c:v>
                </c:pt>
                <c:pt idx="39">
                  <c:v>5.2938754141609996</c:v>
                </c:pt>
                <c:pt idx="40">
                  <c:v>5.4065110612709999</c:v>
                </c:pt>
                <c:pt idx="41">
                  <c:v>5.7894722614439997</c:v>
                </c:pt>
                <c:pt idx="42">
                  <c:v>5.9358986026869998</c:v>
                </c:pt>
                <c:pt idx="43">
                  <c:v>6.2174877204610004</c:v>
                </c:pt>
                <c:pt idx="44">
                  <c:v>6.5553946617910004</c:v>
                </c:pt>
                <c:pt idx="45">
                  <c:v>6.8595109089869997</c:v>
                </c:pt>
                <c:pt idx="46">
                  <c:v>6.7243481324549998</c:v>
                </c:pt>
                <c:pt idx="47">
                  <c:v>7.1974178503169997</c:v>
                </c:pt>
                <c:pt idx="48">
                  <c:v>7.4226891445360001</c:v>
                </c:pt>
                <c:pt idx="49">
                  <c:v>7.9746038153740004</c:v>
                </c:pt>
                <c:pt idx="50">
                  <c:v>8.6504176980329994</c:v>
                </c:pt>
                <c:pt idx="51">
                  <c:v>9.2586501924259998</c:v>
                </c:pt>
                <c:pt idx="52">
                  <c:v>9.5627664396229992</c:v>
                </c:pt>
                <c:pt idx="53">
                  <c:v>10.204789628148999</c:v>
                </c:pt>
                <c:pt idx="54">
                  <c:v>10.689122910721</c:v>
                </c:pt>
                <c:pt idx="55">
                  <c:v>11.691580169998</c:v>
                </c:pt>
                <c:pt idx="56">
                  <c:v>11.984432852484</c:v>
                </c:pt>
                <c:pt idx="57">
                  <c:v>11.804215817108</c:v>
                </c:pt>
                <c:pt idx="58">
                  <c:v>12.412448311501</c:v>
                </c:pt>
                <c:pt idx="59">
                  <c:v>12.637719605720999</c:v>
                </c:pt>
                <c:pt idx="60">
                  <c:v>13.08826219416</c:v>
                </c:pt>
                <c:pt idx="61">
                  <c:v>13.08826219416</c:v>
                </c:pt>
                <c:pt idx="62">
                  <c:v>12.941835852917</c:v>
                </c:pt>
                <c:pt idx="63">
                  <c:v>13.110789323582001</c:v>
                </c:pt>
                <c:pt idx="64">
                  <c:v>13.302269923669</c:v>
                </c:pt>
                <c:pt idx="65">
                  <c:v>12.86299089994</c:v>
                </c:pt>
                <c:pt idx="66">
                  <c:v>13.167107147136999</c:v>
                </c:pt>
                <c:pt idx="67">
                  <c:v>12.525083958611001</c:v>
                </c:pt>
                <c:pt idx="68">
                  <c:v>12.311076229102</c:v>
                </c:pt>
                <c:pt idx="69">
                  <c:v>11.781688687686</c:v>
                </c:pt>
                <c:pt idx="70">
                  <c:v>11.47757244049</c:v>
                </c:pt>
                <c:pt idx="71">
                  <c:v>11.038293416761</c:v>
                </c:pt>
                <c:pt idx="72">
                  <c:v>10.745440734276</c:v>
                </c:pt>
                <c:pt idx="73">
                  <c:v>10.125944675172001</c:v>
                </c:pt>
                <c:pt idx="74">
                  <c:v>9.9232005103740004</c:v>
                </c:pt>
                <c:pt idx="75">
                  <c:v>9.4050765336689999</c:v>
                </c:pt>
                <c:pt idx="76">
                  <c:v>9.2023323688709997</c:v>
                </c:pt>
                <c:pt idx="77">
                  <c:v>8.6053634391890004</c:v>
                </c:pt>
                <c:pt idx="78">
                  <c:v>8.5265184862119998</c:v>
                </c:pt>
                <c:pt idx="79">
                  <c:v>8.2336658037269999</c:v>
                </c:pt>
                <c:pt idx="80">
                  <c:v>8.0534487683510001</c:v>
                </c:pt>
                <c:pt idx="81">
                  <c:v>8.0872394624839998</c:v>
                </c:pt>
                <c:pt idx="82">
                  <c:v>8.2561929331490003</c:v>
                </c:pt>
                <c:pt idx="83">
                  <c:v>8.0309216389289997</c:v>
                </c:pt>
                <c:pt idx="84">
                  <c:v>7.8957588623969999</c:v>
                </c:pt>
                <c:pt idx="85">
                  <c:v>7.6479604387559998</c:v>
                </c:pt>
                <c:pt idx="86">
                  <c:v>7.3213170621370001</c:v>
                </c:pt>
                <c:pt idx="87">
                  <c:v>6.9608829913859998</c:v>
                </c:pt>
                <c:pt idx="88">
                  <c:v>6.8144566501429997</c:v>
                </c:pt>
                <c:pt idx="89">
                  <c:v>6.4652861441029996</c:v>
                </c:pt>
                <c:pt idx="90">
                  <c:v>6.3075962381490003</c:v>
                </c:pt>
                <c:pt idx="91">
                  <c:v>6.0485342497970001</c:v>
                </c:pt>
                <c:pt idx="92">
                  <c:v>6.0935885086399999</c:v>
                </c:pt>
                <c:pt idx="93">
                  <c:v>6.2174877204610004</c:v>
                </c:pt>
                <c:pt idx="94">
                  <c:v>6.2174877204610004</c:v>
                </c:pt>
                <c:pt idx="95">
                  <c:v>5.902107908554</c:v>
                </c:pt>
                <c:pt idx="96">
                  <c:v>6.0372706850859998</c:v>
                </c:pt>
                <c:pt idx="97">
                  <c:v>6.3301233675709998</c:v>
                </c:pt>
                <c:pt idx="98">
                  <c:v>6.5216039676579998</c:v>
                </c:pt>
                <c:pt idx="99">
                  <c:v>6.4089683205480004</c:v>
                </c:pt>
                <c:pt idx="100">
                  <c:v>6.5553946617910004</c:v>
                </c:pt>
                <c:pt idx="101">
                  <c:v>6.6229760500569999</c:v>
                </c:pt>
                <c:pt idx="102">
                  <c:v>6.972146556097</c:v>
                </c:pt>
                <c:pt idx="103">
                  <c:v>7.0397279443630003</c:v>
                </c:pt>
                <c:pt idx="104">
                  <c:v>6.7919295207210002</c:v>
                </c:pt>
                <c:pt idx="105">
                  <c:v>6.927092297253</c:v>
                </c:pt>
                <c:pt idx="106">
                  <c:v>7.2086814150279999</c:v>
                </c:pt>
                <c:pt idx="107">
                  <c:v>7.073518638496</c:v>
                </c:pt>
                <c:pt idx="108">
                  <c:v>7.1974178503169997</c:v>
                </c:pt>
                <c:pt idx="109">
                  <c:v>7.1523635914729997</c:v>
                </c:pt>
                <c:pt idx="110">
                  <c:v>7.2312085444500003</c:v>
                </c:pt>
                <c:pt idx="111">
                  <c:v>7.2762628032940002</c:v>
                </c:pt>
                <c:pt idx="112">
                  <c:v>7.5803790504900004</c:v>
                </c:pt>
                <c:pt idx="113">
                  <c:v>7.5240612269350002</c:v>
                </c:pt>
                <c:pt idx="114">
                  <c:v>7.5353247916460004</c:v>
                </c:pt>
                <c:pt idx="115">
                  <c:v>7.6141697446230001</c:v>
                </c:pt>
                <c:pt idx="116">
                  <c:v>7.8957588623969999</c:v>
                </c:pt>
                <c:pt idx="117">
                  <c:v>8.1998751095940001</c:v>
                </c:pt>
                <c:pt idx="118">
                  <c:v>8.7067355215879996</c:v>
                </c:pt>
                <c:pt idx="119">
                  <c:v>9.2248594982930001</c:v>
                </c:pt>
                <c:pt idx="120">
                  <c:v>9.5965571337560007</c:v>
                </c:pt>
                <c:pt idx="121">
                  <c:v>10.373743098813</c:v>
                </c:pt>
                <c:pt idx="122">
                  <c:v>10.531433004767001</c:v>
                </c:pt>
                <c:pt idx="123">
                  <c:v>10.418797357657001</c:v>
                </c:pt>
                <c:pt idx="124">
                  <c:v>10.790494993119999</c:v>
                </c:pt>
                <c:pt idx="125">
                  <c:v>11.117138369738001</c:v>
                </c:pt>
                <c:pt idx="126">
                  <c:v>11.094611240316</c:v>
                </c:pt>
                <c:pt idx="127">
                  <c:v>11.387463922802</c:v>
                </c:pt>
                <c:pt idx="128">
                  <c:v>11.105874805027</c:v>
                </c:pt>
                <c:pt idx="129">
                  <c:v>11.488836005201</c:v>
                </c:pt>
                <c:pt idx="130">
                  <c:v>11.916851464218</c:v>
                </c:pt>
                <c:pt idx="131">
                  <c:v>11.871797205374</c:v>
                </c:pt>
                <c:pt idx="132">
                  <c:v>11.691580169998</c:v>
                </c:pt>
                <c:pt idx="133">
                  <c:v>11.725370864130999</c:v>
                </c:pt>
                <c:pt idx="134">
                  <c:v>11.443781746357001</c:v>
                </c:pt>
                <c:pt idx="135">
                  <c:v>11.635262346443</c:v>
                </c:pt>
                <c:pt idx="136">
                  <c:v>11.578944522887999</c:v>
                </c:pt>
                <c:pt idx="137">
                  <c:v>11.432518181646</c:v>
                </c:pt>
                <c:pt idx="138">
                  <c:v>10.970712028495001</c:v>
                </c:pt>
                <c:pt idx="139">
                  <c:v>10.925657769651</c:v>
                </c:pt>
                <c:pt idx="140">
                  <c:v>10.666595781299</c:v>
                </c:pt>
                <c:pt idx="141">
                  <c:v>10.508905875345</c:v>
                </c:pt>
                <c:pt idx="142">
                  <c:v>10.182262498727001</c:v>
                </c:pt>
                <c:pt idx="143">
                  <c:v>10.148471804593999</c:v>
                </c:pt>
                <c:pt idx="144">
                  <c:v>9.900673380952</c:v>
                </c:pt>
                <c:pt idx="145">
                  <c:v>9.7880377338419997</c:v>
                </c:pt>
                <c:pt idx="146">
                  <c:v>9.6303478278890005</c:v>
                </c:pt>
                <c:pt idx="147">
                  <c:v>9.4163400983799992</c:v>
                </c:pt>
                <c:pt idx="148">
                  <c:v>9.2699137571369992</c:v>
                </c:pt>
                <c:pt idx="149">
                  <c:v>9.2586501924259998</c:v>
                </c:pt>
                <c:pt idx="150">
                  <c:v>9.2023323688709997</c:v>
                </c:pt>
                <c:pt idx="151">
                  <c:v>9.3938129689580006</c:v>
                </c:pt>
                <c:pt idx="152">
                  <c:v>9.5289757454899995</c:v>
                </c:pt>
                <c:pt idx="153">
                  <c:v>9.4726579219349993</c:v>
                </c:pt>
                <c:pt idx="154">
                  <c:v>9.7655106044199993</c:v>
                </c:pt>
                <c:pt idx="155">
                  <c:v>9.900673380952</c:v>
                </c:pt>
                <c:pt idx="156">
                  <c:v>10.092153981039001</c:v>
                </c:pt>
                <c:pt idx="157">
                  <c:v>9.9119369456629993</c:v>
                </c:pt>
                <c:pt idx="158">
                  <c:v>10.069626851617</c:v>
                </c:pt>
                <c:pt idx="159">
                  <c:v>10.45258805179</c:v>
                </c:pt>
                <c:pt idx="160">
                  <c:v>10.610277957744</c:v>
                </c:pt>
                <c:pt idx="161">
                  <c:v>10.565223698900001</c:v>
                </c:pt>
                <c:pt idx="162">
                  <c:v>10.925657769651</c:v>
                </c:pt>
                <c:pt idx="163">
                  <c:v>11.105874805027</c:v>
                </c:pt>
                <c:pt idx="164">
                  <c:v>11.195983322715</c:v>
                </c:pt>
                <c:pt idx="165">
                  <c:v>11.049556981472</c:v>
                </c:pt>
                <c:pt idx="166">
                  <c:v>10.993239157916999</c:v>
                </c:pt>
                <c:pt idx="167">
                  <c:v>11.162192628582</c:v>
                </c:pt>
                <c:pt idx="168">
                  <c:v>11.567680958177</c:v>
                </c:pt>
                <c:pt idx="169">
                  <c:v>11.792952252397001</c:v>
                </c:pt>
                <c:pt idx="170">
                  <c:v>11.792952252397001</c:v>
                </c:pt>
                <c:pt idx="171">
                  <c:v>12.311076229102</c:v>
                </c:pt>
                <c:pt idx="172">
                  <c:v>12.502556829189</c:v>
                </c:pt>
                <c:pt idx="173">
                  <c:v>12.62645604101</c:v>
                </c:pt>
                <c:pt idx="174">
                  <c:v>13.076998629448999</c:v>
                </c:pt>
                <c:pt idx="175">
                  <c:v>13.076998629448999</c:v>
                </c:pt>
                <c:pt idx="176">
                  <c:v>13.065735064738</c:v>
                </c:pt>
                <c:pt idx="177">
                  <c:v>13.572595476731999</c:v>
                </c:pt>
                <c:pt idx="178">
                  <c:v>13.369851311933999</c:v>
                </c:pt>
                <c:pt idx="179">
                  <c:v>13.966820241616</c:v>
                </c:pt>
                <c:pt idx="180">
                  <c:v>14.282200053524001</c:v>
                </c:pt>
                <c:pt idx="181">
                  <c:v>14.969277500894</c:v>
                </c:pt>
                <c:pt idx="182">
                  <c:v>15.408556524622</c:v>
                </c:pt>
                <c:pt idx="183">
                  <c:v>16.028052583726002</c:v>
                </c:pt>
                <c:pt idx="184">
                  <c:v>16.129424666125001</c:v>
                </c:pt>
                <c:pt idx="185">
                  <c:v>16.782711419361998</c:v>
                </c:pt>
                <c:pt idx="186">
                  <c:v>16.557440125142001</c:v>
                </c:pt>
                <c:pt idx="187">
                  <c:v>16.670075772252002</c:v>
                </c:pt>
                <c:pt idx="188">
                  <c:v>16.444804478032001</c:v>
                </c:pt>
                <c:pt idx="189">
                  <c:v>16.478595172165001</c:v>
                </c:pt>
                <c:pt idx="190">
                  <c:v>16.568703689852999</c:v>
                </c:pt>
                <c:pt idx="191">
                  <c:v>16.512385866298001</c:v>
                </c:pt>
                <c:pt idx="192">
                  <c:v>16.523649431009002</c:v>
                </c:pt>
                <c:pt idx="193">
                  <c:v>16.579967254564</c:v>
                </c:pt>
                <c:pt idx="194">
                  <c:v>16.636285078118998</c:v>
                </c:pt>
                <c:pt idx="195">
                  <c:v>16.647548642829999</c:v>
                </c:pt>
                <c:pt idx="196">
                  <c:v>16.681339336962999</c:v>
                </c:pt>
                <c:pt idx="197">
                  <c:v>16.275851007368001</c:v>
                </c:pt>
                <c:pt idx="198">
                  <c:v>16.050579713148</c:v>
                </c:pt>
                <c:pt idx="199">
                  <c:v>15.397292959911001</c:v>
                </c:pt>
                <c:pt idx="200">
                  <c:v>15.295920877512</c:v>
                </c:pt>
                <c:pt idx="201">
                  <c:v>14.946750371472</c:v>
                </c:pt>
                <c:pt idx="202">
                  <c:v>14.496207783033</c:v>
                </c:pt>
                <c:pt idx="203">
                  <c:v>14.158300841702999</c:v>
                </c:pt>
                <c:pt idx="204">
                  <c:v>13.933029547484001</c:v>
                </c:pt>
                <c:pt idx="205">
                  <c:v>14.056928759304</c:v>
                </c:pt>
                <c:pt idx="206">
                  <c:v>13.933029547484001</c:v>
                </c:pt>
                <c:pt idx="207">
                  <c:v>13.583859041443</c:v>
                </c:pt>
                <c:pt idx="208">
                  <c:v>13.358587747223</c:v>
                </c:pt>
                <c:pt idx="209">
                  <c:v>12.986890111760999</c:v>
                </c:pt>
                <c:pt idx="210">
                  <c:v>12.502556829189</c:v>
                </c:pt>
                <c:pt idx="211">
                  <c:v>12.153386323148</c:v>
                </c:pt>
                <c:pt idx="212">
                  <c:v>11.533890264044</c:v>
                </c:pt>
                <c:pt idx="213">
                  <c:v>11.173456193292999</c:v>
                </c:pt>
                <c:pt idx="214">
                  <c:v>11.004502722628001</c:v>
                </c:pt>
                <c:pt idx="215">
                  <c:v>10.722913604854</c:v>
                </c:pt>
                <c:pt idx="216">
                  <c:v>9.9907818986399999</c:v>
                </c:pt>
                <c:pt idx="217">
                  <c:v>9.8443555573969999</c:v>
                </c:pt>
                <c:pt idx="218">
                  <c:v>9.6641385220220002</c:v>
                </c:pt>
                <c:pt idx="219">
                  <c:v>9.4388672278019996</c:v>
                </c:pt>
                <c:pt idx="220">
                  <c:v>9.3262315806919993</c:v>
                </c:pt>
                <c:pt idx="221">
                  <c:v>9.1910688041600004</c:v>
                </c:pt>
                <c:pt idx="222">
                  <c:v>8.9545339452300006</c:v>
                </c:pt>
                <c:pt idx="223">
                  <c:v>8.9320068158080002</c:v>
                </c:pt>
                <c:pt idx="224">
                  <c:v>8.5940998744779993</c:v>
                </c:pt>
                <c:pt idx="225">
                  <c:v>8.2449293684379992</c:v>
                </c:pt>
                <c:pt idx="226">
                  <c:v>7.8169139094210003</c:v>
                </c:pt>
                <c:pt idx="227">
                  <c:v>7.7831232152879997</c:v>
                </c:pt>
                <c:pt idx="228">
                  <c:v>7.264999238583</c:v>
                </c:pt>
                <c:pt idx="229">
                  <c:v>7.0397279443630003</c:v>
                </c:pt>
                <c:pt idx="230">
                  <c:v>7.0284643796520001</c:v>
                </c:pt>
                <c:pt idx="231">
                  <c:v>6.6792938736109999</c:v>
                </c:pt>
                <c:pt idx="232">
                  <c:v>6.3188598028599996</c:v>
                </c:pt>
                <c:pt idx="233">
                  <c:v>6.1724334616169996</c:v>
                </c:pt>
                <c:pt idx="234">
                  <c:v>5.8007358261549999</c:v>
                </c:pt>
                <c:pt idx="235">
                  <c:v>5.5867280966459996</c:v>
                </c:pt>
                <c:pt idx="236">
                  <c:v>5.5078831436689999</c:v>
                </c:pt>
                <c:pt idx="237">
                  <c:v>5.0460769905190004</c:v>
                </c:pt>
                <c:pt idx="238">
                  <c:v>4.8095421315889997</c:v>
                </c:pt>
                <c:pt idx="239">
                  <c:v>4.8433328257220003</c:v>
                </c:pt>
                <c:pt idx="240">
                  <c:v>4.5730072726579998</c:v>
                </c:pt>
                <c:pt idx="241">
                  <c:v>4.3589995431490003</c:v>
                </c:pt>
                <c:pt idx="242">
                  <c:v>4.2351003313289999</c:v>
                </c:pt>
                <c:pt idx="243">
                  <c:v>4.1112011195080003</c:v>
                </c:pt>
                <c:pt idx="244">
                  <c:v>3.9873019076870002</c:v>
                </c:pt>
                <c:pt idx="245">
                  <c:v>3.953511213554</c:v>
                </c:pt>
                <c:pt idx="246">
                  <c:v>3.6381314016470001</c:v>
                </c:pt>
                <c:pt idx="247">
                  <c:v>3.4691779309820001</c:v>
                </c:pt>
                <c:pt idx="248">
                  <c:v>3.3002244603170001</c:v>
                </c:pt>
                <c:pt idx="249">
                  <c:v>3.2551702014730002</c:v>
                </c:pt>
                <c:pt idx="250">
                  <c:v>3.1312709896520001</c:v>
                </c:pt>
                <c:pt idx="251">
                  <c:v>3.052426036675</c:v>
                </c:pt>
                <c:pt idx="252">
                  <c:v>2.973581083699</c:v>
                </c:pt>
                <c:pt idx="253">
                  <c:v>2.804627613034</c:v>
                </c:pt>
                <c:pt idx="254">
                  <c:v>2.7145190953460001</c:v>
                </c:pt>
                <c:pt idx="255">
                  <c:v>2.658201271791</c:v>
                </c:pt>
                <c:pt idx="256">
                  <c:v>2.5230384952590001</c:v>
                </c:pt>
                <c:pt idx="257">
                  <c:v>2.3090307657509999</c:v>
                </c:pt>
                <c:pt idx="258">
                  <c:v>2.1175501656639999</c:v>
                </c:pt>
                <c:pt idx="259">
                  <c:v>1.869751742022</c:v>
                </c:pt>
                <c:pt idx="260">
                  <c:v>1.790906789046</c:v>
                </c:pt>
                <c:pt idx="261">
                  <c:v>1.633216883092</c:v>
                </c:pt>
                <c:pt idx="262">
                  <c:v>1.4980541065599999</c:v>
                </c:pt>
                <c:pt idx="263">
                  <c:v>1.5205812359819999</c:v>
                </c:pt>
                <c:pt idx="264">
                  <c:v>1.430472718294</c:v>
                </c:pt>
                <c:pt idx="265">
                  <c:v>1.3516277653169999</c:v>
                </c:pt>
                <c:pt idx="266">
                  <c:v>1.182674294653</c:v>
                </c:pt>
                <c:pt idx="267">
                  <c:v>1.1038293416760001</c:v>
                </c:pt>
                <c:pt idx="268">
                  <c:v>1.0700386475429999</c:v>
                </c:pt>
                <c:pt idx="269">
                  <c:v>0.90108517687800005</c:v>
                </c:pt>
                <c:pt idx="270">
                  <c:v>0.75465883563500002</c:v>
                </c:pt>
                <c:pt idx="271">
                  <c:v>0.75465883563500002</c:v>
                </c:pt>
                <c:pt idx="272">
                  <c:v>0.72086814150199996</c:v>
                </c:pt>
                <c:pt idx="273">
                  <c:v>0.67581388265800002</c:v>
                </c:pt>
                <c:pt idx="274">
                  <c:v>0.58570536497100001</c:v>
                </c:pt>
                <c:pt idx="275">
                  <c:v>0.59696892968199999</c:v>
                </c:pt>
                <c:pt idx="276">
                  <c:v>0.63075962381399997</c:v>
                </c:pt>
                <c:pt idx="277">
                  <c:v>0.58570536497100001</c:v>
                </c:pt>
                <c:pt idx="278">
                  <c:v>0.51812397670499999</c:v>
                </c:pt>
                <c:pt idx="279">
                  <c:v>0.45054258843900002</c:v>
                </c:pt>
                <c:pt idx="280">
                  <c:v>0.47306971786099999</c:v>
                </c:pt>
                <c:pt idx="281">
                  <c:v>0.428015459017</c:v>
                </c:pt>
                <c:pt idx="282">
                  <c:v>0.36043407075099998</c:v>
                </c:pt>
                <c:pt idx="283">
                  <c:v>0.27032555306299999</c:v>
                </c:pt>
                <c:pt idx="284">
                  <c:v>0.304116247196</c:v>
                </c:pt>
                <c:pt idx="285">
                  <c:v>0.27032555306299999</c:v>
                </c:pt>
                <c:pt idx="286">
                  <c:v>0.23653485893000001</c:v>
                </c:pt>
                <c:pt idx="287">
                  <c:v>0.180217035375</c:v>
                </c:pt>
                <c:pt idx="288">
                  <c:v>0.16895347066399999</c:v>
                </c:pt>
                <c:pt idx="289">
                  <c:v>0.157689905953</c:v>
                </c:pt>
                <c:pt idx="290">
                  <c:v>0.202744164797</c:v>
                </c:pt>
                <c:pt idx="291">
                  <c:v>0.157689905953</c:v>
                </c:pt>
                <c:pt idx="292">
                  <c:v>0.180217035375</c:v>
                </c:pt>
                <c:pt idx="293">
                  <c:v>0.157689905953</c:v>
                </c:pt>
                <c:pt idx="294">
                  <c:v>0.14642634124199999</c:v>
                </c:pt>
                <c:pt idx="295">
                  <c:v>0.11263564710899999</c:v>
                </c:pt>
                <c:pt idx="296">
                  <c:v>0.101372082398</c:v>
                </c:pt>
                <c:pt idx="297">
                  <c:v>0.11263564710899999</c:v>
                </c:pt>
                <c:pt idx="298">
                  <c:v>0.101372082398</c:v>
                </c:pt>
                <c:pt idx="299">
                  <c:v>7.8844952975999999E-2</c:v>
                </c:pt>
                <c:pt idx="300">
                  <c:v>0.11263564710899999</c:v>
                </c:pt>
                <c:pt idx="301">
                  <c:v>0.14642634124199999</c:v>
                </c:pt>
                <c:pt idx="302">
                  <c:v>0.16895347066399999</c:v>
                </c:pt>
                <c:pt idx="303">
                  <c:v>0.180217035375</c:v>
                </c:pt>
                <c:pt idx="304">
                  <c:v>0.12389921181999999</c:v>
                </c:pt>
                <c:pt idx="305">
                  <c:v>0.12389921181999999</c:v>
                </c:pt>
                <c:pt idx="306">
                  <c:v>0.13516277653100001</c:v>
                </c:pt>
                <c:pt idx="307">
                  <c:v>0.12389921181999999</c:v>
                </c:pt>
                <c:pt idx="308">
                  <c:v>9.0108517686999998E-2</c:v>
                </c:pt>
                <c:pt idx="309">
                  <c:v>7.8844952975999999E-2</c:v>
                </c:pt>
                <c:pt idx="310">
                  <c:v>5.6317823554000002E-2</c:v>
                </c:pt>
                <c:pt idx="311">
                  <c:v>6.7581388265E-2</c:v>
                </c:pt>
                <c:pt idx="312">
                  <c:v>7.8844952975999999E-2</c:v>
                </c:pt>
                <c:pt idx="313">
                  <c:v>7.8844952975999999E-2</c:v>
                </c:pt>
                <c:pt idx="314">
                  <c:v>7.8844952975999999E-2</c:v>
                </c:pt>
                <c:pt idx="315">
                  <c:v>9.0108517686999998E-2</c:v>
                </c:pt>
                <c:pt idx="316">
                  <c:v>0.12389921181999999</c:v>
                </c:pt>
                <c:pt idx="317">
                  <c:v>0.12389921181999999</c:v>
                </c:pt>
                <c:pt idx="318">
                  <c:v>0.13516277653100001</c:v>
                </c:pt>
                <c:pt idx="319">
                  <c:v>0.13516277653100001</c:v>
                </c:pt>
                <c:pt idx="320">
                  <c:v>0.13516277653100001</c:v>
                </c:pt>
                <c:pt idx="321">
                  <c:v>0.13516277653100001</c:v>
                </c:pt>
                <c:pt idx="322">
                  <c:v>0.13516277653100001</c:v>
                </c:pt>
                <c:pt idx="323">
                  <c:v>0.12389921181999999</c:v>
                </c:pt>
                <c:pt idx="324">
                  <c:v>0.16895347066399999</c:v>
                </c:pt>
                <c:pt idx="325">
                  <c:v>0.157689905953</c:v>
                </c:pt>
                <c:pt idx="326">
                  <c:v>0.14642634124199999</c:v>
                </c:pt>
                <c:pt idx="327">
                  <c:v>0.14642634124199999</c:v>
                </c:pt>
                <c:pt idx="328">
                  <c:v>0.13516277653100001</c:v>
                </c:pt>
                <c:pt idx="329">
                  <c:v>0.13516277653100001</c:v>
                </c:pt>
                <c:pt idx="330">
                  <c:v>0.11263564710899999</c:v>
                </c:pt>
                <c:pt idx="331">
                  <c:v>0.101372082398</c:v>
                </c:pt>
                <c:pt idx="332">
                  <c:v>0.11263564710899999</c:v>
                </c:pt>
                <c:pt idx="333">
                  <c:v>0.13516277653100001</c:v>
                </c:pt>
                <c:pt idx="334">
                  <c:v>0.13516277653100001</c:v>
                </c:pt>
                <c:pt idx="335">
                  <c:v>0.14642634124199999</c:v>
                </c:pt>
                <c:pt idx="336">
                  <c:v>0.16895347066399999</c:v>
                </c:pt>
                <c:pt idx="337">
                  <c:v>0.16895347066399999</c:v>
                </c:pt>
                <c:pt idx="338">
                  <c:v>0.12389921181999999</c:v>
                </c:pt>
                <c:pt idx="339">
                  <c:v>0.13516277653100001</c:v>
                </c:pt>
                <c:pt idx="340">
                  <c:v>0.13516277653100001</c:v>
                </c:pt>
                <c:pt idx="341">
                  <c:v>0.157689905953</c:v>
                </c:pt>
                <c:pt idx="342">
                  <c:v>0.157689905953</c:v>
                </c:pt>
                <c:pt idx="343">
                  <c:v>0.157689905953</c:v>
                </c:pt>
                <c:pt idx="344">
                  <c:v>0.180217035375</c:v>
                </c:pt>
                <c:pt idx="345">
                  <c:v>0.202744164797</c:v>
                </c:pt>
                <c:pt idx="346">
                  <c:v>0.180217035375</c:v>
                </c:pt>
                <c:pt idx="347">
                  <c:v>0.180217035375</c:v>
                </c:pt>
                <c:pt idx="348">
                  <c:v>0.157689905953</c:v>
                </c:pt>
                <c:pt idx="349">
                  <c:v>0.16895347066399999</c:v>
                </c:pt>
                <c:pt idx="350">
                  <c:v>0.180217035375</c:v>
                </c:pt>
                <c:pt idx="351">
                  <c:v>0.19148060008600001</c:v>
                </c:pt>
                <c:pt idx="352">
                  <c:v>0.225271294219</c:v>
                </c:pt>
                <c:pt idx="353">
                  <c:v>0.25906198835200001</c:v>
                </c:pt>
                <c:pt idx="354">
                  <c:v>0.24779842364099999</c:v>
                </c:pt>
                <c:pt idx="355">
                  <c:v>0.24779842364099999</c:v>
                </c:pt>
                <c:pt idx="356">
                  <c:v>0.23653485893000001</c:v>
                </c:pt>
                <c:pt idx="357">
                  <c:v>0.21400772950800001</c:v>
                </c:pt>
                <c:pt idx="358">
                  <c:v>0.19148060008600001</c:v>
                </c:pt>
                <c:pt idx="359">
                  <c:v>0.14642634124199999</c:v>
                </c:pt>
                <c:pt idx="360">
                  <c:v>0.13516277653100001</c:v>
                </c:pt>
                <c:pt idx="361">
                  <c:v>0.13516277653100001</c:v>
                </c:pt>
                <c:pt idx="362">
                  <c:v>0.12389921181999999</c:v>
                </c:pt>
                <c:pt idx="363">
                  <c:v>0.101372082398</c:v>
                </c:pt>
                <c:pt idx="364">
                  <c:v>0.101372082398</c:v>
                </c:pt>
                <c:pt idx="365">
                  <c:v>0.11263564710899999</c:v>
                </c:pt>
                <c:pt idx="366">
                  <c:v>0.12389921181999999</c:v>
                </c:pt>
                <c:pt idx="367">
                  <c:v>0.14642634124199999</c:v>
                </c:pt>
                <c:pt idx="368">
                  <c:v>0.16895347066399999</c:v>
                </c:pt>
                <c:pt idx="369">
                  <c:v>0.19148060008600001</c:v>
                </c:pt>
                <c:pt idx="370">
                  <c:v>0.25906198835200001</c:v>
                </c:pt>
                <c:pt idx="371">
                  <c:v>0.28158911777399998</c:v>
                </c:pt>
                <c:pt idx="372">
                  <c:v>0.25906198835200001</c:v>
                </c:pt>
                <c:pt idx="373">
                  <c:v>0.25906198835200001</c:v>
                </c:pt>
                <c:pt idx="374">
                  <c:v>0.25906198835200001</c:v>
                </c:pt>
                <c:pt idx="375">
                  <c:v>0.27032555306299999</c:v>
                </c:pt>
                <c:pt idx="376">
                  <c:v>0.29285268248500002</c:v>
                </c:pt>
                <c:pt idx="377">
                  <c:v>0.31537981190699999</c:v>
                </c:pt>
                <c:pt idx="378">
                  <c:v>0.37169763546200002</c:v>
                </c:pt>
                <c:pt idx="379">
                  <c:v>0.39422476488399999</c:v>
                </c:pt>
                <c:pt idx="380">
                  <c:v>0.45054258843900002</c:v>
                </c:pt>
                <c:pt idx="381">
                  <c:v>0.43927902372799998</c:v>
                </c:pt>
                <c:pt idx="382">
                  <c:v>0.428015459017</c:v>
                </c:pt>
                <c:pt idx="383">
                  <c:v>0.428015459017</c:v>
                </c:pt>
                <c:pt idx="384">
                  <c:v>0.382961200173</c:v>
                </c:pt>
                <c:pt idx="385">
                  <c:v>0.33790694132900001</c:v>
                </c:pt>
                <c:pt idx="386">
                  <c:v>0.32664337661800003</c:v>
                </c:pt>
                <c:pt idx="387">
                  <c:v>0.31537981190699999</c:v>
                </c:pt>
                <c:pt idx="388">
                  <c:v>0.34917050603999999</c:v>
                </c:pt>
                <c:pt idx="389">
                  <c:v>0.39422476488399999</c:v>
                </c:pt>
                <c:pt idx="390">
                  <c:v>0.36043407075099998</c:v>
                </c:pt>
                <c:pt idx="391">
                  <c:v>0.34917050603999999</c:v>
                </c:pt>
                <c:pt idx="392">
                  <c:v>0.36043407075099998</c:v>
                </c:pt>
                <c:pt idx="393">
                  <c:v>0.382961200173</c:v>
                </c:pt>
                <c:pt idx="394">
                  <c:v>0.39422476488399999</c:v>
                </c:pt>
                <c:pt idx="395">
                  <c:v>0.37169763546200002</c:v>
                </c:pt>
                <c:pt idx="396">
                  <c:v>0.34917050603999999</c:v>
                </c:pt>
                <c:pt idx="397">
                  <c:v>0.43927902372799998</c:v>
                </c:pt>
                <c:pt idx="398">
                  <c:v>0.48433328257199998</c:v>
                </c:pt>
                <c:pt idx="399">
                  <c:v>0.61949605910299999</c:v>
                </c:pt>
                <c:pt idx="400">
                  <c:v>0.83350378861200003</c:v>
                </c:pt>
                <c:pt idx="401">
                  <c:v>0.79971309447899996</c:v>
                </c:pt>
                <c:pt idx="402">
                  <c:v>0.83350378861200003</c:v>
                </c:pt>
                <c:pt idx="403">
                  <c:v>0.87855804745599997</c:v>
                </c:pt>
                <c:pt idx="404">
                  <c:v>0.856030918034</c:v>
                </c:pt>
                <c:pt idx="405">
                  <c:v>1.0587750828319999</c:v>
                </c:pt>
                <c:pt idx="406">
                  <c:v>1.03624795341</c:v>
                </c:pt>
                <c:pt idx="407">
                  <c:v>0.856030918034</c:v>
                </c:pt>
                <c:pt idx="408">
                  <c:v>0.99119369456600004</c:v>
                </c:pt>
                <c:pt idx="409">
                  <c:v>1.047511518121</c:v>
                </c:pt>
                <c:pt idx="410">
                  <c:v>1.0813022122539999</c:v>
                </c:pt>
                <c:pt idx="411">
                  <c:v>1.1263564710980001</c:v>
                </c:pt>
                <c:pt idx="412">
                  <c:v>1.14888360052</c:v>
                </c:pt>
                <c:pt idx="413">
                  <c:v>1.193937859364</c:v>
                </c:pt>
                <c:pt idx="414">
                  <c:v>1.3628913300279999</c:v>
                </c:pt>
                <c:pt idx="415">
                  <c:v>1.419209153583</c:v>
                </c:pt>
                <c:pt idx="416">
                  <c:v>1.644480447803</c:v>
                </c:pt>
                <c:pt idx="417">
                  <c:v>1.802170353757</c:v>
                </c:pt>
                <c:pt idx="418">
                  <c:v>1.9260695655769999</c:v>
                </c:pt>
                <c:pt idx="419">
                  <c:v>1.903542436155</c:v>
                </c:pt>
                <c:pt idx="420">
                  <c:v>2.1062866009530001</c:v>
                </c:pt>
                <c:pt idx="421">
                  <c:v>2.365348589306</c:v>
                </c:pt>
                <c:pt idx="422">
                  <c:v>2.4216664128610002</c:v>
                </c:pt>
                <c:pt idx="423">
                  <c:v>2.5906198835250001</c:v>
                </c:pt>
                <c:pt idx="424">
                  <c:v>2.75957335419</c:v>
                </c:pt>
                <c:pt idx="425">
                  <c:v>3.0298989072540001</c:v>
                </c:pt>
                <c:pt idx="426">
                  <c:v>3.4804414956929999</c:v>
                </c:pt>
                <c:pt idx="427">
                  <c:v>3.6043407075139999</c:v>
                </c:pt>
                <c:pt idx="428">
                  <c:v>3.7732941781779998</c:v>
                </c:pt>
                <c:pt idx="429">
                  <c:v>4.0774104253749996</c:v>
                </c:pt>
                <c:pt idx="430">
                  <c:v>4.392790237282</c:v>
                </c:pt>
                <c:pt idx="431">
                  <c:v>4.5504801432360003</c:v>
                </c:pt>
                <c:pt idx="432">
                  <c:v>4.7644878727449997</c:v>
                </c:pt>
                <c:pt idx="433">
                  <c:v>5.1136583787849998</c:v>
                </c:pt>
                <c:pt idx="434">
                  <c:v>5.3952474965599997</c:v>
                </c:pt>
                <c:pt idx="435">
                  <c:v>5.5078831436689999</c:v>
                </c:pt>
                <c:pt idx="436">
                  <c:v>5.6768366143340003</c:v>
                </c:pt>
                <c:pt idx="437">
                  <c:v>5.6543094849119999</c:v>
                </c:pt>
                <c:pt idx="438">
                  <c:v>5.9696892968200004</c:v>
                </c:pt>
                <c:pt idx="439">
                  <c:v>6.0710613792180004</c:v>
                </c:pt>
                <c:pt idx="440">
                  <c:v>5.9922164262419999</c:v>
                </c:pt>
                <c:pt idx="441">
                  <c:v>6.0710613792180004</c:v>
                </c:pt>
                <c:pt idx="442">
                  <c:v>6.4089683205480004</c:v>
                </c:pt>
                <c:pt idx="443">
                  <c:v>6.78066595601</c:v>
                </c:pt>
                <c:pt idx="444">
                  <c:v>7.3100534974259999</c:v>
                </c:pt>
                <c:pt idx="445">
                  <c:v>7.4790069680910003</c:v>
                </c:pt>
                <c:pt idx="446">
                  <c:v>7.7493325211549999</c:v>
                </c:pt>
                <c:pt idx="447">
                  <c:v>8.1548208507499993</c:v>
                </c:pt>
                <c:pt idx="448">
                  <c:v>8.6729448274549998</c:v>
                </c:pt>
                <c:pt idx="449">
                  <c:v>8.8982161216750004</c:v>
                </c:pt>
                <c:pt idx="450">
                  <c:v>9.0784331570510002</c:v>
                </c:pt>
                <c:pt idx="451">
                  <c:v>9.1572781100270007</c:v>
                </c:pt>
                <c:pt idx="452">
                  <c:v>9.2023323688709997</c:v>
                </c:pt>
                <c:pt idx="453">
                  <c:v>8.9657975099409999</c:v>
                </c:pt>
                <c:pt idx="454">
                  <c:v>9.0559060276289998</c:v>
                </c:pt>
                <c:pt idx="455">
                  <c:v>8.9883246393630003</c:v>
                </c:pt>
                <c:pt idx="456">
                  <c:v>9.1347509806050002</c:v>
                </c:pt>
                <c:pt idx="457">
                  <c:v>8.9883246393630003</c:v>
                </c:pt>
                <c:pt idx="458">
                  <c:v>8.8193711686979999</c:v>
                </c:pt>
                <c:pt idx="459">
                  <c:v>8.6278905686110008</c:v>
                </c:pt>
                <c:pt idx="460">
                  <c:v>8.72926265101</c:v>
                </c:pt>
                <c:pt idx="461">
                  <c:v>8.4702006626579998</c:v>
                </c:pt>
                <c:pt idx="462">
                  <c:v>8.5377820509229991</c:v>
                </c:pt>
                <c:pt idx="463">
                  <c:v>8.3688285802590006</c:v>
                </c:pt>
                <c:pt idx="464">
                  <c:v>8.3575650155479995</c:v>
                </c:pt>
                <c:pt idx="465">
                  <c:v>8.3237743214149997</c:v>
                </c:pt>
                <c:pt idx="466">
                  <c:v>8.4026192743920003</c:v>
                </c:pt>
                <c:pt idx="467">
                  <c:v>8.3125107567040004</c:v>
                </c:pt>
                <c:pt idx="468">
                  <c:v>8.0985030271949991</c:v>
                </c:pt>
                <c:pt idx="469">
                  <c:v>7.6930146975999998</c:v>
                </c:pt>
                <c:pt idx="470">
                  <c:v>7.2762628032940002</c:v>
                </c:pt>
                <c:pt idx="471">
                  <c:v>6.9834101208080002</c:v>
                </c:pt>
                <c:pt idx="472">
                  <c:v>6.8144566501429997</c:v>
                </c:pt>
                <c:pt idx="473">
                  <c:v>6.4314954499699999</c:v>
                </c:pt>
                <c:pt idx="474">
                  <c:v>6.2738055440159997</c:v>
                </c:pt>
                <c:pt idx="475">
                  <c:v>6.6117124853459996</c:v>
                </c:pt>
                <c:pt idx="476">
                  <c:v>6.532867532369</c:v>
                </c:pt>
                <c:pt idx="477">
                  <c:v>6.4652861441029996</c:v>
                </c:pt>
                <c:pt idx="478">
                  <c:v>6.3864411911259999</c:v>
                </c:pt>
                <c:pt idx="479">
                  <c:v>5.8119993908660001</c:v>
                </c:pt>
                <c:pt idx="480">
                  <c:v>5.6655730496230001</c:v>
                </c:pt>
                <c:pt idx="481">
                  <c:v>5.6655730496230001</c:v>
                </c:pt>
                <c:pt idx="482">
                  <c:v>5.2826118494500003</c:v>
                </c:pt>
                <c:pt idx="483">
                  <c:v>5.1023948140739996</c:v>
                </c:pt>
                <c:pt idx="484">
                  <c:v>5.0460769905190004</c:v>
                </c:pt>
                <c:pt idx="485">
                  <c:v>4.8208056962999999</c:v>
                </c:pt>
                <c:pt idx="486">
                  <c:v>4.9221777786979999</c:v>
                </c:pt>
                <c:pt idx="487">
                  <c:v>4.9672320375419998</c:v>
                </c:pt>
                <c:pt idx="488">
                  <c:v>4.6743793550569999</c:v>
                </c:pt>
                <c:pt idx="489">
                  <c:v>4.2576274607500002</c:v>
                </c:pt>
                <c:pt idx="490">
                  <c:v>4.1224646842189996</c:v>
                </c:pt>
                <c:pt idx="491">
                  <c:v>3.8408755664440002</c:v>
                </c:pt>
                <c:pt idx="492">
                  <c:v>3.8859298252880001</c:v>
                </c:pt>
                <c:pt idx="493">
                  <c:v>3.7395034840450001</c:v>
                </c:pt>
                <c:pt idx="494">
                  <c:v>3.7169763546230001</c:v>
                </c:pt>
                <c:pt idx="495">
                  <c:v>3.5705500133810002</c:v>
                </c:pt>
                <c:pt idx="496">
                  <c:v>3.4579143662709999</c:v>
                </c:pt>
                <c:pt idx="497">
                  <c:v>3.3790694132939998</c:v>
                </c:pt>
                <c:pt idx="498">
                  <c:v>3.2551702014730002</c:v>
                </c:pt>
                <c:pt idx="499">
                  <c:v>2.928526824855</c:v>
                </c:pt>
                <c:pt idx="500">
                  <c:v>2.7370462247680001</c:v>
                </c:pt>
                <c:pt idx="501">
                  <c:v>2.4554571069929998</c:v>
                </c:pt>
                <c:pt idx="502">
                  <c:v>2.342821459884</c:v>
                </c:pt>
                <c:pt idx="503">
                  <c:v>2.2977672010400001</c:v>
                </c:pt>
                <c:pt idx="504">
                  <c:v>2.027441647976</c:v>
                </c:pt>
                <c:pt idx="505">
                  <c:v>2.049968777398</c:v>
                </c:pt>
                <c:pt idx="506">
                  <c:v>2.049968777398</c:v>
                </c:pt>
                <c:pt idx="507">
                  <c:v>2.1175501656639999</c:v>
                </c:pt>
                <c:pt idx="508">
                  <c:v>2.2301858127740002</c:v>
                </c:pt>
                <c:pt idx="509">
                  <c:v>2.4104028481499999</c:v>
                </c:pt>
                <c:pt idx="510">
                  <c:v>2.3202943304620001</c:v>
                </c:pt>
                <c:pt idx="511">
                  <c:v>2.4104028481499999</c:v>
                </c:pt>
                <c:pt idx="512">
                  <c:v>2.3202943304620001</c:v>
                </c:pt>
                <c:pt idx="513">
                  <c:v>2.5793563188139998</c:v>
                </c:pt>
                <c:pt idx="514">
                  <c:v>2.8722090012999999</c:v>
                </c:pt>
                <c:pt idx="515">
                  <c:v>2.8496818718779999</c:v>
                </c:pt>
                <c:pt idx="516">
                  <c:v>3.0636896013860002</c:v>
                </c:pt>
                <c:pt idx="517">
                  <c:v>3.2551702014730002</c:v>
                </c:pt>
                <c:pt idx="518">
                  <c:v>3.4015965427160002</c:v>
                </c:pt>
                <c:pt idx="519">
                  <c:v>3.660658531068</c:v>
                </c:pt>
                <c:pt idx="520">
                  <c:v>3.5930771428030002</c:v>
                </c:pt>
                <c:pt idx="521">
                  <c:v>3.5254957545369998</c:v>
                </c:pt>
                <c:pt idx="522">
                  <c:v>3.7732941781779998</c:v>
                </c:pt>
                <c:pt idx="523">
                  <c:v>3.7169763546230001</c:v>
                </c:pt>
                <c:pt idx="524">
                  <c:v>3.7958213075999998</c:v>
                </c:pt>
                <c:pt idx="525">
                  <c:v>3.8746662605769999</c:v>
                </c:pt>
                <c:pt idx="526">
                  <c:v>4.1337282489299998</c:v>
                </c:pt>
                <c:pt idx="527">
                  <c:v>4.3364724137269999</c:v>
                </c:pt>
                <c:pt idx="528">
                  <c:v>4.5054258843920003</c:v>
                </c:pt>
                <c:pt idx="529">
                  <c:v>4.3252088490159997</c:v>
                </c:pt>
                <c:pt idx="530">
                  <c:v>4.2351003313289999</c:v>
                </c:pt>
                <c:pt idx="531">
                  <c:v>4.2801545901719997</c:v>
                </c:pt>
                <c:pt idx="532">
                  <c:v>4.4265809314149998</c:v>
                </c:pt>
                <c:pt idx="533">
                  <c:v>4.1787825077739997</c:v>
                </c:pt>
                <c:pt idx="534">
                  <c:v>4.1224646842189996</c:v>
                </c:pt>
                <c:pt idx="535">
                  <c:v>3.953511213554</c:v>
                </c:pt>
                <c:pt idx="536">
                  <c:v>4.1337282489299998</c:v>
                </c:pt>
                <c:pt idx="537">
                  <c:v>4.0999375547970001</c:v>
                </c:pt>
                <c:pt idx="538">
                  <c:v>4.0548832959530001</c:v>
                </c:pt>
                <c:pt idx="539">
                  <c:v>3.807084872311</c:v>
                </c:pt>
                <c:pt idx="540">
                  <c:v>3.8634026958660002</c:v>
                </c:pt>
                <c:pt idx="541">
                  <c:v>3.7169763546230001</c:v>
                </c:pt>
                <c:pt idx="542">
                  <c:v>3.4241236721380002</c:v>
                </c:pt>
                <c:pt idx="543">
                  <c:v>2.838418307167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CR_testu_7dni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3.0074E-2</c:v>
                </c:pt>
                <c:pt idx="1">
                  <c:v>5.2435000000000002E-2</c:v>
                </c:pt>
                <c:pt idx="2">
                  <c:v>4.6292E-2</c:v>
                </c:pt>
                <c:pt idx="3">
                  <c:v>0.149538</c:v>
                </c:pt>
                <c:pt idx="4">
                  <c:v>0.188191</c:v>
                </c:pt>
                <c:pt idx="5">
                  <c:v>6.9886000000000004E-2</c:v>
                </c:pt>
                <c:pt idx="6">
                  <c:v>4.4394999999999997E-2</c:v>
                </c:pt>
                <c:pt idx="7">
                  <c:v>6.9422999999999999E-2</c:v>
                </c:pt>
                <c:pt idx="8">
                  <c:v>8.0935999999999994E-2</c:v>
                </c:pt>
                <c:pt idx="9">
                  <c:v>8.2905999999999994E-2</c:v>
                </c:pt>
                <c:pt idx="10">
                  <c:v>0.20478099999999999</c:v>
                </c:pt>
                <c:pt idx="11">
                  <c:v>0.31778800000000001</c:v>
                </c:pt>
                <c:pt idx="12">
                  <c:v>0.224858</c:v>
                </c:pt>
                <c:pt idx="13">
                  <c:v>0.19816500000000001</c:v>
                </c:pt>
                <c:pt idx="14">
                  <c:v>0.18851599999999999</c:v>
                </c:pt>
                <c:pt idx="15">
                  <c:v>0.18325900000000001</c:v>
                </c:pt>
                <c:pt idx="16">
                  <c:v>0.16411600000000001</c:v>
                </c:pt>
                <c:pt idx="17">
                  <c:v>0.19053800000000001</c:v>
                </c:pt>
                <c:pt idx="18">
                  <c:v>0.21329100000000001</c:v>
                </c:pt>
                <c:pt idx="19">
                  <c:v>0.108228</c:v>
                </c:pt>
                <c:pt idx="20">
                  <c:v>4.5204000000000001E-2</c:v>
                </c:pt>
                <c:pt idx="21">
                  <c:v>2.4198999999999998E-2</c:v>
                </c:pt>
                <c:pt idx="22">
                  <c:v>-2.2249000000000001E-2</c:v>
                </c:pt>
                <c:pt idx="23">
                  <c:v>-5.9804999999999997E-2</c:v>
                </c:pt>
                <c:pt idx="24">
                  <c:v>-2.1781999999999999E-2</c:v>
                </c:pt>
                <c:pt idx="25">
                  <c:v>-8.9999999999999998E-4</c:v>
                </c:pt>
                <c:pt idx="26">
                  <c:v>-8.4166000000000005E-2</c:v>
                </c:pt>
                <c:pt idx="27">
                  <c:v>-0.15998200000000001</c:v>
                </c:pt>
                <c:pt idx="28">
                  <c:v>-0.196852</c:v>
                </c:pt>
                <c:pt idx="29">
                  <c:v>-0.21845700000000001</c:v>
                </c:pt>
                <c:pt idx="30">
                  <c:v>-0.21137600000000001</c:v>
                </c:pt>
                <c:pt idx="31">
                  <c:v>-0.17585100000000001</c:v>
                </c:pt>
                <c:pt idx="32">
                  <c:v>-0.15041399999999999</c:v>
                </c:pt>
                <c:pt idx="33">
                  <c:v>-0.17799899999999999</c:v>
                </c:pt>
                <c:pt idx="34">
                  <c:v>-0.13431899999999999</c:v>
                </c:pt>
                <c:pt idx="35">
                  <c:v>-9.4222E-2</c:v>
                </c:pt>
                <c:pt idx="36">
                  <c:v>-8.3239999999999995E-2</c:v>
                </c:pt>
                <c:pt idx="37">
                  <c:v>-7.8410999999999995E-2</c:v>
                </c:pt>
                <c:pt idx="38">
                  <c:v>2.9659999999999999E-3</c:v>
                </c:pt>
                <c:pt idx="39">
                  <c:v>8.2562999999999998E-2</c:v>
                </c:pt>
                <c:pt idx="40">
                  <c:v>5.2729999999999999E-2</c:v>
                </c:pt>
                <c:pt idx="41">
                  <c:v>5.4650000000000002E-3</c:v>
                </c:pt>
                <c:pt idx="42">
                  <c:v>2.3514E-2</c:v>
                </c:pt>
                <c:pt idx="43">
                  <c:v>6.5471000000000001E-2</c:v>
                </c:pt>
                <c:pt idx="44">
                  <c:v>9.9923999999999999E-2</c:v>
                </c:pt>
                <c:pt idx="45">
                  <c:v>0.20727499999999999</c:v>
                </c:pt>
                <c:pt idx="46">
                  <c:v>0.30797799999999997</c:v>
                </c:pt>
                <c:pt idx="47">
                  <c:v>0.231625</c:v>
                </c:pt>
                <c:pt idx="48">
                  <c:v>0.18815200000000001</c:v>
                </c:pt>
                <c:pt idx="49">
                  <c:v>0.16217100000000001</c:v>
                </c:pt>
                <c:pt idx="50">
                  <c:v>0.15190300000000001</c:v>
                </c:pt>
                <c:pt idx="51">
                  <c:v>0.13319900000000001</c:v>
                </c:pt>
                <c:pt idx="52">
                  <c:v>0.15486800000000001</c:v>
                </c:pt>
                <c:pt idx="53">
                  <c:v>0.20454600000000001</c:v>
                </c:pt>
                <c:pt idx="54">
                  <c:v>0.12392400000000001</c:v>
                </c:pt>
                <c:pt idx="55">
                  <c:v>6.0368999999999999E-2</c:v>
                </c:pt>
                <c:pt idx="56">
                  <c:v>3.2682999999999997E-2</c:v>
                </c:pt>
                <c:pt idx="57">
                  <c:v>-2.7518000000000001E-2</c:v>
                </c:pt>
                <c:pt idx="58">
                  <c:v>-7.5171000000000002E-2</c:v>
                </c:pt>
                <c:pt idx="59">
                  <c:v>-7.1312E-2</c:v>
                </c:pt>
                <c:pt idx="60">
                  <c:v>-5.6516999999999998E-2</c:v>
                </c:pt>
                <c:pt idx="61">
                  <c:v>-0.11640300000000001</c:v>
                </c:pt>
                <c:pt idx="62">
                  <c:v>-0.170233</c:v>
                </c:pt>
                <c:pt idx="63">
                  <c:v>-0.182002</c:v>
                </c:pt>
                <c:pt idx="64">
                  <c:v>-0.158299</c:v>
                </c:pt>
                <c:pt idx="65">
                  <c:v>-0.15728900000000001</c:v>
                </c:pt>
                <c:pt idx="66">
                  <c:v>-0.15389800000000001</c:v>
                </c:pt>
                <c:pt idx="67">
                  <c:v>-0.134522</c:v>
                </c:pt>
                <c:pt idx="68">
                  <c:v>-0.18928200000000001</c:v>
                </c:pt>
                <c:pt idx="69">
                  <c:v>-0.21679000000000001</c:v>
                </c:pt>
                <c:pt idx="70">
                  <c:v>-0.231321</c:v>
                </c:pt>
                <c:pt idx="71">
                  <c:v>-0.27933200000000002</c:v>
                </c:pt>
                <c:pt idx="72">
                  <c:v>-0.31312099999999998</c:v>
                </c:pt>
                <c:pt idx="73">
                  <c:v>-0.295404</c:v>
                </c:pt>
                <c:pt idx="74">
                  <c:v>-0.27338000000000001</c:v>
                </c:pt>
                <c:pt idx="75">
                  <c:v>-0.31636700000000001</c:v>
                </c:pt>
                <c:pt idx="76">
                  <c:v>-0.34317300000000001</c:v>
                </c:pt>
                <c:pt idx="77">
                  <c:v>-0.39085799999999998</c:v>
                </c:pt>
                <c:pt idx="78">
                  <c:v>-0.38964100000000002</c:v>
                </c:pt>
                <c:pt idx="79">
                  <c:v>-0.378077</c:v>
                </c:pt>
                <c:pt idx="80">
                  <c:v>-0.33446199999999998</c:v>
                </c:pt>
                <c:pt idx="81">
                  <c:v>-0.28570699999999999</c:v>
                </c:pt>
                <c:pt idx="82">
                  <c:v>-0.33516600000000002</c:v>
                </c:pt>
                <c:pt idx="83">
                  <c:v>-0.30463299999999999</c:v>
                </c:pt>
                <c:pt idx="84">
                  <c:v>-0.220415</c:v>
                </c:pt>
                <c:pt idx="85">
                  <c:v>-0.20410400000000001</c:v>
                </c:pt>
                <c:pt idx="86">
                  <c:v>-0.21491199999999999</c:v>
                </c:pt>
                <c:pt idx="87">
                  <c:v>-0.14849999999999999</c:v>
                </c:pt>
                <c:pt idx="88">
                  <c:v>-0.11307399999999999</c:v>
                </c:pt>
                <c:pt idx="89">
                  <c:v>-0.195877</c:v>
                </c:pt>
                <c:pt idx="90">
                  <c:v>-0.197329</c:v>
                </c:pt>
                <c:pt idx="91">
                  <c:v>-0.22976199999999999</c:v>
                </c:pt>
                <c:pt idx="92">
                  <c:v>-0.21116299999999999</c:v>
                </c:pt>
                <c:pt idx="93">
                  <c:v>-0.194047</c:v>
                </c:pt>
                <c:pt idx="94">
                  <c:v>-0.12501100000000001</c:v>
                </c:pt>
                <c:pt idx="95">
                  <c:v>-6.9797999999999999E-2</c:v>
                </c:pt>
                <c:pt idx="96">
                  <c:v>-0.15792500000000001</c:v>
                </c:pt>
                <c:pt idx="97">
                  <c:v>-0.15118400000000001</c:v>
                </c:pt>
                <c:pt idx="98">
                  <c:v>-0.120729</c:v>
                </c:pt>
                <c:pt idx="99">
                  <c:v>-9.2433000000000001E-2</c:v>
                </c:pt>
                <c:pt idx="100">
                  <c:v>-7.4048000000000003E-2</c:v>
                </c:pt>
                <c:pt idx="101">
                  <c:v>3.2856000000000003E-2</c:v>
                </c:pt>
                <c:pt idx="102">
                  <c:v>9.7572999999999993E-2</c:v>
                </c:pt>
                <c:pt idx="103">
                  <c:v>-4.8040000000000001E-3</c:v>
                </c:pt>
                <c:pt idx="104">
                  <c:v>-7.6189999999999999E-3</c:v>
                </c:pt>
                <c:pt idx="105">
                  <c:v>1.6794E-2</c:v>
                </c:pt>
                <c:pt idx="106">
                  <c:v>4.3001999999999999E-2</c:v>
                </c:pt>
                <c:pt idx="107">
                  <c:v>2.9309000000000002E-2</c:v>
                </c:pt>
                <c:pt idx="108">
                  <c:v>0.105074</c:v>
                </c:pt>
                <c:pt idx="109">
                  <c:v>0.16555500000000001</c:v>
                </c:pt>
                <c:pt idx="110">
                  <c:v>5.2597999999999999E-2</c:v>
                </c:pt>
                <c:pt idx="111">
                  <c:v>1.7745E-2</c:v>
                </c:pt>
                <c:pt idx="112">
                  <c:v>6.0020000000000004E-3</c:v>
                </c:pt>
                <c:pt idx="113">
                  <c:v>2.2407E-2</c:v>
                </c:pt>
                <c:pt idx="114">
                  <c:v>-0.11683499999999999</c:v>
                </c:pt>
                <c:pt idx="115">
                  <c:v>-0.215027</c:v>
                </c:pt>
                <c:pt idx="116">
                  <c:v>-0.260967</c:v>
                </c:pt>
                <c:pt idx="117">
                  <c:v>-0.335509</c:v>
                </c:pt>
                <c:pt idx="118">
                  <c:v>-0.37013000000000001</c:v>
                </c:pt>
                <c:pt idx="119">
                  <c:v>-0.39663100000000001</c:v>
                </c:pt>
                <c:pt idx="120">
                  <c:v>-0.36564600000000003</c:v>
                </c:pt>
                <c:pt idx="121">
                  <c:v>-0.19953399999999999</c:v>
                </c:pt>
                <c:pt idx="122">
                  <c:v>-8.6241999999999999E-2</c:v>
                </c:pt>
                <c:pt idx="123">
                  <c:v>7.1130000000000004E-3</c:v>
                </c:pt>
                <c:pt idx="124">
                  <c:v>-6.1303999999999997E-2</c:v>
                </c:pt>
                <c:pt idx="125">
                  <c:v>-5.6641999999999998E-2</c:v>
                </c:pt>
                <c:pt idx="126">
                  <c:v>-7.8849999999999996E-3</c:v>
                </c:pt>
                <c:pt idx="127">
                  <c:v>9.7710000000000005E-2</c:v>
                </c:pt>
                <c:pt idx="128">
                  <c:v>0.19445799999999999</c:v>
                </c:pt>
                <c:pt idx="129">
                  <c:v>0.34700300000000001</c:v>
                </c:pt>
                <c:pt idx="130">
                  <c:v>0.33971299999999999</c:v>
                </c:pt>
                <c:pt idx="131">
                  <c:v>0.157583</c:v>
                </c:pt>
                <c:pt idx="132">
                  <c:v>6.6553000000000001E-2</c:v>
                </c:pt>
                <c:pt idx="133">
                  <c:v>1.6633999999999999E-2</c:v>
                </c:pt>
                <c:pt idx="134">
                  <c:v>-2.9933000000000001E-2</c:v>
                </c:pt>
                <c:pt idx="135">
                  <c:v>-0.112923</c:v>
                </c:pt>
                <c:pt idx="136">
                  <c:v>-0.19601199999999999</c:v>
                </c:pt>
                <c:pt idx="137">
                  <c:v>-0.20738799999999999</c:v>
                </c:pt>
                <c:pt idx="138">
                  <c:v>-0.276835</c:v>
                </c:pt>
                <c:pt idx="139">
                  <c:v>-0.29592099999999999</c:v>
                </c:pt>
                <c:pt idx="140">
                  <c:v>-0.28154800000000002</c:v>
                </c:pt>
                <c:pt idx="141">
                  <c:v>-0.27067200000000002</c:v>
                </c:pt>
                <c:pt idx="142">
                  <c:v>-0.268513</c:v>
                </c:pt>
                <c:pt idx="143">
                  <c:v>-0.19952600000000001</c:v>
                </c:pt>
                <c:pt idx="144">
                  <c:v>-0.16722999999999999</c:v>
                </c:pt>
                <c:pt idx="145">
                  <c:v>-0.23766300000000001</c:v>
                </c:pt>
                <c:pt idx="146">
                  <c:v>-0.24160300000000001</c:v>
                </c:pt>
                <c:pt idx="147">
                  <c:v>-0.225327</c:v>
                </c:pt>
                <c:pt idx="148">
                  <c:v>-0.18920300000000001</c:v>
                </c:pt>
                <c:pt idx="149">
                  <c:v>-0.18625900000000001</c:v>
                </c:pt>
                <c:pt idx="150">
                  <c:v>-0.106697</c:v>
                </c:pt>
                <c:pt idx="151">
                  <c:v>-5.7043000000000003E-2</c:v>
                </c:pt>
                <c:pt idx="152">
                  <c:v>-0.14738399999999999</c:v>
                </c:pt>
                <c:pt idx="153">
                  <c:v>-0.14457500000000001</c:v>
                </c:pt>
                <c:pt idx="154">
                  <c:v>-0.135959</c:v>
                </c:pt>
                <c:pt idx="155">
                  <c:v>-0.11581900000000001</c:v>
                </c:pt>
                <c:pt idx="156">
                  <c:v>-0.13384599999999999</c:v>
                </c:pt>
                <c:pt idx="157">
                  <c:v>-5.8125999999999997E-2</c:v>
                </c:pt>
                <c:pt idx="158">
                  <c:v>-2.0317000000000002E-2</c:v>
                </c:pt>
                <c:pt idx="159">
                  <c:v>-0.118465</c:v>
                </c:pt>
                <c:pt idx="160">
                  <c:v>-0.140349</c:v>
                </c:pt>
                <c:pt idx="161">
                  <c:v>-0.14354800000000001</c:v>
                </c:pt>
                <c:pt idx="162">
                  <c:v>-0.14110500000000001</c:v>
                </c:pt>
                <c:pt idx="163">
                  <c:v>-0.161555</c:v>
                </c:pt>
                <c:pt idx="164">
                  <c:v>-8.7868000000000002E-2</c:v>
                </c:pt>
                <c:pt idx="165">
                  <c:v>-4.5378000000000002E-2</c:v>
                </c:pt>
                <c:pt idx="166">
                  <c:v>-0.12972900000000001</c:v>
                </c:pt>
                <c:pt idx="167">
                  <c:v>-0.128936</c:v>
                </c:pt>
                <c:pt idx="168">
                  <c:v>-0.11285000000000001</c:v>
                </c:pt>
                <c:pt idx="169">
                  <c:v>-8.2314999999999999E-2</c:v>
                </c:pt>
                <c:pt idx="170">
                  <c:v>-6.8375000000000005E-2</c:v>
                </c:pt>
                <c:pt idx="171">
                  <c:v>4.0451000000000001E-2</c:v>
                </c:pt>
                <c:pt idx="172">
                  <c:v>9.1449000000000003E-2</c:v>
                </c:pt>
                <c:pt idx="173">
                  <c:v>-1.882E-2</c:v>
                </c:pt>
                <c:pt idx="174">
                  <c:v>-3.7929999999999998E-2</c:v>
                </c:pt>
                <c:pt idx="175">
                  <c:v>-1.4104999999999999E-2</c:v>
                </c:pt>
                <c:pt idx="176">
                  <c:v>1.276E-3</c:v>
                </c:pt>
                <c:pt idx="177">
                  <c:v>-1.4747E-2</c:v>
                </c:pt>
                <c:pt idx="178">
                  <c:v>6.2941999999999998E-2</c:v>
                </c:pt>
                <c:pt idx="179">
                  <c:v>0.119438</c:v>
                </c:pt>
                <c:pt idx="180">
                  <c:v>4.692E-3</c:v>
                </c:pt>
                <c:pt idx="181">
                  <c:v>-3.9164999999999998E-2</c:v>
                </c:pt>
                <c:pt idx="182">
                  <c:v>-4.6237E-2</c:v>
                </c:pt>
                <c:pt idx="183">
                  <c:v>-6.8538000000000002E-2</c:v>
                </c:pt>
                <c:pt idx="184">
                  <c:v>-9.5892000000000005E-2</c:v>
                </c:pt>
                <c:pt idx="185">
                  <c:v>-3.9574999999999999E-2</c:v>
                </c:pt>
                <c:pt idx="186">
                  <c:v>-1.5658999999999999E-2</c:v>
                </c:pt>
                <c:pt idx="187">
                  <c:v>-0.112275</c:v>
                </c:pt>
                <c:pt idx="188">
                  <c:v>-0.154806</c:v>
                </c:pt>
                <c:pt idx="189">
                  <c:v>-0.171738</c:v>
                </c:pt>
                <c:pt idx="190">
                  <c:v>-0.17141000000000001</c:v>
                </c:pt>
                <c:pt idx="191">
                  <c:v>-0.19669900000000001</c:v>
                </c:pt>
                <c:pt idx="192">
                  <c:v>-0.14702399999999999</c:v>
                </c:pt>
                <c:pt idx="193">
                  <c:v>-0.122711</c:v>
                </c:pt>
                <c:pt idx="194">
                  <c:v>-0.201852</c:v>
                </c:pt>
                <c:pt idx="195">
                  <c:v>-0.21385199999999999</c:v>
                </c:pt>
                <c:pt idx="196">
                  <c:v>-0.21347099999999999</c:v>
                </c:pt>
                <c:pt idx="197">
                  <c:v>-0.22109400000000001</c:v>
                </c:pt>
                <c:pt idx="198">
                  <c:v>-0.237542</c:v>
                </c:pt>
                <c:pt idx="199">
                  <c:v>-0.190169</c:v>
                </c:pt>
                <c:pt idx="200">
                  <c:v>-0.14426600000000001</c:v>
                </c:pt>
                <c:pt idx="201">
                  <c:v>-0.222664</c:v>
                </c:pt>
                <c:pt idx="202">
                  <c:v>-0.25199199999999999</c:v>
                </c:pt>
                <c:pt idx="203">
                  <c:v>-0.25007000000000001</c:v>
                </c:pt>
                <c:pt idx="204">
                  <c:v>-0.24385399999999999</c:v>
                </c:pt>
                <c:pt idx="205">
                  <c:v>-0.24687799999999999</c:v>
                </c:pt>
                <c:pt idx="206">
                  <c:v>-0.18976399999999999</c:v>
                </c:pt>
                <c:pt idx="207">
                  <c:v>-0.17225199999999999</c:v>
                </c:pt>
                <c:pt idx="208">
                  <c:v>-0.25880900000000001</c:v>
                </c:pt>
                <c:pt idx="209">
                  <c:v>-0.27067799999999997</c:v>
                </c:pt>
                <c:pt idx="210">
                  <c:v>-0.26084299999999999</c:v>
                </c:pt>
                <c:pt idx="211">
                  <c:v>-0.247915</c:v>
                </c:pt>
                <c:pt idx="212">
                  <c:v>-0.24829999999999999</c:v>
                </c:pt>
                <c:pt idx="213">
                  <c:v>-0.23657300000000001</c:v>
                </c:pt>
                <c:pt idx="214">
                  <c:v>-0.213506</c:v>
                </c:pt>
                <c:pt idx="215">
                  <c:v>-0.28738200000000003</c:v>
                </c:pt>
                <c:pt idx="216">
                  <c:v>-0.38637700000000003</c:v>
                </c:pt>
                <c:pt idx="217">
                  <c:v>-0.37913599999999997</c:v>
                </c:pt>
                <c:pt idx="218">
                  <c:v>-0.35760399999999998</c:v>
                </c:pt>
                <c:pt idx="219">
                  <c:v>-0.322243</c:v>
                </c:pt>
                <c:pt idx="220">
                  <c:v>-0.182453</c:v>
                </c:pt>
                <c:pt idx="221">
                  <c:v>-0.13170599999999999</c:v>
                </c:pt>
                <c:pt idx="222">
                  <c:v>-0.14795700000000001</c:v>
                </c:pt>
                <c:pt idx="223">
                  <c:v>-4.2908000000000002E-2</c:v>
                </c:pt>
                <c:pt idx="224">
                  <c:v>-4.4889999999999999E-2</c:v>
                </c:pt>
                <c:pt idx="225">
                  <c:v>-6.8567000000000003E-2</c:v>
                </c:pt>
                <c:pt idx="226">
                  <c:v>-8.9814000000000005E-2</c:v>
                </c:pt>
                <c:pt idx="227">
                  <c:v>-9.2440999999999995E-2</c:v>
                </c:pt>
                <c:pt idx="228">
                  <c:v>-8.5430000000000006E-2</c:v>
                </c:pt>
                <c:pt idx="229">
                  <c:v>-0.17436199999999999</c:v>
                </c:pt>
                <c:pt idx="230">
                  <c:v>-0.25914900000000002</c:v>
                </c:pt>
                <c:pt idx="231">
                  <c:v>-0.24965200000000001</c:v>
                </c:pt>
                <c:pt idx="232">
                  <c:v>-0.20905199999999999</c:v>
                </c:pt>
                <c:pt idx="233">
                  <c:v>-0.18692</c:v>
                </c:pt>
                <c:pt idx="234">
                  <c:v>-0.113346</c:v>
                </c:pt>
                <c:pt idx="235">
                  <c:v>-8.2713999999999996E-2</c:v>
                </c:pt>
                <c:pt idx="236">
                  <c:v>-0.19065399999999999</c:v>
                </c:pt>
                <c:pt idx="237">
                  <c:v>-0.19919999999999999</c:v>
                </c:pt>
                <c:pt idx="238">
                  <c:v>-0.18579899999999999</c:v>
                </c:pt>
                <c:pt idx="239">
                  <c:v>-0.16448099999999999</c:v>
                </c:pt>
                <c:pt idx="240">
                  <c:v>-0.163552</c:v>
                </c:pt>
                <c:pt idx="241">
                  <c:v>-8.7510000000000004E-2</c:v>
                </c:pt>
                <c:pt idx="242">
                  <c:v>-4.5301000000000001E-2</c:v>
                </c:pt>
                <c:pt idx="243">
                  <c:v>-0.147346</c:v>
                </c:pt>
                <c:pt idx="244">
                  <c:v>-0.147754</c:v>
                </c:pt>
                <c:pt idx="245">
                  <c:v>-0.133659</c:v>
                </c:pt>
                <c:pt idx="246">
                  <c:v>-0.154973</c:v>
                </c:pt>
                <c:pt idx="247">
                  <c:v>-0.185332</c:v>
                </c:pt>
                <c:pt idx="248">
                  <c:v>-0.14465900000000001</c:v>
                </c:pt>
                <c:pt idx="249">
                  <c:v>-0.105265</c:v>
                </c:pt>
                <c:pt idx="250">
                  <c:v>-0.19925100000000001</c:v>
                </c:pt>
                <c:pt idx="251">
                  <c:v>-0.172675</c:v>
                </c:pt>
                <c:pt idx="252">
                  <c:v>-0.168681</c:v>
                </c:pt>
                <c:pt idx="253">
                  <c:v>-0.154696</c:v>
                </c:pt>
                <c:pt idx="254">
                  <c:v>-0.16127900000000001</c:v>
                </c:pt>
                <c:pt idx="255">
                  <c:v>-0.11502</c:v>
                </c:pt>
                <c:pt idx="256">
                  <c:v>-5.4725999999999997E-2</c:v>
                </c:pt>
                <c:pt idx="257">
                  <c:v>-0.16453499999999999</c:v>
                </c:pt>
                <c:pt idx="258">
                  <c:v>-3.8578000000000001E-2</c:v>
                </c:pt>
                <c:pt idx="259">
                  <c:v>5.4855000000000001E-2</c:v>
                </c:pt>
                <c:pt idx="260">
                  <c:v>0.15814700000000001</c:v>
                </c:pt>
                <c:pt idx="261">
                  <c:v>0.185225</c:v>
                </c:pt>
                <c:pt idx="262">
                  <c:v>0.300037</c:v>
                </c:pt>
                <c:pt idx="263">
                  <c:v>0.31187599999999999</c:v>
                </c:pt>
                <c:pt idx="264">
                  <c:v>1.7318E-2</c:v>
                </c:pt>
                <c:pt idx="265">
                  <c:v>-4.1570000000000003E-2</c:v>
                </c:pt>
                <c:pt idx="266">
                  <c:v>-0.111053</c:v>
                </c:pt>
                <c:pt idx="267">
                  <c:v>-0.15547</c:v>
                </c:pt>
                <c:pt idx="268">
                  <c:v>-0.23238400000000001</c:v>
                </c:pt>
                <c:pt idx="269">
                  <c:v>-0.23213500000000001</c:v>
                </c:pt>
                <c:pt idx="270">
                  <c:v>-0.18563199999999999</c:v>
                </c:pt>
                <c:pt idx="271">
                  <c:v>-0.29133700000000001</c:v>
                </c:pt>
                <c:pt idx="272">
                  <c:v>-0.23741399999999999</c:v>
                </c:pt>
                <c:pt idx="273">
                  <c:v>-0.19645000000000001</c:v>
                </c:pt>
                <c:pt idx="274">
                  <c:v>-0.125052</c:v>
                </c:pt>
                <c:pt idx="275">
                  <c:v>-8.2663E-2</c:v>
                </c:pt>
                <c:pt idx="276">
                  <c:v>7.7679999999999999E-2</c:v>
                </c:pt>
                <c:pt idx="277">
                  <c:v>0.145867</c:v>
                </c:pt>
                <c:pt idx="278">
                  <c:v>-2.2074E-2</c:v>
                </c:pt>
                <c:pt idx="279">
                  <c:v>3.0724999999999999E-2</c:v>
                </c:pt>
                <c:pt idx="280">
                  <c:v>-1.5925999999999999E-2</c:v>
                </c:pt>
                <c:pt idx="281">
                  <c:v>-1.6524E-2</c:v>
                </c:pt>
                <c:pt idx="282">
                  <c:v>-0.10242</c:v>
                </c:pt>
                <c:pt idx="283">
                  <c:v>-3.7198000000000002E-2</c:v>
                </c:pt>
                <c:pt idx="284">
                  <c:v>-1.6671999999999999E-2</c:v>
                </c:pt>
                <c:pt idx="285">
                  <c:v>-0.16018199999999999</c:v>
                </c:pt>
                <c:pt idx="286">
                  <c:v>-0.126697</c:v>
                </c:pt>
                <c:pt idx="287">
                  <c:v>-0.12642500000000001</c:v>
                </c:pt>
                <c:pt idx="288">
                  <c:v>-9.7673999999999997E-2</c:v>
                </c:pt>
                <c:pt idx="289">
                  <c:v>-6.1987E-2</c:v>
                </c:pt>
                <c:pt idx="290">
                  <c:v>7.5103000000000003E-2</c:v>
                </c:pt>
                <c:pt idx="291">
                  <c:v>0.119695</c:v>
                </c:pt>
                <c:pt idx="292">
                  <c:v>-4.437E-2</c:v>
                </c:pt>
                <c:pt idx="293">
                  <c:v>-3.8259000000000001E-2</c:v>
                </c:pt>
                <c:pt idx="294">
                  <c:v>-8.8266999999999998E-2</c:v>
                </c:pt>
                <c:pt idx="295">
                  <c:v>-0.116358</c:v>
                </c:pt>
                <c:pt idx="296">
                  <c:v>-0.18327399999999999</c:v>
                </c:pt>
                <c:pt idx="297">
                  <c:v>-0.16925899999999999</c:v>
                </c:pt>
                <c:pt idx="298">
                  <c:v>-8.9373999999999995E-2</c:v>
                </c:pt>
                <c:pt idx="299">
                  <c:v>-0.19187299999999999</c:v>
                </c:pt>
                <c:pt idx="300">
                  <c:v>-0.15010000000000001</c:v>
                </c:pt>
                <c:pt idx="301">
                  <c:v>-3.9412999999999997E-2</c:v>
                </c:pt>
                <c:pt idx="302">
                  <c:v>4.2095E-2</c:v>
                </c:pt>
                <c:pt idx="303">
                  <c:v>0.14412900000000001</c:v>
                </c:pt>
                <c:pt idx="304">
                  <c:v>0.34656599999999999</c:v>
                </c:pt>
                <c:pt idx="305">
                  <c:v>0.470084</c:v>
                </c:pt>
                <c:pt idx="306">
                  <c:v>0.31007699999999999</c:v>
                </c:pt>
                <c:pt idx="307">
                  <c:v>0.138317</c:v>
                </c:pt>
                <c:pt idx="308">
                  <c:v>-8.1045000000000006E-2</c:v>
                </c:pt>
                <c:pt idx="309">
                  <c:v>-0.231347</c:v>
                </c:pt>
                <c:pt idx="310">
                  <c:v>-0.35026200000000002</c:v>
                </c:pt>
                <c:pt idx="311">
                  <c:v>-0.41513600000000001</c:v>
                </c:pt>
                <c:pt idx="312">
                  <c:v>-0.43572300000000003</c:v>
                </c:pt>
                <c:pt idx="313">
                  <c:v>-0.44075900000000001</c:v>
                </c:pt>
                <c:pt idx="314">
                  <c:v>-0.32143899999999997</c:v>
                </c:pt>
                <c:pt idx="315">
                  <c:v>-0.17183999999999999</c:v>
                </c:pt>
                <c:pt idx="316">
                  <c:v>-0.11973200000000001</c:v>
                </c:pt>
                <c:pt idx="317">
                  <c:v>-4.7861000000000001E-2</c:v>
                </c:pt>
                <c:pt idx="318">
                  <c:v>0.11876100000000001</c:v>
                </c:pt>
                <c:pt idx="319">
                  <c:v>0.315388</c:v>
                </c:pt>
                <c:pt idx="320">
                  <c:v>0.18992700000000001</c:v>
                </c:pt>
                <c:pt idx="321">
                  <c:v>8.4816000000000003E-2</c:v>
                </c:pt>
                <c:pt idx="322">
                  <c:v>-1.1166000000000001E-2</c:v>
                </c:pt>
                <c:pt idx="323">
                  <c:v>-6.7155999999999993E-2</c:v>
                </c:pt>
                <c:pt idx="324">
                  <c:v>-0.11966300000000001</c:v>
                </c:pt>
                <c:pt idx="325">
                  <c:v>-9.9598999999999993E-2</c:v>
                </c:pt>
                <c:pt idx="326">
                  <c:v>-6.1051000000000001E-2</c:v>
                </c:pt>
                <c:pt idx="327">
                  <c:v>-0.116143</c:v>
                </c:pt>
                <c:pt idx="328">
                  <c:v>-0.111441</c:v>
                </c:pt>
                <c:pt idx="329">
                  <c:v>-8.7474999999999997E-2</c:v>
                </c:pt>
                <c:pt idx="330">
                  <c:v>-0.10523100000000001</c:v>
                </c:pt>
                <c:pt idx="331">
                  <c:v>-0.13234699999999999</c:v>
                </c:pt>
                <c:pt idx="332">
                  <c:v>-6.0664000000000003E-2</c:v>
                </c:pt>
                <c:pt idx="333">
                  <c:v>3.4026000000000001E-2</c:v>
                </c:pt>
                <c:pt idx="334">
                  <c:v>-4.0304E-2</c:v>
                </c:pt>
                <c:pt idx="335">
                  <c:v>-4.9563999999999997E-2</c:v>
                </c:pt>
                <c:pt idx="336">
                  <c:v>-4.1397000000000003E-2</c:v>
                </c:pt>
                <c:pt idx="337">
                  <c:v>-8.3843000000000001E-2</c:v>
                </c:pt>
                <c:pt idx="338">
                  <c:v>-0.123464</c:v>
                </c:pt>
                <c:pt idx="339">
                  <c:v>-8.6099999999999996E-2</c:v>
                </c:pt>
                <c:pt idx="340">
                  <c:v>-2.5928E-2</c:v>
                </c:pt>
                <c:pt idx="341">
                  <c:v>-7.5850000000000001E-2</c:v>
                </c:pt>
                <c:pt idx="342">
                  <c:v>-0.10198</c:v>
                </c:pt>
                <c:pt idx="343">
                  <c:v>-9.3768000000000004E-2</c:v>
                </c:pt>
                <c:pt idx="344">
                  <c:v>-0.111877</c:v>
                </c:pt>
                <c:pt idx="345">
                  <c:v>-0.156449</c:v>
                </c:pt>
                <c:pt idx="346">
                  <c:v>-0.116924</c:v>
                </c:pt>
                <c:pt idx="347">
                  <c:v>-5.3793000000000001E-2</c:v>
                </c:pt>
                <c:pt idx="348">
                  <c:v>-0.12539700000000001</c:v>
                </c:pt>
                <c:pt idx="349">
                  <c:v>-0.13194400000000001</c:v>
                </c:pt>
                <c:pt idx="350">
                  <c:v>-0.12629099999999999</c:v>
                </c:pt>
                <c:pt idx="351">
                  <c:v>-0.152309</c:v>
                </c:pt>
                <c:pt idx="352">
                  <c:v>-0.19688600000000001</c:v>
                </c:pt>
                <c:pt idx="353">
                  <c:v>-0.18329400000000001</c:v>
                </c:pt>
                <c:pt idx="354">
                  <c:v>-0.15351200000000001</c:v>
                </c:pt>
                <c:pt idx="355">
                  <c:v>-0.20091400000000001</c:v>
                </c:pt>
                <c:pt idx="356">
                  <c:v>-0.21406900000000001</c:v>
                </c:pt>
                <c:pt idx="357">
                  <c:v>-0.212066</c:v>
                </c:pt>
                <c:pt idx="358">
                  <c:v>-0.24190500000000001</c:v>
                </c:pt>
                <c:pt idx="359">
                  <c:v>-0.28736600000000001</c:v>
                </c:pt>
                <c:pt idx="360">
                  <c:v>-0.28545199999999998</c:v>
                </c:pt>
                <c:pt idx="361">
                  <c:v>-0.26613999999999999</c:v>
                </c:pt>
                <c:pt idx="362">
                  <c:v>-0.33318999999999999</c:v>
                </c:pt>
                <c:pt idx="363">
                  <c:v>-0.33131300000000002</c:v>
                </c:pt>
                <c:pt idx="364">
                  <c:v>-0.27246700000000001</c:v>
                </c:pt>
                <c:pt idx="365">
                  <c:v>-0.17469100000000001</c:v>
                </c:pt>
                <c:pt idx="366">
                  <c:v>-2.3931000000000001E-2</c:v>
                </c:pt>
                <c:pt idx="367">
                  <c:v>7.8933000000000003E-2</c:v>
                </c:pt>
                <c:pt idx="368">
                  <c:v>0.18856600000000001</c:v>
                </c:pt>
                <c:pt idx="369">
                  <c:v>0.113216</c:v>
                </c:pt>
                <c:pt idx="370">
                  <c:v>0.16681000000000001</c:v>
                </c:pt>
                <c:pt idx="371">
                  <c:v>8.7621000000000004E-2</c:v>
                </c:pt>
                <c:pt idx="372">
                  <c:v>-0.13201399999999999</c:v>
                </c:pt>
                <c:pt idx="373">
                  <c:v>-0.241065</c:v>
                </c:pt>
                <c:pt idx="374">
                  <c:v>-0.176704</c:v>
                </c:pt>
                <c:pt idx="375">
                  <c:v>-0.14430999999999999</c:v>
                </c:pt>
                <c:pt idx="376">
                  <c:v>-0.26388800000000001</c:v>
                </c:pt>
                <c:pt idx="377">
                  <c:v>-0.391652</c:v>
                </c:pt>
                <c:pt idx="378">
                  <c:v>-0.44141200000000003</c:v>
                </c:pt>
                <c:pt idx="379">
                  <c:v>-0.41408099999999998</c:v>
                </c:pt>
                <c:pt idx="380">
                  <c:v>-0.34337299999999998</c:v>
                </c:pt>
                <c:pt idx="381">
                  <c:v>-0.323716</c:v>
                </c:pt>
                <c:pt idx="382">
                  <c:v>-0.29632900000000001</c:v>
                </c:pt>
                <c:pt idx="383">
                  <c:v>-0.33968100000000001</c:v>
                </c:pt>
                <c:pt idx="384">
                  <c:v>-0.24520900000000001</c:v>
                </c:pt>
                <c:pt idx="385">
                  <c:v>-0.15448000000000001</c:v>
                </c:pt>
                <c:pt idx="386">
                  <c:v>-0.12623300000000001</c:v>
                </c:pt>
                <c:pt idx="387">
                  <c:v>-8.9437000000000003E-2</c:v>
                </c:pt>
                <c:pt idx="388">
                  <c:v>1.9016999999999999E-2</c:v>
                </c:pt>
                <c:pt idx="389">
                  <c:v>9.0594999999999995E-2</c:v>
                </c:pt>
                <c:pt idx="390">
                  <c:v>-1.0253999999999999E-2</c:v>
                </c:pt>
                <c:pt idx="391">
                  <c:v>-2.3118E-2</c:v>
                </c:pt>
                <c:pt idx="392">
                  <c:v>-9.4107999999999997E-2</c:v>
                </c:pt>
                <c:pt idx="393">
                  <c:v>-0.16400000000000001</c:v>
                </c:pt>
                <c:pt idx="394">
                  <c:v>-0.22597900000000001</c:v>
                </c:pt>
                <c:pt idx="395">
                  <c:v>-0.22131300000000001</c:v>
                </c:pt>
                <c:pt idx="396">
                  <c:v>-0.20751700000000001</c:v>
                </c:pt>
                <c:pt idx="397">
                  <c:v>-0.27477400000000002</c:v>
                </c:pt>
                <c:pt idx="398">
                  <c:v>-0.249359</c:v>
                </c:pt>
                <c:pt idx="399">
                  <c:v>-0.195495</c:v>
                </c:pt>
                <c:pt idx="400">
                  <c:v>-0.20383299999999999</c:v>
                </c:pt>
                <c:pt idx="401">
                  <c:v>-0.21458199999999999</c:v>
                </c:pt>
                <c:pt idx="402">
                  <c:v>-0.11930399999999999</c:v>
                </c:pt>
                <c:pt idx="403">
                  <c:v>-4.9644000000000001E-2</c:v>
                </c:pt>
                <c:pt idx="404">
                  <c:v>-0.129218</c:v>
                </c:pt>
                <c:pt idx="405">
                  <c:v>-0.1222</c:v>
                </c:pt>
                <c:pt idx="406">
                  <c:v>-0.151866</c:v>
                </c:pt>
                <c:pt idx="407">
                  <c:v>-0.115665</c:v>
                </c:pt>
                <c:pt idx="408">
                  <c:v>-7.5719999999999996E-2</c:v>
                </c:pt>
                <c:pt idx="409">
                  <c:v>3.4666000000000002E-2</c:v>
                </c:pt>
                <c:pt idx="410">
                  <c:v>9.5715999999999996E-2</c:v>
                </c:pt>
                <c:pt idx="411">
                  <c:v>1.9925999999999999E-2</c:v>
                </c:pt>
                <c:pt idx="412">
                  <c:v>3.6912E-2</c:v>
                </c:pt>
                <c:pt idx="413">
                  <c:v>3.4535000000000003E-2</c:v>
                </c:pt>
                <c:pt idx="414">
                  <c:v>1.4164E-2</c:v>
                </c:pt>
                <c:pt idx="415">
                  <c:v>4.0584000000000002E-2</c:v>
                </c:pt>
                <c:pt idx="416">
                  <c:v>0.17055699999999999</c:v>
                </c:pt>
                <c:pt idx="417">
                  <c:v>0.27522200000000002</c:v>
                </c:pt>
                <c:pt idx="418">
                  <c:v>0.18385499999999999</c:v>
                </c:pt>
                <c:pt idx="419">
                  <c:v>0.17680499999999999</c:v>
                </c:pt>
                <c:pt idx="420">
                  <c:v>0.25295000000000001</c:v>
                </c:pt>
                <c:pt idx="421">
                  <c:v>0.32805299999999998</c:v>
                </c:pt>
                <c:pt idx="422">
                  <c:v>0.24099699999999999</c:v>
                </c:pt>
                <c:pt idx="423">
                  <c:v>0.249311</c:v>
                </c:pt>
                <c:pt idx="424">
                  <c:v>0.28519299999999997</c:v>
                </c:pt>
                <c:pt idx="425">
                  <c:v>0.16959299999999999</c:v>
                </c:pt>
                <c:pt idx="426">
                  <c:v>0.115605</c:v>
                </c:pt>
                <c:pt idx="427">
                  <c:v>9.6450000000000008E-3</c:v>
                </c:pt>
                <c:pt idx="428">
                  <c:v>-7.5704999999999995E-2</c:v>
                </c:pt>
                <c:pt idx="429">
                  <c:v>-7.9749E-2</c:v>
                </c:pt>
                <c:pt idx="430">
                  <c:v>-4.3746E-2</c:v>
                </c:pt>
                <c:pt idx="431">
                  <c:v>-3.7055999999999999E-2</c:v>
                </c:pt>
                <c:pt idx="432">
                  <c:v>-0.17296400000000001</c:v>
                </c:pt>
                <c:pt idx="433">
                  <c:v>-0.24957799999999999</c:v>
                </c:pt>
                <c:pt idx="434">
                  <c:v>-0.188472</c:v>
                </c:pt>
                <c:pt idx="435">
                  <c:v>-8.3156999999999995E-2</c:v>
                </c:pt>
                <c:pt idx="436">
                  <c:v>-4.7808000000000003E-2</c:v>
                </c:pt>
                <c:pt idx="437">
                  <c:v>4.1585999999999998E-2</c:v>
                </c:pt>
                <c:pt idx="438">
                  <c:v>0.134381</c:v>
                </c:pt>
                <c:pt idx="439">
                  <c:v>8.3666000000000004E-2</c:v>
                </c:pt>
                <c:pt idx="440">
                  <c:v>0.114881</c:v>
                </c:pt>
                <c:pt idx="441">
                  <c:v>0.17335600000000001</c:v>
                </c:pt>
                <c:pt idx="442">
                  <c:v>0.104154</c:v>
                </c:pt>
                <c:pt idx="443">
                  <c:v>2.7921000000000001E-2</c:v>
                </c:pt>
                <c:pt idx="444">
                  <c:v>8.2764000000000004E-2</c:v>
                </c:pt>
                <c:pt idx="445">
                  <c:v>0.148342</c:v>
                </c:pt>
                <c:pt idx="446">
                  <c:v>4.4326999999999998E-2</c:v>
                </c:pt>
                <c:pt idx="447">
                  <c:v>-2.7625E-2</c:v>
                </c:pt>
                <c:pt idx="448">
                  <c:v>5.0130000000000001E-3</c:v>
                </c:pt>
                <c:pt idx="449">
                  <c:v>8.3670999999999995E-2</c:v>
                </c:pt>
                <c:pt idx="450">
                  <c:v>9.6852999999999995E-2</c:v>
                </c:pt>
                <c:pt idx="451">
                  <c:v>0.12815399999999999</c:v>
                </c:pt>
                <c:pt idx="452">
                  <c:v>0.16689899999999999</c:v>
                </c:pt>
                <c:pt idx="453">
                  <c:v>8.7832999999999994E-2</c:v>
                </c:pt>
                <c:pt idx="454">
                  <c:v>3.3960999999999998E-2</c:v>
                </c:pt>
                <c:pt idx="455">
                  <c:v>3.9406999999999998E-2</c:v>
                </c:pt>
                <c:pt idx="456">
                  <c:v>-2.5177999999999999E-2</c:v>
                </c:pt>
                <c:pt idx="457">
                  <c:v>-7.6000999999999999E-2</c:v>
                </c:pt>
                <c:pt idx="458">
                  <c:v>-5.2020999999999998E-2</c:v>
                </c:pt>
                <c:pt idx="459">
                  <c:v>-3.2613999999999997E-2</c:v>
                </c:pt>
                <c:pt idx="460">
                  <c:v>-0.118691</c:v>
                </c:pt>
                <c:pt idx="461">
                  <c:v>-0.16176199999999999</c:v>
                </c:pt>
                <c:pt idx="462">
                  <c:v>-0.17055100000000001</c:v>
                </c:pt>
                <c:pt idx="463">
                  <c:v>-0.18654899999999999</c:v>
                </c:pt>
                <c:pt idx="464">
                  <c:v>-0.20402500000000001</c:v>
                </c:pt>
                <c:pt idx="465">
                  <c:v>-0.19021399999999999</c:v>
                </c:pt>
                <c:pt idx="466">
                  <c:v>-0.16117699999999999</c:v>
                </c:pt>
                <c:pt idx="467">
                  <c:v>-0.22139700000000001</c:v>
                </c:pt>
                <c:pt idx="468">
                  <c:v>-0.24589</c:v>
                </c:pt>
                <c:pt idx="469">
                  <c:v>-0.229106</c:v>
                </c:pt>
                <c:pt idx="470">
                  <c:v>-0.233908</c:v>
                </c:pt>
                <c:pt idx="471">
                  <c:v>-0.23145199999999999</c:v>
                </c:pt>
                <c:pt idx="472">
                  <c:v>-0.20232</c:v>
                </c:pt>
                <c:pt idx="473">
                  <c:v>-0.16509299999999999</c:v>
                </c:pt>
                <c:pt idx="474">
                  <c:v>-0.22092100000000001</c:v>
                </c:pt>
                <c:pt idx="475">
                  <c:v>-0.247502</c:v>
                </c:pt>
                <c:pt idx="476">
                  <c:v>-0.23535500000000001</c:v>
                </c:pt>
                <c:pt idx="477">
                  <c:v>-0.216749</c:v>
                </c:pt>
                <c:pt idx="478">
                  <c:v>-0.18407000000000001</c:v>
                </c:pt>
                <c:pt idx="479">
                  <c:v>-0.230513</c:v>
                </c:pt>
                <c:pt idx="480">
                  <c:v>-0.25135200000000002</c:v>
                </c:pt>
                <c:pt idx="481">
                  <c:v>-0.32652199999999998</c:v>
                </c:pt>
                <c:pt idx="482">
                  <c:v>-0.35721399999999998</c:v>
                </c:pt>
                <c:pt idx="483">
                  <c:v>-0.37839899999999999</c:v>
                </c:pt>
                <c:pt idx="484">
                  <c:v>-0.45592500000000002</c:v>
                </c:pt>
                <c:pt idx="485">
                  <c:v>-0.49259799999999998</c:v>
                </c:pt>
                <c:pt idx="486">
                  <c:v>-0.38559399999999999</c:v>
                </c:pt>
                <c:pt idx="487">
                  <c:v>-0.35447899999999999</c:v>
                </c:pt>
                <c:pt idx="488">
                  <c:v>-0.39657500000000001</c:v>
                </c:pt>
                <c:pt idx="489">
                  <c:v>-0.33480399999999999</c:v>
                </c:pt>
                <c:pt idx="490">
                  <c:v>-0.23626800000000001</c:v>
                </c:pt>
                <c:pt idx="491">
                  <c:v>-0.12148399999999999</c:v>
                </c:pt>
                <c:pt idx="492">
                  <c:v>0.102772</c:v>
                </c:pt>
                <c:pt idx="493">
                  <c:v>0.26879700000000001</c:v>
                </c:pt>
                <c:pt idx="494">
                  <c:v>0.35365799999999997</c:v>
                </c:pt>
                <c:pt idx="495">
                  <c:v>0.155391</c:v>
                </c:pt>
                <c:pt idx="496">
                  <c:v>9.8765000000000006E-2</c:v>
                </c:pt>
                <c:pt idx="497">
                  <c:v>0.13617000000000001</c:v>
                </c:pt>
                <c:pt idx="498">
                  <c:v>0.127196</c:v>
                </c:pt>
                <c:pt idx="499">
                  <c:v>7.6696E-2</c:v>
                </c:pt>
                <c:pt idx="500">
                  <c:v>9.7381999999999996E-2</c:v>
                </c:pt>
                <c:pt idx="501">
                  <c:v>0.10795299999999999</c:v>
                </c:pt>
                <c:pt idx="502">
                  <c:v>5.4660000000000004E-3</c:v>
                </c:pt>
                <c:pt idx="503">
                  <c:v>3.9641000000000003E-2</c:v>
                </c:pt>
                <c:pt idx="504">
                  <c:v>0.12264600000000001</c:v>
                </c:pt>
                <c:pt idx="505">
                  <c:v>0.162107</c:v>
                </c:pt>
                <c:pt idx="506">
                  <c:v>0.17746600000000001</c:v>
                </c:pt>
                <c:pt idx="507">
                  <c:v>0.27975800000000001</c:v>
                </c:pt>
                <c:pt idx="508">
                  <c:v>0.34821200000000002</c:v>
                </c:pt>
                <c:pt idx="509">
                  <c:v>0.21426200000000001</c:v>
                </c:pt>
                <c:pt idx="510">
                  <c:v>0.183284</c:v>
                </c:pt>
                <c:pt idx="511">
                  <c:v>0.196938</c:v>
                </c:pt>
                <c:pt idx="512">
                  <c:v>0.18714500000000001</c:v>
                </c:pt>
                <c:pt idx="513">
                  <c:v>0.14277200000000001</c:v>
                </c:pt>
                <c:pt idx="514">
                  <c:v>0.18004700000000001</c:v>
                </c:pt>
                <c:pt idx="515">
                  <c:v>0.21909999999999999</c:v>
                </c:pt>
                <c:pt idx="516">
                  <c:v>0.100715</c:v>
                </c:pt>
                <c:pt idx="517">
                  <c:v>2.7805E-2</c:v>
                </c:pt>
                <c:pt idx="518">
                  <c:v>-2.8210000000000002E-3</c:v>
                </c:pt>
                <c:pt idx="519">
                  <c:v>-5.1701999999999998E-2</c:v>
                </c:pt>
                <c:pt idx="520">
                  <c:v>-0.105957</c:v>
                </c:pt>
                <c:pt idx="521">
                  <c:v>-0.124704</c:v>
                </c:pt>
                <c:pt idx="522">
                  <c:v>-0.135214</c:v>
                </c:pt>
                <c:pt idx="523">
                  <c:v>-0.216414</c:v>
                </c:pt>
                <c:pt idx="524">
                  <c:v>-0.26057799999999998</c:v>
                </c:pt>
                <c:pt idx="525">
                  <c:v>-0.29465200000000003</c:v>
                </c:pt>
                <c:pt idx="526">
                  <c:v>-0.33383699999999999</c:v>
                </c:pt>
                <c:pt idx="527">
                  <c:v>-0.37142500000000001</c:v>
                </c:pt>
                <c:pt idx="528">
                  <c:v>-0.35632200000000003</c:v>
                </c:pt>
                <c:pt idx="529">
                  <c:v>-0.33915299999999998</c:v>
                </c:pt>
                <c:pt idx="530">
                  <c:v>-0.38278099999999998</c:v>
                </c:pt>
                <c:pt idx="531">
                  <c:v>-0.407858</c:v>
                </c:pt>
                <c:pt idx="532">
                  <c:v>-0.39405800000000002</c:v>
                </c:pt>
                <c:pt idx="533">
                  <c:v>-0.390681</c:v>
                </c:pt>
                <c:pt idx="534">
                  <c:v>-0.38325100000000001</c:v>
                </c:pt>
                <c:pt idx="535">
                  <c:v>-0.35106399999999999</c:v>
                </c:pt>
                <c:pt idx="536">
                  <c:v>-0.321023</c:v>
                </c:pt>
                <c:pt idx="537">
                  <c:v>-0.37494100000000002</c:v>
                </c:pt>
                <c:pt idx="538">
                  <c:v>-0.40641699999999997</c:v>
                </c:pt>
                <c:pt idx="539">
                  <c:v>-0.42037400000000003</c:v>
                </c:pt>
                <c:pt idx="540">
                  <c:v>-0.42996200000000001</c:v>
                </c:pt>
                <c:pt idx="541">
                  <c:v>-0.43826799999999999</c:v>
                </c:pt>
                <c:pt idx="542">
                  <c:v>-0.42766500000000002</c:v>
                </c:pt>
                <c:pt idx="543">
                  <c:v>-0.4716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Novych_JIP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37036999999999998</c:v>
                </c:pt>
                <c:pt idx="1">
                  <c:v>0.36666599999999999</c:v>
                </c:pt>
                <c:pt idx="2">
                  <c:v>0.228571</c:v>
                </c:pt>
                <c:pt idx="3">
                  <c:v>0.38235200000000003</c:v>
                </c:pt>
                <c:pt idx="4">
                  <c:v>0.24324299999999999</c:v>
                </c:pt>
                <c:pt idx="5">
                  <c:v>0.222222</c:v>
                </c:pt>
                <c:pt idx="6">
                  <c:v>0.230769</c:v>
                </c:pt>
                <c:pt idx="7">
                  <c:v>8.8887999999999995E-2</c:v>
                </c:pt>
                <c:pt idx="8">
                  <c:v>6.25E-2</c:v>
                </c:pt>
                <c:pt idx="9">
                  <c:v>-9.4339000000000006E-2</c:v>
                </c:pt>
                <c:pt idx="10">
                  <c:v>-3.9215E-2</c:v>
                </c:pt>
                <c:pt idx="11">
                  <c:v>0</c:v>
                </c:pt>
                <c:pt idx="12">
                  <c:v>7.8431000000000001E-2</c:v>
                </c:pt>
                <c:pt idx="13">
                  <c:v>1.7857000000000001E-2</c:v>
                </c:pt>
                <c:pt idx="14">
                  <c:v>0.10169400000000001</c:v>
                </c:pt>
                <c:pt idx="15">
                  <c:v>0.163636</c:v>
                </c:pt>
                <c:pt idx="16">
                  <c:v>0.27118599999999998</c:v>
                </c:pt>
                <c:pt idx="17">
                  <c:v>0.63636300000000001</c:v>
                </c:pt>
                <c:pt idx="18">
                  <c:v>0.816666</c:v>
                </c:pt>
                <c:pt idx="19">
                  <c:v>0.828125</c:v>
                </c:pt>
                <c:pt idx="20">
                  <c:v>0.94520499999999996</c:v>
                </c:pt>
                <c:pt idx="21">
                  <c:v>1.0135130000000001</c:v>
                </c:pt>
                <c:pt idx="22">
                  <c:v>1.063291</c:v>
                </c:pt>
                <c:pt idx="23">
                  <c:v>0.76237600000000005</c:v>
                </c:pt>
                <c:pt idx="24">
                  <c:v>0.53043399999999996</c:v>
                </c:pt>
                <c:pt idx="25">
                  <c:v>0.40476099999999998</c:v>
                </c:pt>
                <c:pt idx="26">
                  <c:v>0.23841000000000001</c:v>
                </c:pt>
                <c:pt idx="27">
                  <c:v>0.18787799999999999</c:v>
                </c:pt>
                <c:pt idx="28">
                  <c:v>0.168604</c:v>
                </c:pt>
                <c:pt idx="29">
                  <c:v>9.8445000000000005E-2</c:v>
                </c:pt>
                <c:pt idx="30">
                  <c:v>0.12871199999999999</c:v>
                </c:pt>
                <c:pt idx="31">
                  <c:v>0.20297000000000001</c:v>
                </c:pt>
                <c:pt idx="32">
                  <c:v>0.32843099999999997</c:v>
                </c:pt>
                <c:pt idx="33">
                  <c:v>0.24782599999999999</c:v>
                </c:pt>
                <c:pt idx="34">
                  <c:v>0.32589200000000002</c:v>
                </c:pt>
                <c:pt idx="35">
                  <c:v>0.44680799999999998</c:v>
                </c:pt>
                <c:pt idx="36">
                  <c:v>0.46123999999999998</c:v>
                </c:pt>
                <c:pt idx="37">
                  <c:v>0.47939999999999999</c:v>
                </c:pt>
                <c:pt idx="38">
                  <c:v>0.47474699999999997</c:v>
                </c:pt>
                <c:pt idx="39">
                  <c:v>0.49681500000000001</c:v>
                </c:pt>
                <c:pt idx="40">
                  <c:v>0.41176400000000002</c:v>
                </c:pt>
                <c:pt idx="41">
                  <c:v>0.39673900000000001</c:v>
                </c:pt>
                <c:pt idx="42">
                  <c:v>0.28223799999999999</c:v>
                </c:pt>
                <c:pt idx="43">
                  <c:v>0.25169999999999998</c:v>
                </c:pt>
                <c:pt idx="44">
                  <c:v>0.22012499999999999</c:v>
                </c:pt>
                <c:pt idx="45">
                  <c:v>0.162213</c:v>
                </c:pt>
                <c:pt idx="46">
                  <c:v>0.14149100000000001</c:v>
                </c:pt>
                <c:pt idx="47">
                  <c:v>0.12698400000000001</c:v>
                </c:pt>
                <c:pt idx="48">
                  <c:v>0.102006</c:v>
                </c:pt>
                <c:pt idx="49">
                  <c:v>0.136436</c:v>
                </c:pt>
                <c:pt idx="50">
                  <c:v>0.18885399999999999</c:v>
                </c:pt>
                <c:pt idx="51">
                  <c:v>0.18958</c:v>
                </c:pt>
                <c:pt idx="52">
                  <c:v>0.24304500000000001</c:v>
                </c:pt>
                <c:pt idx="53">
                  <c:v>0.30924800000000002</c:v>
                </c:pt>
                <c:pt idx="54">
                  <c:v>0.272117</c:v>
                </c:pt>
                <c:pt idx="55">
                  <c:v>0.31060599999999999</c:v>
                </c:pt>
                <c:pt idx="56">
                  <c:v>0.23148099999999999</c:v>
                </c:pt>
                <c:pt idx="57">
                  <c:v>0.14410400000000001</c:v>
                </c:pt>
                <c:pt idx="58">
                  <c:v>0.150313</c:v>
                </c:pt>
                <c:pt idx="59">
                  <c:v>0.144897</c:v>
                </c:pt>
                <c:pt idx="60">
                  <c:v>0.113026</c:v>
                </c:pt>
                <c:pt idx="61">
                  <c:v>1.4847000000000001E-2</c:v>
                </c:pt>
                <c:pt idx="62">
                  <c:v>-4.0099999999999997E-2</c:v>
                </c:pt>
                <c:pt idx="63">
                  <c:v>-3.3222000000000002E-2</c:v>
                </c:pt>
                <c:pt idx="64">
                  <c:v>-5.5198999999999998E-2</c:v>
                </c:pt>
                <c:pt idx="65">
                  <c:v>-9.2208999999999999E-2</c:v>
                </c:pt>
                <c:pt idx="66">
                  <c:v>-9.5901E-2</c:v>
                </c:pt>
                <c:pt idx="67">
                  <c:v>-0.14461499999999999</c:v>
                </c:pt>
                <c:pt idx="68">
                  <c:v>-0.18736</c:v>
                </c:pt>
                <c:pt idx="69">
                  <c:v>-0.209372</c:v>
                </c:pt>
                <c:pt idx="70">
                  <c:v>-0.22861400000000001</c:v>
                </c:pt>
                <c:pt idx="71">
                  <c:v>-0.27083299999999999</c:v>
                </c:pt>
                <c:pt idx="72">
                  <c:v>-0.28000000000000003</c:v>
                </c:pt>
                <c:pt idx="73">
                  <c:v>-0.29929800000000001</c:v>
                </c:pt>
                <c:pt idx="74">
                  <c:v>-0.28432099999999999</c:v>
                </c:pt>
                <c:pt idx="75">
                  <c:v>-0.32058500000000001</c:v>
                </c:pt>
                <c:pt idx="76">
                  <c:v>-0.31517099999999998</c:v>
                </c:pt>
                <c:pt idx="77">
                  <c:v>-0.32805600000000001</c:v>
                </c:pt>
                <c:pt idx="78">
                  <c:v>-0.32229099999999999</c:v>
                </c:pt>
                <c:pt idx="79">
                  <c:v>-0.32439899999999999</c:v>
                </c:pt>
                <c:pt idx="80">
                  <c:v>-0.28140700000000002</c:v>
                </c:pt>
                <c:pt idx="81">
                  <c:v>-0.24737899999999999</c:v>
                </c:pt>
                <c:pt idx="82">
                  <c:v>-0.230849</c:v>
                </c:pt>
                <c:pt idx="83">
                  <c:v>-0.21734300000000001</c:v>
                </c:pt>
                <c:pt idx="84">
                  <c:v>-0.19885700000000001</c:v>
                </c:pt>
                <c:pt idx="85">
                  <c:v>-0.21774099999999999</c:v>
                </c:pt>
                <c:pt idx="86">
                  <c:v>-0.22894400000000001</c:v>
                </c:pt>
                <c:pt idx="87">
                  <c:v>-0.240786</c:v>
                </c:pt>
                <c:pt idx="88">
                  <c:v>-0.24937899999999999</c:v>
                </c:pt>
                <c:pt idx="89">
                  <c:v>-0.30926500000000001</c:v>
                </c:pt>
                <c:pt idx="90">
                  <c:v>-0.295597</c:v>
                </c:pt>
                <c:pt idx="91">
                  <c:v>-0.32025300000000001</c:v>
                </c:pt>
                <c:pt idx="92">
                  <c:v>-0.28909299999999999</c:v>
                </c:pt>
                <c:pt idx="93">
                  <c:v>-0.243835</c:v>
                </c:pt>
                <c:pt idx="94">
                  <c:v>-0.21590899999999999</c:v>
                </c:pt>
                <c:pt idx="95">
                  <c:v>-0.20845900000000001</c:v>
                </c:pt>
                <c:pt idx="96">
                  <c:v>-0.18540999999999999</c:v>
                </c:pt>
                <c:pt idx="97">
                  <c:v>-9.2083999999999999E-2</c:v>
                </c:pt>
                <c:pt idx="98">
                  <c:v>-8.0951999999999996E-2</c:v>
                </c:pt>
                <c:pt idx="99">
                  <c:v>-0.102523</c:v>
                </c:pt>
                <c:pt idx="100">
                  <c:v>-7.9113000000000003E-2</c:v>
                </c:pt>
                <c:pt idx="101">
                  <c:v>-3.6065E-2</c:v>
                </c:pt>
                <c:pt idx="102">
                  <c:v>4.3844000000000001E-2</c:v>
                </c:pt>
                <c:pt idx="103">
                  <c:v>-3.2507000000000001E-2</c:v>
                </c:pt>
                <c:pt idx="104">
                  <c:v>-5.4857999999999997E-2</c:v>
                </c:pt>
                <c:pt idx="105">
                  <c:v>-7.0996000000000004E-2</c:v>
                </c:pt>
                <c:pt idx="106">
                  <c:v>-5.1851000000000001E-2</c:v>
                </c:pt>
                <c:pt idx="107">
                  <c:v>-5.9880000000000003E-2</c:v>
                </c:pt>
                <c:pt idx="108">
                  <c:v>-5.6128999999999998E-2</c:v>
                </c:pt>
                <c:pt idx="109">
                  <c:v>-8.5014000000000006E-2</c:v>
                </c:pt>
                <c:pt idx="110">
                  <c:v>-9.9579000000000001E-2</c:v>
                </c:pt>
                <c:pt idx="111">
                  <c:v>-6.5123E-2</c:v>
                </c:pt>
                <c:pt idx="112">
                  <c:v>-6.9155999999999995E-2</c:v>
                </c:pt>
                <c:pt idx="113">
                  <c:v>-8.9917999999999998E-2</c:v>
                </c:pt>
                <c:pt idx="114">
                  <c:v>-7.7241000000000004E-2</c:v>
                </c:pt>
                <c:pt idx="115">
                  <c:v>-6.6297999999999996E-2</c:v>
                </c:pt>
                <c:pt idx="116">
                  <c:v>-2.2315000000000002E-2</c:v>
                </c:pt>
                <c:pt idx="117">
                  <c:v>-8.1740000000000007E-3</c:v>
                </c:pt>
                <c:pt idx="118">
                  <c:v>1.5768000000000001E-2</c:v>
                </c:pt>
                <c:pt idx="119">
                  <c:v>5.5412000000000003E-2</c:v>
                </c:pt>
                <c:pt idx="120">
                  <c:v>0.116644</c:v>
                </c:pt>
                <c:pt idx="121">
                  <c:v>0.19146099999999999</c:v>
                </c:pt>
                <c:pt idx="122">
                  <c:v>0.18956700000000001</c:v>
                </c:pt>
                <c:pt idx="123">
                  <c:v>0.14197499999999999</c:v>
                </c:pt>
                <c:pt idx="124">
                  <c:v>0.107514</c:v>
                </c:pt>
                <c:pt idx="125">
                  <c:v>5.6744999999999997E-2</c:v>
                </c:pt>
                <c:pt idx="126">
                  <c:v>3.1413000000000003E-2</c:v>
                </c:pt>
                <c:pt idx="127">
                  <c:v>-4.921E-3</c:v>
                </c:pt>
                <c:pt idx="128">
                  <c:v>-5.101E-2</c:v>
                </c:pt>
                <c:pt idx="129">
                  <c:v>-1.4492E-2</c:v>
                </c:pt>
                <c:pt idx="130">
                  <c:v>-8.4340000000000005E-3</c:v>
                </c:pt>
                <c:pt idx="131">
                  <c:v>-6.2276999999999999E-2</c:v>
                </c:pt>
                <c:pt idx="132">
                  <c:v>-9.4240000000000004E-2</c:v>
                </c:pt>
                <c:pt idx="133">
                  <c:v>-9.2413999999999996E-2</c:v>
                </c:pt>
                <c:pt idx="134">
                  <c:v>-0.116521</c:v>
                </c:pt>
                <c:pt idx="135">
                  <c:v>-9.2267000000000002E-2</c:v>
                </c:pt>
                <c:pt idx="136">
                  <c:v>-0.112262</c:v>
                </c:pt>
                <c:pt idx="137">
                  <c:v>-0.151337</c:v>
                </c:pt>
                <c:pt idx="138">
                  <c:v>-0.191029</c:v>
                </c:pt>
                <c:pt idx="139">
                  <c:v>-0.191666</c:v>
                </c:pt>
                <c:pt idx="140">
                  <c:v>-0.19609499999999999</c:v>
                </c:pt>
                <c:pt idx="141">
                  <c:v>-0.20392399999999999</c:v>
                </c:pt>
                <c:pt idx="142">
                  <c:v>-0.23389799999999999</c:v>
                </c:pt>
                <c:pt idx="143">
                  <c:v>-0.21856</c:v>
                </c:pt>
                <c:pt idx="144">
                  <c:v>-0.209532</c:v>
                </c:pt>
                <c:pt idx="145">
                  <c:v>-0.224107</c:v>
                </c:pt>
                <c:pt idx="146">
                  <c:v>-0.22903499999999999</c:v>
                </c:pt>
                <c:pt idx="147">
                  <c:v>-0.218691</c:v>
                </c:pt>
                <c:pt idx="148">
                  <c:v>-0.223584</c:v>
                </c:pt>
                <c:pt idx="149">
                  <c:v>-0.21564800000000001</c:v>
                </c:pt>
                <c:pt idx="150">
                  <c:v>-0.186254</c:v>
                </c:pt>
                <c:pt idx="151">
                  <c:v>-0.13664499999999999</c:v>
                </c:pt>
                <c:pt idx="152">
                  <c:v>-0.15484500000000001</c:v>
                </c:pt>
                <c:pt idx="153">
                  <c:v>-0.137435</c:v>
                </c:pt>
                <c:pt idx="154">
                  <c:v>-8.3509E-2</c:v>
                </c:pt>
                <c:pt idx="155">
                  <c:v>-7.3760999999999993E-2</c:v>
                </c:pt>
                <c:pt idx="156">
                  <c:v>-6.7637000000000003E-2</c:v>
                </c:pt>
                <c:pt idx="157">
                  <c:v>-6.0831999999999997E-2</c:v>
                </c:pt>
                <c:pt idx="158">
                  <c:v>-4.1799999999999997E-2</c:v>
                </c:pt>
                <c:pt idx="159">
                  <c:v>-4.6247999999999997E-2</c:v>
                </c:pt>
                <c:pt idx="160">
                  <c:v>-4.5592000000000001E-2</c:v>
                </c:pt>
                <c:pt idx="161">
                  <c:v>-5.1567000000000002E-2</c:v>
                </c:pt>
                <c:pt idx="162">
                  <c:v>-5.0880000000000002E-2</c:v>
                </c:pt>
                <c:pt idx="163">
                  <c:v>-3.2384000000000003E-2</c:v>
                </c:pt>
                <c:pt idx="164">
                  <c:v>-1.9723000000000001E-2</c:v>
                </c:pt>
                <c:pt idx="165">
                  <c:v>-4.4790000000000003E-2</c:v>
                </c:pt>
                <c:pt idx="166">
                  <c:v>-8.6997000000000005E-2</c:v>
                </c:pt>
                <c:pt idx="167">
                  <c:v>-8.5792999999999994E-2</c:v>
                </c:pt>
                <c:pt idx="168">
                  <c:v>-5.9523E-2</c:v>
                </c:pt>
                <c:pt idx="169">
                  <c:v>-7.263E-2</c:v>
                </c:pt>
                <c:pt idx="170">
                  <c:v>-6.2667E-2</c:v>
                </c:pt>
                <c:pt idx="171">
                  <c:v>-1.9730000000000001E-2</c:v>
                </c:pt>
                <c:pt idx="172">
                  <c:v>9.01E-4</c:v>
                </c:pt>
                <c:pt idx="173">
                  <c:v>-9.7169999999999999E-3</c:v>
                </c:pt>
                <c:pt idx="174">
                  <c:v>-6.8430000000000001E-3</c:v>
                </c:pt>
                <c:pt idx="175">
                  <c:v>-3.3305000000000001E-2</c:v>
                </c:pt>
                <c:pt idx="176">
                  <c:v>-3.8142000000000002E-2</c:v>
                </c:pt>
                <c:pt idx="177">
                  <c:v>-1.5521999999999999E-2</c:v>
                </c:pt>
                <c:pt idx="178">
                  <c:v>-3.5742999999999997E-2</c:v>
                </c:pt>
                <c:pt idx="179">
                  <c:v>-7.2049999999999996E-3</c:v>
                </c:pt>
                <c:pt idx="180">
                  <c:v>-3.7205000000000002E-2</c:v>
                </c:pt>
                <c:pt idx="181">
                  <c:v>-7.4679999999999998E-3</c:v>
                </c:pt>
                <c:pt idx="182">
                  <c:v>2.5486999999999999E-2</c:v>
                </c:pt>
                <c:pt idx="183">
                  <c:v>4.3255000000000002E-2</c:v>
                </c:pt>
                <c:pt idx="184">
                  <c:v>4.9853000000000001E-2</c:v>
                </c:pt>
                <c:pt idx="185">
                  <c:v>8.1277000000000002E-2</c:v>
                </c:pt>
                <c:pt idx="186">
                  <c:v>4.4776000000000003E-2</c:v>
                </c:pt>
                <c:pt idx="187">
                  <c:v>-2.9508E-2</c:v>
                </c:pt>
                <c:pt idx="188">
                  <c:v>-5.5627000000000003E-2</c:v>
                </c:pt>
                <c:pt idx="189">
                  <c:v>-8.3333000000000004E-2</c:v>
                </c:pt>
                <c:pt idx="190">
                  <c:v>-0.100855</c:v>
                </c:pt>
                <c:pt idx="191">
                  <c:v>-0.11097600000000001</c:v>
                </c:pt>
                <c:pt idx="192">
                  <c:v>-0.116797</c:v>
                </c:pt>
                <c:pt idx="193">
                  <c:v>-0.106253</c:v>
                </c:pt>
                <c:pt idx="194">
                  <c:v>-0.13977800000000001</c:v>
                </c:pt>
                <c:pt idx="195">
                  <c:v>-0.120238</c:v>
                </c:pt>
                <c:pt idx="196">
                  <c:v>-0.12831000000000001</c:v>
                </c:pt>
                <c:pt idx="197">
                  <c:v>-0.13936799999999999</c:v>
                </c:pt>
                <c:pt idx="198">
                  <c:v>-0.15379999999999999</c:v>
                </c:pt>
                <c:pt idx="199">
                  <c:v>-0.167985</c:v>
                </c:pt>
                <c:pt idx="200">
                  <c:v>-0.17896000000000001</c:v>
                </c:pt>
                <c:pt idx="201">
                  <c:v>-0.226239</c:v>
                </c:pt>
                <c:pt idx="202">
                  <c:v>-0.24338599999999999</c:v>
                </c:pt>
                <c:pt idx="203">
                  <c:v>-0.25223000000000001</c:v>
                </c:pt>
                <c:pt idx="204">
                  <c:v>-0.24249799999999999</c:v>
                </c:pt>
                <c:pt idx="205">
                  <c:v>-0.212618</c:v>
                </c:pt>
                <c:pt idx="206">
                  <c:v>-0.19361100000000001</c:v>
                </c:pt>
                <c:pt idx="207">
                  <c:v>-0.200795</c:v>
                </c:pt>
                <c:pt idx="208">
                  <c:v>-0.22229499999999999</c:v>
                </c:pt>
                <c:pt idx="209">
                  <c:v>-0.220945</c:v>
                </c:pt>
                <c:pt idx="210">
                  <c:v>-0.22755700000000001</c:v>
                </c:pt>
                <c:pt idx="211">
                  <c:v>-0.24860699999999999</c:v>
                </c:pt>
                <c:pt idx="212">
                  <c:v>-0.26700000000000002</c:v>
                </c:pt>
                <c:pt idx="213">
                  <c:v>-0.27749400000000002</c:v>
                </c:pt>
                <c:pt idx="214">
                  <c:v>-0.26925900000000003</c:v>
                </c:pt>
                <c:pt idx="215">
                  <c:v>-0.29533599999999999</c:v>
                </c:pt>
                <c:pt idx="216">
                  <c:v>-0.31926300000000002</c:v>
                </c:pt>
                <c:pt idx="217">
                  <c:v>-0.30579800000000001</c:v>
                </c:pt>
                <c:pt idx="218">
                  <c:v>-0.29844599999999999</c:v>
                </c:pt>
                <c:pt idx="219">
                  <c:v>-0.26555600000000001</c:v>
                </c:pt>
                <c:pt idx="220">
                  <c:v>-0.25606400000000001</c:v>
                </c:pt>
                <c:pt idx="221">
                  <c:v>-0.24653700000000001</c:v>
                </c:pt>
                <c:pt idx="222">
                  <c:v>-0.24429600000000001</c:v>
                </c:pt>
                <c:pt idx="223">
                  <c:v>-0.22558500000000001</c:v>
                </c:pt>
                <c:pt idx="224">
                  <c:v>-0.24230299999999999</c:v>
                </c:pt>
                <c:pt idx="225">
                  <c:v>-0.25458199999999997</c:v>
                </c:pt>
                <c:pt idx="226">
                  <c:v>-0.26560800000000001</c:v>
                </c:pt>
                <c:pt idx="227">
                  <c:v>-0.26254</c:v>
                </c:pt>
                <c:pt idx="228">
                  <c:v>-0.28412799999999999</c:v>
                </c:pt>
                <c:pt idx="229">
                  <c:v>-0.30011100000000002</c:v>
                </c:pt>
                <c:pt idx="230">
                  <c:v>-0.30666599999999999</c:v>
                </c:pt>
                <c:pt idx="231">
                  <c:v>-0.31445000000000001</c:v>
                </c:pt>
                <c:pt idx="232">
                  <c:v>-0.31418000000000001</c:v>
                </c:pt>
                <c:pt idx="233">
                  <c:v>-0.31328299999999998</c:v>
                </c:pt>
                <c:pt idx="234">
                  <c:v>-0.31697599999999998</c:v>
                </c:pt>
                <c:pt idx="235">
                  <c:v>-0.30140800000000001</c:v>
                </c:pt>
                <c:pt idx="236">
                  <c:v>-0.322714</c:v>
                </c:pt>
                <c:pt idx="237">
                  <c:v>-0.36</c:v>
                </c:pt>
                <c:pt idx="238">
                  <c:v>-0.35595700000000002</c:v>
                </c:pt>
                <c:pt idx="239">
                  <c:v>-0.321766</c:v>
                </c:pt>
                <c:pt idx="240">
                  <c:v>-0.34410299999999999</c:v>
                </c:pt>
                <c:pt idx="241">
                  <c:v>-0.30769200000000002</c:v>
                </c:pt>
                <c:pt idx="242">
                  <c:v>-0.321299</c:v>
                </c:pt>
                <c:pt idx="243">
                  <c:v>-0.33027499999999999</c:v>
                </c:pt>
                <c:pt idx="244">
                  <c:v>-0.29622199999999999</c:v>
                </c:pt>
                <c:pt idx="245">
                  <c:v>-0.29799900000000001</c:v>
                </c:pt>
                <c:pt idx="246">
                  <c:v>-0.32567800000000002</c:v>
                </c:pt>
                <c:pt idx="247">
                  <c:v>-0.32751000000000002</c:v>
                </c:pt>
                <c:pt idx="248">
                  <c:v>-0.30237999999999998</c:v>
                </c:pt>
                <c:pt idx="249">
                  <c:v>-0.31678400000000001</c:v>
                </c:pt>
                <c:pt idx="250">
                  <c:v>-0.32195099999999999</c:v>
                </c:pt>
                <c:pt idx="251">
                  <c:v>-0.33251199999999997</c:v>
                </c:pt>
                <c:pt idx="252">
                  <c:v>-0.33333299999999999</c:v>
                </c:pt>
                <c:pt idx="253">
                  <c:v>-0.30252099999999998</c:v>
                </c:pt>
                <c:pt idx="254">
                  <c:v>-0.30144900000000002</c:v>
                </c:pt>
                <c:pt idx="255">
                  <c:v>-0.26707999999999998</c:v>
                </c:pt>
                <c:pt idx="256">
                  <c:v>-0.31076900000000002</c:v>
                </c:pt>
                <c:pt idx="257">
                  <c:v>-0.35126499999999999</c:v>
                </c:pt>
                <c:pt idx="258">
                  <c:v>-0.40506300000000001</c:v>
                </c:pt>
                <c:pt idx="259">
                  <c:v>-0.43537399999999998</c:v>
                </c:pt>
                <c:pt idx="260">
                  <c:v>-0.42181800000000003</c:v>
                </c:pt>
                <c:pt idx="261">
                  <c:v>-0.468864</c:v>
                </c:pt>
                <c:pt idx="262">
                  <c:v>-0.47430800000000001</c:v>
                </c:pt>
                <c:pt idx="263">
                  <c:v>-0.439834</c:v>
                </c:pt>
                <c:pt idx="264">
                  <c:v>-0.43805300000000003</c:v>
                </c:pt>
                <c:pt idx="265">
                  <c:v>-0.43127900000000002</c:v>
                </c:pt>
                <c:pt idx="266">
                  <c:v>-0.44444400000000001</c:v>
                </c:pt>
                <c:pt idx="267">
                  <c:v>-0.4269</c:v>
                </c:pt>
                <c:pt idx="268">
                  <c:v>-0.42424200000000001</c:v>
                </c:pt>
                <c:pt idx="269">
                  <c:v>-0.47368399999999999</c:v>
                </c:pt>
                <c:pt idx="270">
                  <c:v>-0.53472200000000003</c:v>
                </c:pt>
                <c:pt idx="271">
                  <c:v>-0.52482200000000001</c:v>
                </c:pt>
                <c:pt idx="272">
                  <c:v>-0.5</c:v>
                </c:pt>
                <c:pt idx="273">
                  <c:v>-0.50413200000000002</c:v>
                </c:pt>
                <c:pt idx="274">
                  <c:v>-0.51401799999999997</c:v>
                </c:pt>
                <c:pt idx="275">
                  <c:v>-0.469999</c:v>
                </c:pt>
                <c:pt idx="276">
                  <c:v>-0.34883700000000001</c:v>
                </c:pt>
                <c:pt idx="277">
                  <c:v>-0.31578899999999999</c:v>
                </c:pt>
                <c:pt idx="278">
                  <c:v>-0.41025600000000001</c:v>
                </c:pt>
                <c:pt idx="279">
                  <c:v>-0.41176400000000002</c:v>
                </c:pt>
                <c:pt idx="280">
                  <c:v>-0.38235200000000003</c:v>
                </c:pt>
                <c:pt idx="281">
                  <c:v>-0.387096</c:v>
                </c:pt>
                <c:pt idx="282">
                  <c:v>-0.47540900000000003</c:v>
                </c:pt>
                <c:pt idx="283">
                  <c:v>-0.586206</c:v>
                </c:pt>
                <c:pt idx="284">
                  <c:v>-0.50909000000000004</c:v>
                </c:pt>
                <c:pt idx="285">
                  <c:v>-0.52941099999999996</c:v>
                </c:pt>
                <c:pt idx="286">
                  <c:v>-0.54347800000000002</c:v>
                </c:pt>
                <c:pt idx="287">
                  <c:v>-0.652173</c:v>
                </c:pt>
                <c:pt idx="288">
                  <c:v>-0.64285700000000001</c:v>
                </c:pt>
                <c:pt idx="289">
                  <c:v>-0.5625</c:v>
                </c:pt>
                <c:pt idx="290">
                  <c:v>-0.37930999999999998</c:v>
                </c:pt>
                <c:pt idx="291">
                  <c:v>-0.48148099999999999</c:v>
                </c:pt>
                <c:pt idx="292">
                  <c:v>-0.38461499999999998</c:v>
                </c:pt>
                <c:pt idx="293">
                  <c:v>-0.36363600000000001</c:v>
                </c:pt>
                <c:pt idx="294">
                  <c:v>-0.31578899999999999</c:v>
                </c:pt>
                <c:pt idx="295">
                  <c:v>-0.44444400000000001</c:v>
                </c:pt>
                <c:pt idx="296">
                  <c:v>-0.5</c:v>
                </c:pt>
                <c:pt idx="297">
                  <c:v>-0.47368399999999999</c:v>
                </c:pt>
                <c:pt idx="298">
                  <c:v>-0.4375</c:v>
                </c:pt>
                <c:pt idx="299">
                  <c:v>-0.5625</c:v>
                </c:pt>
                <c:pt idx="300">
                  <c:v>-0.28571400000000002</c:v>
                </c:pt>
                <c:pt idx="301">
                  <c:v>0</c:v>
                </c:pt>
                <c:pt idx="302">
                  <c:v>0.25</c:v>
                </c:pt>
                <c:pt idx="303">
                  <c:v>0.14285700000000001</c:v>
                </c:pt>
                <c:pt idx="304">
                  <c:v>0.1</c:v>
                </c:pt>
                <c:pt idx="305">
                  <c:v>0.222222</c:v>
                </c:pt>
                <c:pt idx="306">
                  <c:v>0.2</c:v>
                </c:pt>
                <c:pt idx="307">
                  <c:v>-0.15384600000000001</c:v>
                </c:pt>
                <c:pt idx="308">
                  <c:v>-0.46666600000000003</c:v>
                </c:pt>
                <c:pt idx="309">
                  <c:v>-0.61111099999999996</c:v>
                </c:pt>
                <c:pt idx="310">
                  <c:v>-0.6875</c:v>
                </c:pt>
                <c:pt idx="311">
                  <c:v>-0.45454499999999998</c:v>
                </c:pt>
                <c:pt idx="312">
                  <c:v>-0.41666599999999998</c:v>
                </c:pt>
                <c:pt idx="313">
                  <c:v>-0.5</c:v>
                </c:pt>
                <c:pt idx="314">
                  <c:v>-0.36363600000000001</c:v>
                </c:pt>
                <c:pt idx="315">
                  <c:v>-0.111111</c:v>
                </c:pt>
                <c:pt idx="316">
                  <c:v>0.375</c:v>
                </c:pt>
                <c:pt idx="317">
                  <c:v>0.83333299999999999</c:v>
                </c:pt>
                <c:pt idx="318">
                  <c:v>0.71428499999999995</c:v>
                </c:pt>
                <c:pt idx="319">
                  <c:v>0.5</c:v>
                </c:pt>
                <c:pt idx="320">
                  <c:v>0.33333299999999999</c:v>
                </c:pt>
                <c:pt idx="321">
                  <c:v>0.5</c:v>
                </c:pt>
                <c:pt idx="322">
                  <c:v>0</c:v>
                </c:pt>
                <c:pt idx="323">
                  <c:v>-8.3333000000000004E-2</c:v>
                </c:pt>
                <c:pt idx="324">
                  <c:v>0.15384600000000001</c:v>
                </c:pt>
                <c:pt idx="325">
                  <c:v>7.6923000000000005E-2</c:v>
                </c:pt>
                <c:pt idx="326">
                  <c:v>0</c:v>
                </c:pt>
                <c:pt idx="327">
                  <c:v>-7.1428000000000005E-2</c:v>
                </c:pt>
                <c:pt idx="328">
                  <c:v>-7.6923000000000005E-2</c:v>
                </c:pt>
                <c:pt idx="329">
                  <c:v>-0.2</c:v>
                </c:pt>
                <c:pt idx="330">
                  <c:v>-0.375</c:v>
                </c:pt>
                <c:pt idx="331">
                  <c:v>-0.4375</c:v>
                </c:pt>
                <c:pt idx="332">
                  <c:v>-0.28571400000000002</c:v>
                </c:pt>
                <c:pt idx="333">
                  <c:v>-0.14285700000000001</c:v>
                </c:pt>
                <c:pt idx="334">
                  <c:v>-0.14285700000000001</c:v>
                </c:pt>
                <c:pt idx="335">
                  <c:v>0</c:v>
                </c:pt>
                <c:pt idx="336">
                  <c:v>0.15384600000000001</c:v>
                </c:pt>
                <c:pt idx="337">
                  <c:v>7.1428000000000005E-2</c:v>
                </c:pt>
                <c:pt idx="338">
                  <c:v>0</c:v>
                </c:pt>
                <c:pt idx="339">
                  <c:v>0</c:v>
                </c:pt>
                <c:pt idx="340">
                  <c:v>-7.6923000000000005E-2</c:v>
                </c:pt>
                <c:pt idx="341">
                  <c:v>0</c:v>
                </c:pt>
                <c:pt idx="342">
                  <c:v>-0.125</c:v>
                </c:pt>
                <c:pt idx="343">
                  <c:v>-0.125</c:v>
                </c:pt>
                <c:pt idx="344">
                  <c:v>6.6666000000000003E-2</c:v>
                </c:pt>
                <c:pt idx="345">
                  <c:v>0.28571400000000002</c:v>
                </c:pt>
                <c:pt idx="346">
                  <c:v>0.14285700000000001</c:v>
                </c:pt>
                <c:pt idx="347">
                  <c:v>6.6666000000000003E-2</c:v>
                </c:pt>
                <c:pt idx="348">
                  <c:v>-0.125</c:v>
                </c:pt>
                <c:pt idx="349">
                  <c:v>-0.117647</c:v>
                </c:pt>
                <c:pt idx="350">
                  <c:v>-5.8823E-2</c:v>
                </c:pt>
                <c:pt idx="351">
                  <c:v>-5.5555E-2</c:v>
                </c:pt>
                <c:pt idx="352">
                  <c:v>5.2630999999999997E-2</c:v>
                </c:pt>
                <c:pt idx="353">
                  <c:v>0.277777</c:v>
                </c:pt>
                <c:pt idx="354">
                  <c:v>0.29411700000000002</c:v>
                </c:pt>
                <c:pt idx="355">
                  <c:v>0.29411700000000002</c:v>
                </c:pt>
                <c:pt idx="356">
                  <c:v>0.105263</c:v>
                </c:pt>
                <c:pt idx="357">
                  <c:v>-0.05</c:v>
                </c:pt>
                <c:pt idx="358">
                  <c:v>-0.227272</c:v>
                </c:pt>
                <c:pt idx="359">
                  <c:v>-0.45833299999999999</c:v>
                </c:pt>
                <c:pt idx="360">
                  <c:v>-0.5</c:v>
                </c:pt>
                <c:pt idx="361">
                  <c:v>-0.47826000000000002</c:v>
                </c:pt>
                <c:pt idx="362">
                  <c:v>-0.54166599999999998</c:v>
                </c:pt>
                <c:pt idx="363">
                  <c:v>-0.60869499999999999</c:v>
                </c:pt>
                <c:pt idx="364">
                  <c:v>-0.57142800000000005</c:v>
                </c:pt>
                <c:pt idx="365">
                  <c:v>-0.44444400000000001</c:v>
                </c:pt>
                <c:pt idx="366">
                  <c:v>-0.3125</c:v>
                </c:pt>
                <c:pt idx="367">
                  <c:v>0</c:v>
                </c:pt>
                <c:pt idx="368">
                  <c:v>0.25</c:v>
                </c:pt>
                <c:pt idx="369">
                  <c:v>0.54545399999999999</c:v>
                </c:pt>
                <c:pt idx="370">
                  <c:v>1.0909089999999999</c:v>
                </c:pt>
                <c:pt idx="371">
                  <c:v>1.0833330000000001</c:v>
                </c:pt>
                <c:pt idx="372">
                  <c:v>0.91666599999999998</c:v>
                </c:pt>
                <c:pt idx="373">
                  <c:v>0.4375</c:v>
                </c:pt>
                <c:pt idx="374">
                  <c:v>0.4375</c:v>
                </c:pt>
                <c:pt idx="375">
                  <c:v>0.41176400000000002</c:v>
                </c:pt>
                <c:pt idx="376">
                  <c:v>0.13043399999999999</c:v>
                </c:pt>
                <c:pt idx="377">
                  <c:v>3.7037E-2</c:v>
                </c:pt>
                <c:pt idx="378">
                  <c:v>0.26923000000000002</c:v>
                </c:pt>
                <c:pt idx="379">
                  <c:v>0.4</c:v>
                </c:pt>
                <c:pt idx="380">
                  <c:v>0.42857099999999998</c:v>
                </c:pt>
                <c:pt idx="381">
                  <c:v>0.44444400000000001</c:v>
                </c:pt>
                <c:pt idx="382">
                  <c:v>0.35714200000000002</c:v>
                </c:pt>
                <c:pt idx="383">
                  <c:v>0.117647</c:v>
                </c:pt>
                <c:pt idx="384">
                  <c:v>-8.1081E-2</c:v>
                </c:pt>
                <c:pt idx="385">
                  <c:v>-0.16666600000000001</c:v>
                </c:pt>
                <c:pt idx="386">
                  <c:v>-0.30952299999999999</c:v>
                </c:pt>
                <c:pt idx="387">
                  <c:v>-0.36363600000000001</c:v>
                </c:pt>
                <c:pt idx="388">
                  <c:v>-0.26190400000000003</c:v>
                </c:pt>
                <c:pt idx="389">
                  <c:v>-0.16666600000000001</c:v>
                </c:pt>
                <c:pt idx="390">
                  <c:v>-0.238095</c:v>
                </c:pt>
                <c:pt idx="391">
                  <c:v>-0.205128</c:v>
                </c:pt>
                <c:pt idx="392">
                  <c:v>0</c:v>
                </c:pt>
                <c:pt idx="393">
                  <c:v>-2.8570999999999999E-2</c:v>
                </c:pt>
                <c:pt idx="394">
                  <c:v>0</c:v>
                </c:pt>
                <c:pt idx="395">
                  <c:v>-0.131578</c:v>
                </c:pt>
                <c:pt idx="396">
                  <c:v>-0.13888800000000001</c:v>
                </c:pt>
                <c:pt idx="397">
                  <c:v>0.114285</c:v>
                </c:pt>
                <c:pt idx="398">
                  <c:v>0.162162</c:v>
                </c:pt>
                <c:pt idx="399">
                  <c:v>0.52777700000000005</c:v>
                </c:pt>
                <c:pt idx="400">
                  <c:v>0.80487799999999998</c:v>
                </c:pt>
                <c:pt idx="401">
                  <c:v>0.77499899999999999</c:v>
                </c:pt>
                <c:pt idx="402">
                  <c:v>0.94736799999999999</c:v>
                </c:pt>
                <c:pt idx="403">
                  <c:v>0.94999900000000004</c:v>
                </c:pt>
                <c:pt idx="404">
                  <c:v>0.652173</c:v>
                </c:pt>
                <c:pt idx="405">
                  <c:v>0.54098299999999999</c:v>
                </c:pt>
                <c:pt idx="406">
                  <c:v>0.17948700000000001</c:v>
                </c:pt>
                <c:pt idx="407">
                  <c:v>-2.5641000000000001E-2</c:v>
                </c:pt>
                <c:pt idx="408">
                  <c:v>0.113924</c:v>
                </c:pt>
                <c:pt idx="409">
                  <c:v>0.120481</c:v>
                </c:pt>
                <c:pt idx="410">
                  <c:v>0.129411</c:v>
                </c:pt>
                <c:pt idx="411">
                  <c:v>-9.9000000000000008E-3</c:v>
                </c:pt>
                <c:pt idx="412">
                  <c:v>-7.2727E-2</c:v>
                </c:pt>
                <c:pt idx="413">
                  <c:v>7.0707000000000006E-2</c:v>
                </c:pt>
                <c:pt idx="414">
                  <c:v>0.31521700000000002</c:v>
                </c:pt>
                <c:pt idx="415">
                  <c:v>0.24752399999999999</c:v>
                </c:pt>
                <c:pt idx="416">
                  <c:v>0.39047599999999999</c:v>
                </c:pt>
                <c:pt idx="417">
                  <c:v>0.49532700000000002</c:v>
                </c:pt>
                <c:pt idx="418">
                  <c:v>0.34645599999999999</c:v>
                </c:pt>
                <c:pt idx="419">
                  <c:v>0.385245</c:v>
                </c:pt>
                <c:pt idx="420">
                  <c:v>0.46093699999999999</c:v>
                </c:pt>
                <c:pt idx="421">
                  <c:v>0.47887299999999999</c:v>
                </c:pt>
                <c:pt idx="422">
                  <c:v>0.35220099999999999</c:v>
                </c:pt>
                <c:pt idx="423">
                  <c:v>0.33720899999999998</c:v>
                </c:pt>
                <c:pt idx="424">
                  <c:v>0.34615299999999999</c:v>
                </c:pt>
                <c:pt idx="425">
                  <c:v>0.372448</c:v>
                </c:pt>
                <c:pt idx="426">
                  <c:v>0.492753</c:v>
                </c:pt>
                <c:pt idx="427">
                  <c:v>0.37930999999999998</c:v>
                </c:pt>
                <c:pt idx="428">
                  <c:v>0.419491</c:v>
                </c:pt>
                <c:pt idx="429">
                  <c:v>0.37642500000000001</c:v>
                </c:pt>
                <c:pt idx="430">
                  <c:v>0.439114</c:v>
                </c:pt>
                <c:pt idx="431">
                  <c:v>0.38831599999999999</c:v>
                </c:pt>
                <c:pt idx="432">
                  <c:v>0.26646700000000001</c:v>
                </c:pt>
                <c:pt idx="433">
                  <c:v>0.26815600000000001</c:v>
                </c:pt>
                <c:pt idx="434">
                  <c:v>0.26052599999999998</c:v>
                </c:pt>
                <c:pt idx="435">
                  <c:v>0.26030900000000001</c:v>
                </c:pt>
                <c:pt idx="436">
                  <c:v>0.15068400000000001</c:v>
                </c:pt>
                <c:pt idx="437">
                  <c:v>0.12808900000000001</c:v>
                </c:pt>
                <c:pt idx="438">
                  <c:v>0.13006300000000001</c:v>
                </c:pt>
                <c:pt idx="439">
                  <c:v>3.8535E-2</c:v>
                </c:pt>
                <c:pt idx="440">
                  <c:v>7.5750000000000001E-3</c:v>
                </c:pt>
                <c:pt idx="441">
                  <c:v>-1.8214000000000001E-2</c:v>
                </c:pt>
                <c:pt idx="442">
                  <c:v>2.1543E-2</c:v>
                </c:pt>
                <c:pt idx="443">
                  <c:v>4.1522000000000003E-2</c:v>
                </c:pt>
                <c:pt idx="444">
                  <c:v>0.109401</c:v>
                </c:pt>
                <c:pt idx="445">
                  <c:v>9.9336999999999995E-2</c:v>
                </c:pt>
                <c:pt idx="446">
                  <c:v>9.5541000000000001E-2</c:v>
                </c:pt>
                <c:pt idx="447">
                  <c:v>0.18107599999999999</c:v>
                </c:pt>
                <c:pt idx="448">
                  <c:v>0.20500699999999999</c:v>
                </c:pt>
                <c:pt idx="449">
                  <c:v>0.17910400000000001</c:v>
                </c:pt>
                <c:pt idx="450">
                  <c:v>0.114799</c:v>
                </c:pt>
                <c:pt idx="451">
                  <c:v>8.8353000000000001E-2</c:v>
                </c:pt>
                <c:pt idx="452">
                  <c:v>7.2178000000000006E-2</c:v>
                </c:pt>
                <c:pt idx="453">
                  <c:v>-2.0910000000000002E-2</c:v>
                </c:pt>
                <c:pt idx="454">
                  <c:v>-5.5229E-2</c:v>
                </c:pt>
                <c:pt idx="455">
                  <c:v>-0.10337</c:v>
                </c:pt>
                <c:pt idx="456">
                  <c:v>-0.10584300000000001</c:v>
                </c:pt>
                <c:pt idx="457">
                  <c:v>-0.14560999999999999</c:v>
                </c:pt>
                <c:pt idx="458">
                  <c:v>-0.144262</c:v>
                </c:pt>
                <c:pt idx="459">
                  <c:v>-0.143176</c:v>
                </c:pt>
                <c:pt idx="460">
                  <c:v>-0.165769</c:v>
                </c:pt>
                <c:pt idx="461">
                  <c:v>-0.187027</c:v>
                </c:pt>
                <c:pt idx="462">
                  <c:v>-0.18582099999999999</c:v>
                </c:pt>
                <c:pt idx="463">
                  <c:v>-0.18797800000000001</c:v>
                </c:pt>
                <c:pt idx="464">
                  <c:v>-0.18551000000000001</c:v>
                </c:pt>
                <c:pt idx="465">
                  <c:v>-0.148617</c:v>
                </c:pt>
                <c:pt idx="466">
                  <c:v>-0.124413</c:v>
                </c:pt>
                <c:pt idx="467">
                  <c:v>-0.166101</c:v>
                </c:pt>
                <c:pt idx="468">
                  <c:v>-0.18202499999999999</c:v>
                </c:pt>
                <c:pt idx="469">
                  <c:v>-0.22031899999999999</c:v>
                </c:pt>
                <c:pt idx="470">
                  <c:v>-0.23640600000000001</c:v>
                </c:pt>
                <c:pt idx="471">
                  <c:v>-0.27229999999999999</c:v>
                </c:pt>
                <c:pt idx="472">
                  <c:v>-0.27196100000000001</c:v>
                </c:pt>
                <c:pt idx="473">
                  <c:v>-0.30703799999999998</c:v>
                </c:pt>
                <c:pt idx="474">
                  <c:v>-0.32810600000000001</c:v>
                </c:pt>
                <c:pt idx="475">
                  <c:v>-0.275308</c:v>
                </c:pt>
                <c:pt idx="476">
                  <c:v>-0.240837</c:v>
                </c:pt>
                <c:pt idx="477">
                  <c:v>-0.20608499999999999</c:v>
                </c:pt>
                <c:pt idx="478">
                  <c:v>-0.20699300000000001</c:v>
                </c:pt>
                <c:pt idx="479">
                  <c:v>-0.221719</c:v>
                </c:pt>
                <c:pt idx="480">
                  <c:v>-0.207874</c:v>
                </c:pt>
                <c:pt idx="481">
                  <c:v>-0.25811200000000001</c:v>
                </c:pt>
                <c:pt idx="482">
                  <c:v>-0.30104300000000001</c:v>
                </c:pt>
                <c:pt idx="483">
                  <c:v>-0.308396</c:v>
                </c:pt>
                <c:pt idx="484">
                  <c:v>-0.30434699999999998</c:v>
                </c:pt>
                <c:pt idx="485">
                  <c:v>-0.29950900000000003</c:v>
                </c:pt>
                <c:pt idx="486">
                  <c:v>-0.22103300000000001</c:v>
                </c:pt>
                <c:pt idx="487">
                  <c:v>-0.222222</c:v>
                </c:pt>
                <c:pt idx="488">
                  <c:v>-0.29660999999999998</c:v>
                </c:pt>
                <c:pt idx="489">
                  <c:v>-0.29608899999999999</c:v>
                </c:pt>
                <c:pt idx="490">
                  <c:v>-0.30019099999999999</c:v>
                </c:pt>
                <c:pt idx="491">
                  <c:v>-0.31526100000000001</c:v>
                </c:pt>
                <c:pt idx="492">
                  <c:v>-0.282744</c:v>
                </c:pt>
                <c:pt idx="493">
                  <c:v>-0.31687199999999999</c:v>
                </c:pt>
                <c:pt idx="494">
                  <c:v>-0.31106400000000001</c:v>
                </c:pt>
                <c:pt idx="495">
                  <c:v>-0.31827899999999998</c:v>
                </c:pt>
                <c:pt idx="496">
                  <c:v>-0.292626</c:v>
                </c:pt>
                <c:pt idx="497">
                  <c:v>-0.27007199999999998</c:v>
                </c:pt>
                <c:pt idx="498">
                  <c:v>-0.26835399999999998</c:v>
                </c:pt>
                <c:pt idx="499">
                  <c:v>-0.32467499999999999</c:v>
                </c:pt>
                <c:pt idx="500">
                  <c:v>-0.35883900000000002</c:v>
                </c:pt>
                <c:pt idx="501">
                  <c:v>-0.38591500000000001</c:v>
                </c:pt>
                <c:pt idx="502">
                  <c:v>-0.41736600000000001</c:v>
                </c:pt>
                <c:pt idx="503">
                  <c:v>-0.42696600000000001</c:v>
                </c:pt>
                <c:pt idx="504">
                  <c:v>-0.46107700000000001</c:v>
                </c:pt>
                <c:pt idx="505">
                  <c:v>-0.42038199999999998</c:v>
                </c:pt>
                <c:pt idx="506">
                  <c:v>-0.35688999999999999</c:v>
                </c:pt>
                <c:pt idx="507">
                  <c:v>-0.29056599999999999</c:v>
                </c:pt>
                <c:pt idx="508">
                  <c:v>-0.15021399999999999</c:v>
                </c:pt>
                <c:pt idx="509">
                  <c:v>-0.12295</c:v>
                </c:pt>
                <c:pt idx="510">
                  <c:v>-0.100436</c:v>
                </c:pt>
                <c:pt idx="511">
                  <c:v>-9.2589999999999999E-3</c:v>
                </c:pt>
                <c:pt idx="512">
                  <c:v>-4.8300000000000001E-3</c:v>
                </c:pt>
                <c:pt idx="513">
                  <c:v>8.5307999999999995E-2</c:v>
                </c:pt>
                <c:pt idx="514">
                  <c:v>0.15909000000000001</c:v>
                </c:pt>
                <c:pt idx="515">
                  <c:v>0.10480299999999999</c:v>
                </c:pt>
                <c:pt idx="516">
                  <c:v>0.12396600000000001</c:v>
                </c:pt>
                <c:pt idx="517">
                  <c:v>0.209205</c:v>
                </c:pt>
                <c:pt idx="518">
                  <c:v>0.24793299999999999</c:v>
                </c:pt>
                <c:pt idx="519">
                  <c:v>0.27952700000000003</c:v>
                </c:pt>
                <c:pt idx="520">
                  <c:v>0.123239</c:v>
                </c:pt>
                <c:pt idx="521">
                  <c:v>9.8244999999999999E-2</c:v>
                </c:pt>
                <c:pt idx="522">
                  <c:v>0.10561</c:v>
                </c:pt>
                <c:pt idx="523">
                  <c:v>4.1008999999999997E-2</c:v>
                </c:pt>
                <c:pt idx="524">
                  <c:v>5.9699999999999996E-3</c:v>
                </c:pt>
                <c:pt idx="525">
                  <c:v>-2.5495E-2</c:v>
                </c:pt>
                <c:pt idx="526">
                  <c:v>0</c:v>
                </c:pt>
                <c:pt idx="527">
                  <c:v>4.6195E-2</c:v>
                </c:pt>
                <c:pt idx="528">
                  <c:v>9.5890000000000003E-2</c:v>
                </c:pt>
                <c:pt idx="529">
                  <c:v>1.0526000000000001E-2</c:v>
                </c:pt>
                <c:pt idx="530">
                  <c:v>-1.5706000000000001E-2</c:v>
                </c:pt>
                <c:pt idx="531">
                  <c:v>-2.5641000000000001E-2</c:v>
                </c:pt>
                <c:pt idx="532">
                  <c:v>-5.9808E-2</c:v>
                </c:pt>
                <c:pt idx="533">
                  <c:v>-0.13114700000000001</c:v>
                </c:pt>
                <c:pt idx="534">
                  <c:v>-0.18485499999999999</c:v>
                </c:pt>
                <c:pt idx="535">
                  <c:v>-0.19495399999999999</c:v>
                </c:pt>
                <c:pt idx="536">
                  <c:v>-0.12826599999999999</c:v>
                </c:pt>
                <c:pt idx="537">
                  <c:v>-0.15740699999999999</c:v>
                </c:pt>
                <c:pt idx="538">
                  <c:v>-0.192825</c:v>
                </c:pt>
                <c:pt idx="539">
                  <c:v>-0.240449</c:v>
                </c:pt>
                <c:pt idx="540">
                  <c:v>-0.19483500000000001</c:v>
                </c:pt>
                <c:pt idx="541">
                  <c:v>-0.204819</c:v>
                </c:pt>
                <c:pt idx="542">
                  <c:v>-0.24565699999999999</c:v>
                </c:pt>
                <c:pt idx="543">
                  <c:v>-0.371570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ento_novych_JIP_znovych_hosp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27407407407395717</c:v>
                </c:pt>
                <c:pt idx="1">
                  <c:v>0.29710144927529236</c:v>
                </c:pt>
                <c:pt idx="2">
                  <c:v>0.2847682119204441</c:v>
                </c:pt>
                <c:pt idx="3">
                  <c:v>0.2901234567902114</c:v>
                </c:pt>
                <c:pt idx="4">
                  <c:v>0.25555555555556653</c:v>
                </c:pt>
                <c:pt idx="5">
                  <c:v>0.23783783783781448</c:v>
                </c:pt>
                <c:pt idx="6">
                  <c:v>0.23076923076919792</c:v>
                </c:pt>
                <c:pt idx="7">
                  <c:v>0.22790697674414956</c:v>
                </c:pt>
                <c:pt idx="8">
                  <c:v>0.20901639344263936</c:v>
                </c:pt>
                <c:pt idx="9">
                  <c:v>0.19834710743801348</c:v>
                </c:pt>
                <c:pt idx="10">
                  <c:v>0.18352059925090894</c:v>
                </c:pt>
                <c:pt idx="11">
                  <c:v>0.1924528301886666</c:v>
                </c:pt>
                <c:pt idx="12">
                  <c:v>0.19031141868485746</c:v>
                </c:pt>
                <c:pt idx="13">
                  <c:v>0.19322033898279783</c:v>
                </c:pt>
                <c:pt idx="14">
                  <c:v>0.18786127167612485</c:v>
                </c:pt>
                <c:pt idx="15">
                  <c:v>0.17112299465221598</c:v>
                </c:pt>
                <c:pt idx="16">
                  <c:v>0.15789473684199706</c:v>
                </c:pt>
                <c:pt idx="17">
                  <c:v>0.1796407185628382</c:v>
                </c:pt>
                <c:pt idx="18">
                  <c:v>0.20110701106998166</c:v>
                </c:pt>
                <c:pt idx="19">
                  <c:v>0.21081081081070185</c:v>
                </c:pt>
                <c:pt idx="20">
                  <c:v>0.23316912972082443</c:v>
                </c:pt>
                <c:pt idx="21">
                  <c:v>0.23317683881061357</c:v>
                </c:pt>
                <c:pt idx="22">
                  <c:v>0.23252496433656761</c:v>
                </c:pt>
                <c:pt idx="23">
                  <c:v>0.25070422535205139</c:v>
                </c:pt>
                <c:pt idx="24">
                  <c:v>0.2315789473683596</c:v>
                </c:pt>
                <c:pt idx="25">
                  <c:v>0.22208281053944876</c:v>
                </c:pt>
                <c:pt idx="26">
                  <c:v>0.21845794392518131</c:v>
                </c:pt>
                <c:pt idx="27">
                  <c:v>0.23031727379550185</c:v>
                </c:pt>
                <c:pt idx="28">
                  <c:v>0.21314952279956043</c:v>
                </c:pt>
                <c:pt idx="29">
                  <c:v>0.21115537848605684</c:v>
                </c:pt>
                <c:pt idx="30">
                  <c:v>0.215297450424871</c:v>
                </c:pt>
                <c:pt idx="31">
                  <c:v>0.21523472099199059</c:v>
                </c:pt>
                <c:pt idx="32">
                  <c:v>0.23162393162386299</c:v>
                </c:pt>
                <c:pt idx="33">
                  <c:v>0.2352459016393014</c:v>
                </c:pt>
                <c:pt idx="34">
                  <c:v>0.20959774170781209</c:v>
                </c:pt>
                <c:pt idx="35">
                  <c:v>0.22368421052628581</c:v>
                </c:pt>
                <c:pt idx="36">
                  <c:v>0.22793228536880647</c:v>
                </c:pt>
                <c:pt idx="37">
                  <c:v>0.21775082690184511</c:v>
                </c:pt>
                <c:pt idx="38">
                  <c:v>0.22121212121208467</c:v>
                </c:pt>
                <c:pt idx="39">
                  <c:v>0.22296015180265311</c:v>
                </c:pt>
                <c:pt idx="40">
                  <c:v>0.21887824897400715</c:v>
                </c:pt>
                <c:pt idx="41">
                  <c:v>0.2134551495016466</c:v>
                </c:pt>
                <c:pt idx="42">
                  <c:v>0.20569867291178326</c:v>
                </c:pt>
                <c:pt idx="43">
                  <c:v>0.19963833634717726</c:v>
                </c:pt>
                <c:pt idx="44">
                  <c:v>0.19993129508759866</c:v>
                </c:pt>
                <c:pt idx="45">
                  <c:v>0.19481765834931383</c:v>
                </c:pt>
                <c:pt idx="46">
                  <c:v>0.1781557743956822</c:v>
                </c:pt>
                <c:pt idx="47">
                  <c:v>0.17824267782426634</c:v>
                </c:pt>
                <c:pt idx="48">
                  <c:v>0.17433862433860975</c:v>
                </c:pt>
                <c:pt idx="49">
                  <c:v>0.17310513447430931</c:v>
                </c:pt>
                <c:pt idx="50">
                  <c:v>0.17139031466189386</c:v>
                </c:pt>
                <c:pt idx="51">
                  <c:v>0.17064563006019162</c:v>
                </c:pt>
                <c:pt idx="52">
                  <c:v>0.16488638570595934</c:v>
                </c:pt>
                <c:pt idx="53">
                  <c:v>0.16918767507002666</c:v>
                </c:pt>
                <c:pt idx="54">
                  <c:v>0.16949455259867244</c:v>
                </c:pt>
                <c:pt idx="55">
                  <c:v>0.17285595337218038</c:v>
                </c:pt>
                <c:pt idx="56">
                  <c:v>0.16782334384857769</c:v>
                </c:pt>
                <c:pt idx="57">
                  <c:v>0.16757275343779421</c:v>
                </c:pt>
                <c:pt idx="58">
                  <c:v>0.168321368565749</c:v>
                </c:pt>
                <c:pt idx="59">
                  <c:v>0.16405907296388147</c:v>
                </c:pt>
                <c:pt idx="60">
                  <c:v>0.16975894813732301</c:v>
                </c:pt>
                <c:pt idx="61">
                  <c:v>0.17179183914842824</c:v>
                </c:pt>
                <c:pt idx="62">
                  <c:v>0.16959409594095115</c:v>
                </c:pt>
                <c:pt idx="63">
                  <c:v>0.17295690936106484</c:v>
                </c:pt>
                <c:pt idx="64">
                  <c:v>0.17125870069605686</c:v>
                </c:pt>
                <c:pt idx="65">
                  <c:v>0.17116306954435417</c:v>
                </c:pt>
                <c:pt idx="66">
                  <c:v>0.18239975035106473</c:v>
                </c:pt>
                <c:pt idx="67">
                  <c:v>0.17777777777777495</c:v>
                </c:pt>
                <c:pt idx="68">
                  <c:v>0.17844897959182721</c:v>
                </c:pt>
                <c:pt idx="69">
                  <c:v>0.17713801862827339</c:v>
                </c:pt>
                <c:pt idx="70">
                  <c:v>0.17780492060722428</c:v>
                </c:pt>
                <c:pt idx="71">
                  <c:v>0.17866909753872948</c:v>
                </c:pt>
                <c:pt idx="72">
                  <c:v>0.18044259504444637</c:v>
                </c:pt>
                <c:pt idx="73">
                  <c:v>0.17388781431334099</c:v>
                </c:pt>
                <c:pt idx="74">
                  <c:v>0.17393879565645762</c:v>
                </c:pt>
                <c:pt idx="75">
                  <c:v>0.16978446522976134</c:v>
                </c:pt>
                <c:pt idx="76">
                  <c:v>0.17221753794265182</c:v>
                </c:pt>
                <c:pt idx="77">
                  <c:v>0.17738565126536526</c:v>
                </c:pt>
                <c:pt idx="78">
                  <c:v>0.1761694205259296</c:v>
                </c:pt>
                <c:pt idx="79">
                  <c:v>0.17551020408162601</c:v>
                </c:pt>
                <c:pt idx="80">
                  <c:v>0.18485005170629232</c:v>
                </c:pt>
                <c:pt idx="81">
                  <c:v>0.19110992813413488</c:v>
                </c:pt>
                <c:pt idx="82">
                  <c:v>0.19940152339498873</c:v>
                </c:pt>
                <c:pt idx="83">
                  <c:v>0.2004498172617232</c:v>
                </c:pt>
                <c:pt idx="84">
                  <c:v>0.18594164456231105</c:v>
                </c:pt>
                <c:pt idx="85">
                  <c:v>0.1926787741203107</c:v>
                </c:pt>
                <c:pt idx="86">
                  <c:v>0.19061583577710528</c:v>
                </c:pt>
                <c:pt idx="87">
                  <c:v>0.18536292741450358</c:v>
                </c:pt>
                <c:pt idx="88">
                  <c:v>0.18507188742732852</c:v>
                </c:pt>
                <c:pt idx="89">
                  <c:v>0.1738340399757663</c:v>
                </c:pt>
                <c:pt idx="90">
                  <c:v>0.17252002464570479</c:v>
                </c:pt>
                <c:pt idx="91">
                  <c:v>0.17457737321196723</c:v>
                </c:pt>
                <c:pt idx="92">
                  <c:v>0.17790200591908048</c:v>
                </c:pt>
                <c:pt idx="93">
                  <c:v>0.17726396917146314</c:v>
                </c:pt>
                <c:pt idx="94">
                  <c:v>0.17358490566036103</c:v>
                </c:pt>
                <c:pt idx="95">
                  <c:v>0.16374999999999512</c:v>
                </c:pt>
                <c:pt idx="96">
                  <c:v>0.16802507836990824</c:v>
                </c:pt>
                <c:pt idx="97">
                  <c:v>0.17661847894404911</c:v>
                </c:pt>
                <c:pt idx="98">
                  <c:v>0.18133416849357636</c:v>
                </c:pt>
                <c:pt idx="99">
                  <c:v>0.17321156773210394</c:v>
                </c:pt>
                <c:pt idx="100">
                  <c:v>0.17809057527539413</c:v>
                </c:pt>
                <c:pt idx="101">
                  <c:v>0.18170580964153507</c:v>
                </c:pt>
                <c:pt idx="102">
                  <c:v>0.18667068757538063</c:v>
                </c:pt>
                <c:pt idx="103">
                  <c:v>0.18651148910772244</c:v>
                </c:pt>
                <c:pt idx="104">
                  <c:v>0.17782365084043916</c:v>
                </c:pt>
                <c:pt idx="105">
                  <c:v>0.17636937195295452</c:v>
                </c:pt>
                <c:pt idx="106">
                  <c:v>0.18669778296382594</c:v>
                </c:pt>
                <c:pt idx="107">
                  <c:v>0.18160786581838712</c:v>
                </c:pt>
                <c:pt idx="108">
                  <c:v>0.18225898459783302</c:v>
                </c:pt>
                <c:pt idx="109">
                  <c:v>0.18310265282583368</c:v>
                </c:pt>
                <c:pt idx="110">
                  <c:v>0.18316690442225619</c:v>
                </c:pt>
                <c:pt idx="111">
                  <c:v>0.1840455840455878</c:v>
                </c:pt>
                <c:pt idx="112">
                  <c:v>0.18862107623317484</c:v>
                </c:pt>
                <c:pt idx="113">
                  <c:v>0.1782759540965983</c:v>
                </c:pt>
                <c:pt idx="114">
                  <c:v>0.18734248109772061</c:v>
                </c:pt>
                <c:pt idx="115">
                  <c:v>0.19226393629123223</c:v>
                </c:pt>
                <c:pt idx="116">
                  <c:v>0.18849152998115851</c:v>
                </c:pt>
                <c:pt idx="117">
                  <c:v>0.1843037974683463</c:v>
                </c:pt>
                <c:pt idx="118">
                  <c:v>0.17540276832310989</c:v>
                </c:pt>
                <c:pt idx="119">
                  <c:v>0.17414416330000854</c:v>
                </c:pt>
                <c:pt idx="120">
                  <c:v>0.17491274892219108</c:v>
                </c:pt>
                <c:pt idx="121">
                  <c:v>0.17449791587721108</c:v>
                </c:pt>
                <c:pt idx="122">
                  <c:v>0.17340504451037775</c:v>
                </c:pt>
                <c:pt idx="123">
                  <c:v>0.16660662824206418</c:v>
                </c:pt>
                <c:pt idx="124">
                  <c:v>0.17082738944365092</c:v>
                </c:pt>
                <c:pt idx="125">
                  <c:v>0.16941297631307117</c:v>
                </c:pt>
                <c:pt idx="126">
                  <c:v>0.16613256872996296</c:v>
                </c:pt>
                <c:pt idx="127">
                  <c:v>0.16727332892124275</c:v>
                </c:pt>
                <c:pt idx="128">
                  <c:v>0.15859739424158703</c:v>
                </c:pt>
                <c:pt idx="129">
                  <c:v>0.15799256505576154</c:v>
                </c:pt>
                <c:pt idx="130">
                  <c:v>0.16658793890725393</c:v>
                </c:pt>
                <c:pt idx="131">
                  <c:v>0.16901860166773011</c:v>
                </c:pt>
                <c:pt idx="132">
                  <c:v>0.17596202746227205</c:v>
                </c:pt>
                <c:pt idx="133">
                  <c:v>0.17807047553882102</c:v>
                </c:pt>
                <c:pt idx="134">
                  <c:v>0.18136379864334237</c:v>
                </c:pt>
                <c:pt idx="135">
                  <c:v>0.192186046511615</c:v>
                </c:pt>
                <c:pt idx="136">
                  <c:v>0.19399886771087554</c:v>
                </c:pt>
                <c:pt idx="137">
                  <c:v>0.19636293286902431</c:v>
                </c:pt>
                <c:pt idx="138">
                  <c:v>0.19386942675157867</c:v>
                </c:pt>
                <c:pt idx="139">
                  <c:v>0.19707436001623788</c:v>
                </c:pt>
                <c:pt idx="140">
                  <c:v>0.20243693886275449</c:v>
                </c:pt>
                <c:pt idx="141">
                  <c:v>0.19978586723767561</c:v>
                </c:pt>
                <c:pt idx="142">
                  <c:v>0.19911894273127606</c:v>
                </c:pt>
                <c:pt idx="143">
                  <c:v>0.19986690328304818</c:v>
                </c:pt>
                <c:pt idx="144">
                  <c:v>0.19528993556986163</c:v>
                </c:pt>
                <c:pt idx="145">
                  <c:v>0.19375696766999681</c:v>
                </c:pt>
                <c:pt idx="146">
                  <c:v>0.19583142464498515</c:v>
                </c:pt>
                <c:pt idx="147">
                  <c:v>0.19200734956361054</c:v>
                </c:pt>
                <c:pt idx="148">
                  <c:v>0.19260472735781592</c:v>
                </c:pt>
                <c:pt idx="149">
                  <c:v>0.19350282485874215</c:v>
                </c:pt>
                <c:pt idx="150">
                  <c:v>0.19644145227216633</c:v>
                </c:pt>
                <c:pt idx="151">
                  <c:v>0.20183930300095823</c:v>
                </c:pt>
                <c:pt idx="152">
                  <c:v>0.20439719739066847</c:v>
                </c:pt>
                <c:pt idx="153">
                  <c:v>0.19816211121582689</c:v>
                </c:pt>
                <c:pt idx="154">
                  <c:v>0.20786382162549269</c:v>
                </c:pt>
                <c:pt idx="155">
                  <c:v>0.21028708133970023</c:v>
                </c:pt>
                <c:pt idx="156">
                  <c:v>0.20944366526413705</c:v>
                </c:pt>
                <c:pt idx="157">
                  <c:v>0.20657276995304177</c:v>
                </c:pt>
                <c:pt idx="158">
                  <c:v>0.20742459396751331</c:v>
                </c:pt>
                <c:pt idx="159">
                  <c:v>0.21289286533607088</c:v>
                </c:pt>
                <c:pt idx="160">
                  <c:v>0.22019635343617713</c:v>
                </c:pt>
                <c:pt idx="161">
                  <c:v>0.21773444753944951</c:v>
                </c:pt>
                <c:pt idx="162">
                  <c:v>0.22453703703702033</c:v>
                </c:pt>
                <c:pt idx="163">
                  <c:v>0.22962272938983327</c:v>
                </c:pt>
                <c:pt idx="164">
                  <c:v>0.23046603292371212</c:v>
                </c:pt>
                <c:pt idx="165">
                  <c:v>0.22708333333332084</c:v>
                </c:pt>
                <c:pt idx="166">
                  <c:v>0.22166704519644034</c:v>
                </c:pt>
                <c:pt idx="167">
                  <c:v>0.22244668911334509</c:v>
                </c:pt>
                <c:pt idx="168">
                  <c:v>0.22521929824559736</c:v>
                </c:pt>
                <c:pt idx="169">
                  <c:v>0.2216342082980432</c:v>
                </c:pt>
                <c:pt idx="170">
                  <c:v>0.21685998342998283</c:v>
                </c:pt>
                <c:pt idx="171">
                  <c:v>0.2190380761522934</c:v>
                </c:pt>
                <c:pt idx="172">
                  <c:v>0.21902131018152779</c:v>
                </c:pt>
                <c:pt idx="173">
                  <c:v>0.21826323987538859</c:v>
                </c:pt>
                <c:pt idx="174">
                  <c:v>0.21608040201004378</c:v>
                </c:pt>
                <c:pt idx="175">
                  <c:v>0.21151393696483187</c:v>
                </c:pt>
                <c:pt idx="176">
                  <c:v>0.20908435472241507</c:v>
                </c:pt>
                <c:pt idx="177">
                  <c:v>0.20905621096460139</c:v>
                </c:pt>
                <c:pt idx="178">
                  <c:v>0.20159646739129189</c:v>
                </c:pt>
                <c:pt idx="179">
                  <c:v>0.20516214427530235</c:v>
                </c:pt>
                <c:pt idx="180">
                  <c:v>0.20725727361882426</c:v>
                </c:pt>
                <c:pt idx="181">
                  <c:v>0.21028481012657968</c:v>
                </c:pt>
                <c:pt idx="182">
                  <c:v>0.20959092998314108</c:v>
                </c:pt>
                <c:pt idx="183">
                  <c:v>0.21668950814678697</c:v>
                </c:pt>
                <c:pt idx="184">
                  <c:v>0.21882640586796653</c:v>
                </c:pt>
                <c:pt idx="185">
                  <c:v>0.22741147741147394</c:v>
                </c:pt>
                <c:pt idx="186">
                  <c:v>0.22320072881869901</c:v>
                </c:pt>
                <c:pt idx="187">
                  <c:v>0.22279090772240961</c:v>
                </c:pt>
                <c:pt idx="188">
                  <c:v>0.22354922676465097</c:v>
                </c:pt>
                <c:pt idx="189">
                  <c:v>0.22643553629467986</c:v>
                </c:pt>
                <c:pt idx="190">
                  <c:v>0.22220543806645626</c:v>
                </c:pt>
                <c:pt idx="191">
                  <c:v>0.22084965351008518</c:v>
                </c:pt>
                <c:pt idx="192">
                  <c:v>0.21875932001192097</c:v>
                </c:pt>
                <c:pt idx="193">
                  <c:v>0.21963592957325451</c:v>
                </c:pt>
                <c:pt idx="194">
                  <c:v>0.2227752639517295</c:v>
                </c:pt>
                <c:pt idx="195">
                  <c:v>0.22115816250186568</c:v>
                </c:pt>
                <c:pt idx="196">
                  <c:v>0.2242919884900747</c:v>
                </c:pt>
                <c:pt idx="197">
                  <c:v>0.22382280049566103</c:v>
                </c:pt>
                <c:pt idx="198">
                  <c:v>0.22455089820358581</c:v>
                </c:pt>
                <c:pt idx="199">
                  <c:v>0.22116162433262415</c:v>
                </c:pt>
                <c:pt idx="200">
                  <c:v>0.22610722610721612</c:v>
                </c:pt>
                <c:pt idx="201">
                  <c:v>0.22373967290507255</c:v>
                </c:pt>
                <c:pt idx="202">
                  <c:v>0.2211340206185583</c:v>
                </c:pt>
                <c:pt idx="203">
                  <c:v>0.22220258087324735</c:v>
                </c:pt>
                <c:pt idx="204">
                  <c:v>0.22499090578392425</c:v>
                </c:pt>
                <c:pt idx="205">
                  <c:v>0.23106832068134442</c:v>
                </c:pt>
                <c:pt idx="206">
                  <c:v>0.23282514586862499</c:v>
                </c:pt>
                <c:pt idx="207">
                  <c:v>0.22754716981131284</c:v>
                </c:pt>
                <c:pt idx="208">
                  <c:v>0.22729014948254417</c:v>
                </c:pt>
                <c:pt idx="209">
                  <c:v>0.22995612285599637</c:v>
                </c:pt>
                <c:pt idx="210">
                  <c:v>0.22653061224489096</c:v>
                </c:pt>
                <c:pt idx="211">
                  <c:v>0.22395184723950293</c:v>
                </c:pt>
                <c:pt idx="212">
                  <c:v>0.21750212404416389</c:v>
                </c:pt>
                <c:pt idx="213">
                  <c:v>0.22073876279482851</c:v>
                </c:pt>
                <c:pt idx="214">
                  <c:v>0.22139134375706435</c:v>
                </c:pt>
                <c:pt idx="215">
                  <c:v>0.2181484876260289</c:v>
                </c:pt>
                <c:pt idx="216">
                  <c:v>0.2252984505968938</c:v>
                </c:pt>
                <c:pt idx="217">
                  <c:v>0.20526068576795409</c:v>
                </c:pt>
                <c:pt idx="218">
                  <c:v>0.20800000000000032</c:v>
                </c:pt>
                <c:pt idx="219">
                  <c:v>0.21323155216284004</c:v>
                </c:pt>
                <c:pt idx="220">
                  <c:v>0.21274409044192144</c:v>
                </c:pt>
                <c:pt idx="221">
                  <c:v>0.21953188054881459</c:v>
                </c:pt>
                <c:pt idx="222">
                  <c:v>0.22337735318909724</c:v>
                </c:pt>
                <c:pt idx="223">
                  <c:v>0.21702244116036629</c:v>
                </c:pt>
                <c:pt idx="224">
                  <c:v>0.25181518151813287</c:v>
                </c:pt>
                <c:pt idx="225">
                  <c:v>0.25381414701802141</c:v>
                </c:pt>
                <c:pt idx="226">
                  <c:v>0.24723904524403606</c:v>
                </c:pt>
                <c:pt idx="227">
                  <c:v>0.2592870544090044</c:v>
                </c:pt>
                <c:pt idx="228">
                  <c:v>0.24599542334096292</c:v>
                </c:pt>
                <c:pt idx="229">
                  <c:v>0.24366471734891734</c:v>
                </c:pt>
                <c:pt idx="230">
                  <c:v>0.2505018065034042</c:v>
                </c:pt>
                <c:pt idx="231">
                  <c:v>0.2410569105690728</c:v>
                </c:pt>
                <c:pt idx="232">
                  <c:v>0.23239436619716314</c:v>
                </c:pt>
                <c:pt idx="233">
                  <c:v>0.23448866067605451</c:v>
                </c:pt>
                <c:pt idx="234">
                  <c:v>0.22838137472282208</c:v>
                </c:pt>
                <c:pt idx="235">
                  <c:v>0.22941720629044737</c:v>
                </c:pt>
                <c:pt idx="236">
                  <c:v>0.23341288782812428</c:v>
                </c:pt>
                <c:pt idx="237">
                  <c:v>0.23092783505152559</c:v>
                </c:pt>
                <c:pt idx="238">
                  <c:v>0.23156182212581847</c:v>
                </c:pt>
                <c:pt idx="239">
                  <c:v>0.24884259259260347</c:v>
                </c:pt>
                <c:pt idx="240">
                  <c:v>0.23854289071678464</c:v>
                </c:pt>
                <c:pt idx="241">
                  <c:v>0.23568818514003559</c:v>
                </c:pt>
                <c:pt idx="242">
                  <c:v>0.23067484662577509</c:v>
                </c:pt>
                <c:pt idx="243">
                  <c:v>0.22713130056003955</c:v>
                </c:pt>
                <c:pt idx="244">
                  <c:v>0.21744471744470334</c:v>
                </c:pt>
                <c:pt idx="245">
                  <c:v>0.22543352601153435</c:v>
                </c:pt>
                <c:pt idx="246">
                  <c:v>0.21518987341772303</c:v>
                </c:pt>
                <c:pt idx="247">
                  <c:v>0.21952957947255422</c:v>
                </c:pt>
                <c:pt idx="248">
                  <c:v>0.21231884057967929</c:v>
                </c:pt>
                <c:pt idx="249">
                  <c:v>0.22061068702286793</c:v>
                </c:pt>
                <c:pt idx="250">
                  <c:v>0.22011084718918156</c:v>
                </c:pt>
                <c:pt idx="251">
                  <c:v>0.23463203463197022</c:v>
                </c:pt>
                <c:pt idx="252">
                  <c:v>0.24021838034577248</c:v>
                </c:pt>
                <c:pt idx="253">
                  <c:v>0.23557237464519812</c:v>
                </c:pt>
                <c:pt idx="254">
                  <c:v>0.23743842364527748</c:v>
                </c:pt>
                <c:pt idx="255">
                  <c:v>0.25240641711225609</c:v>
                </c:pt>
                <c:pt idx="256">
                  <c:v>0.24696802646078153</c:v>
                </c:pt>
                <c:pt idx="257">
                  <c:v>0.23617511520737478</c:v>
                </c:pt>
                <c:pt idx="258">
                  <c:v>0.23707440100877752</c:v>
                </c:pt>
                <c:pt idx="259">
                  <c:v>0.21928665785989024</c:v>
                </c:pt>
                <c:pt idx="260">
                  <c:v>0.23177842565597837</c:v>
                </c:pt>
                <c:pt idx="261">
                  <c:v>0.23089171974519052</c:v>
                </c:pt>
                <c:pt idx="262">
                  <c:v>0.21451612903219708</c:v>
                </c:pt>
                <c:pt idx="263">
                  <c:v>0.22959183673462222</c:v>
                </c:pt>
                <c:pt idx="264">
                  <c:v>0.23007246376804047</c:v>
                </c:pt>
                <c:pt idx="265">
                  <c:v>0.24640657084179138</c:v>
                </c:pt>
                <c:pt idx="266">
                  <c:v>0.23917995444194429</c:v>
                </c:pt>
                <c:pt idx="267">
                  <c:v>0.21973094170403143</c:v>
                </c:pt>
                <c:pt idx="268">
                  <c:v>0.22727272727268866</c:v>
                </c:pt>
                <c:pt idx="269">
                  <c:v>0.22038567493101766</c:v>
                </c:pt>
                <c:pt idx="270">
                  <c:v>0.19197707736372993</c:v>
                </c:pt>
                <c:pt idx="271">
                  <c:v>0.19364161849694447</c:v>
                </c:pt>
                <c:pt idx="272">
                  <c:v>0.1860465116277269</c:v>
                </c:pt>
                <c:pt idx="273">
                  <c:v>0.18749999999975725</c:v>
                </c:pt>
                <c:pt idx="274">
                  <c:v>0.18571428571432194</c:v>
                </c:pt>
                <c:pt idx="275">
                  <c:v>0.20463320463321258</c:v>
                </c:pt>
                <c:pt idx="276">
                  <c:v>0.2304526748968096</c:v>
                </c:pt>
                <c:pt idx="277">
                  <c:v>0.21940928270045829</c:v>
                </c:pt>
                <c:pt idx="278">
                  <c:v>0.20720720720722161</c:v>
                </c:pt>
                <c:pt idx="279">
                  <c:v>0.22346368715078538</c:v>
                </c:pt>
                <c:pt idx="280">
                  <c:v>0.2399999999999797</c:v>
                </c:pt>
                <c:pt idx="281">
                  <c:v>0.25675675675661896</c:v>
                </c:pt>
                <c:pt idx="282">
                  <c:v>0.21621621621600545</c:v>
                </c:pt>
                <c:pt idx="283">
                  <c:v>0.19047619047588848</c:v>
                </c:pt>
                <c:pt idx="284">
                  <c:v>0.22689075630228278</c:v>
                </c:pt>
                <c:pt idx="285">
                  <c:v>0.21428571428543117</c:v>
                </c:pt>
                <c:pt idx="286">
                  <c:v>0.17948717948682927</c:v>
                </c:pt>
                <c:pt idx="287">
                  <c:v>0.16842105263095922</c:v>
                </c:pt>
                <c:pt idx="288">
                  <c:v>0.17441860465049056</c:v>
                </c:pt>
                <c:pt idx="289">
                  <c:v>0.15909090909022122</c:v>
                </c:pt>
                <c:pt idx="290">
                  <c:v>0.20689655172353971</c:v>
                </c:pt>
                <c:pt idx="291">
                  <c:v>0.15730337078583315</c:v>
                </c:pt>
                <c:pt idx="292">
                  <c:v>0.18604651162725877</c:v>
                </c:pt>
                <c:pt idx="293">
                  <c:v>0.18918918918844338</c:v>
                </c:pt>
                <c:pt idx="294">
                  <c:v>0.18055555555476777</c:v>
                </c:pt>
                <c:pt idx="295">
                  <c:v>0.13698630136898002</c:v>
                </c:pt>
                <c:pt idx="296">
                  <c:v>0.1636363636352777</c:v>
                </c:pt>
                <c:pt idx="297">
                  <c:v>0.19607843137114953</c:v>
                </c:pt>
                <c:pt idx="298">
                  <c:v>0.21428571428405341</c:v>
                </c:pt>
                <c:pt idx="299">
                  <c:v>0.16279069767269003</c:v>
                </c:pt>
                <c:pt idx="300">
                  <c:v>0.2499999999983353</c:v>
                </c:pt>
                <c:pt idx="301">
                  <c:v>0.38235294117485774</c:v>
                </c:pt>
                <c:pt idx="302">
                  <c:v>0.37499999999861272</c:v>
                </c:pt>
                <c:pt idx="303">
                  <c:v>0.42105263157759476</c:v>
                </c:pt>
                <c:pt idx="304">
                  <c:v>0.30555555555384295</c:v>
                </c:pt>
                <c:pt idx="305">
                  <c:v>0.29729729729561111</c:v>
                </c:pt>
                <c:pt idx="306">
                  <c:v>0.32432432432270303</c:v>
                </c:pt>
                <c:pt idx="307">
                  <c:v>0.32352941176293942</c:v>
                </c:pt>
                <c:pt idx="308">
                  <c:v>0.2580645161269074</c:v>
                </c:pt>
                <c:pt idx="309">
                  <c:v>0.24999999999762193</c:v>
                </c:pt>
                <c:pt idx="310">
                  <c:v>0.17857142856882402</c:v>
                </c:pt>
                <c:pt idx="311">
                  <c:v>0.19999999999763249</c:v>
                </c:pt>
                <c:pt idx="312">
                  <c:v>0.22580645161068599</c:v>
                </c:pt>
                <c:pt idx="313">
                  <c:v>0.21874999999783248</c:v>
                </c:pt>
                <c:pt idx="314">
                  <c:v>0.19444444444245781</c:v>
                </c:pt>
                <c:pt idx="315">
                  <c:v>0.21621621621433551</c:v>
                </c:pt>
                <c:pt idx="316">
                  <c:v>0.34374999999817929</c:v>
                </c:pt>
                <c:pt idx="317">
                  <c:v>0.31428571428397489</c:v>
                </c:pt>
                <c:pt idx="318">
                  <c:v>0.31578947368261195</c:v>
                </c:pt>
                <c:pt idx="319">
                  <c:v>0.30769230769073169</c:v>
                </c:pt>
                <c:pt idx="320">
                  <c:v>0.31578947368261195</c:v>
                </c:pt>
                <c:pt idx="321">
                  <c:v>0.27272727272580527</c:v>
                </c:pt>
                <c:pt idx="322">
                  <c:v>0.2499999999986128</c:v>
                </c:pt>
                <c:pt idx="323">
                  <c:v>0.22448979591696219</c:v>
                </c:pt>
                <c:pt idx="324">
                  <c:v>0.31249999999872841</c:v>
                </c:pt>
                <c:pt idx="325">
                  <c:v>0.31818181818044244</c:v>
                </c:pt>
                <c:pt idx="326">
                  <c:v>0.28260869565078933</c:v>
                </c:pt>
                <c:pt idx="327">
                  <c:v>0.25490196078301663</c:v>
                </c:pt>
                <c:pt idx="328">
                  <c:v>0.23529411764572761</c:v>
                </c:pt>
                <c:pt idx="329">
                  <c:v>0.23999999999865052</c:v>
                </c:pt>
                <c:pt idx="330">
                  <c:v>0.19607843137114953</c:v>
                </c:pt>
                <c:pt idx="331">
                  <c:v>0.16071428571320992</c:v>
                </c:pt>
                <c:pt idx="332">
                  <c:v>0.17543859649021701</c:v>
                </c:pt>
                <c:pt idx="333">
                  <c:v>0.21052631578857195</c:v>
                </c:pt>
                <c:pt idx="334">
                  <c:v>0.22641509433832679</c:v>
                </c:pt>
                <c:pt idx="335">
                  <c:v>0.2653061224476484</c:v>
                </c:pt>
                <c:pt idx="336">
                  <c:v>0.29999999999875704</c:v>
                </c:pt>
                <c:pt idx="337">
                  <c:v>0.27777777777704704</c:v>
                </c:pt>
                <c:pt idx="338">
                  <c:v>0.22916666666524091</c:v>
                </c:pt>
                <c:pt idx="339">
                  <c:v>0.22641509433832679</c:v>
                </c:pt>
                <c:pt idx="340">
                  <c:v>0.22641509433832679</c:v>
                </c:pt>
                <c:pt idx="341">
                  <c:v>0.27450980392030566</c:v>
                </c:pt>
                <c:pt idx="342">
                  <c:v>0.27450980392030566</c:v>
                </c:pt>
                <c:pt idx="343">
                  <c:v>0.25925925925846766</c:v>
                </c:pt>
                <c:pt idx="344">
                  <c:v>0.31999999999879253</c:v>
                </c:pt>
                <c:pt idx="345">
                  <c:v>0.35999999999886356</c:v>
                </c:pt>
                <c:pt idx="346">
                  <c:v>0.34042553191364772</c:v>
                </c:pt>
                <c:pt idx="347">
                  <c:v>0.32653061224367769</c:v>
                </c:pt>
                <c:pt idx="348">
                  <c:v>0.26923076922952155</c:v>
                </c:pt>
                <c:pt idx="349">
                  <c:v>0.25862068965443341</c:v>
                </c:pt>
                <c:pt idx="350">
                  <c:v>0.27586206896483101</c:v>
                </c:pt>
                <c:pt idx="351">
                  <c:v>0.28333333333269212</c:v>
                </c:pt>
                <c:pt idx="352">
                  <c:v>0.30769230769178235</c:v>
                </c:pt>
                <c:pt idx="353">
                  <c:v>0.33333333333290444</c:v>
                </c:pt>
                <c:pt idx="354">
                  <c:v>0.32835820895476897</c:v>
                </c:pt>
                <c:pt idx="355">
                  <c:v>0.32352941176424505</c:v>
                </c:pt>
                <c:pt idx="356">
                  <c:v>0.35593220338939691</c:v>
                </c:pt>
                <c:pt idx="357">
                  <c:v>0.30645161290267153</c:v>
                </c:pt>
                <c:pt idx="358">
                  <c:v>0.24637681159355024</c:v>
                </c:pt>
                <c:pt idx="359">
                  <c:v>0.1969696969688817</c:v>
                </c:pt>
                <c:pt idx="360">
                  <c:v>0.19354838709589656</c:v>
                </c:pt>
                <c:pt idx="361">
                  <c:v>0.19672131147452704</c:v>
                </c:pt>
                <c:pt idx="362">
                  <c:v>0.18965517241284297</c:v>
                </c:pt>
                <c:pt idx="363">
                  <c:v>0.14754098360553142</c:v>
                </c:pt>
                <c:pt idx="364">
                  <c:v>0.15254237288031022</c:v>
                </c:pt>
                <c:pt idx="365">
                  <c:v>0.17543859649021701</c:v>
                </c:pt>
                <c:pt idx="366">
                  <c:v>0.18032786885152849</c:v>
                </c:pt>
                <c:pt idx="367">
                  <c:v>0.18840579710064742</c:v>
                </c:pt>
                <c:pt idx="368">
                  <c:v>0.21428571428498952</c:v>
                </c:pt>
                <c:pt idx="369">
                  <c:v>0.22077922077857692</c:v>
                </c:pt>
                <c:pt idx="370">
                  <c:v>0.25274725274677029</c:v>
                </c:pt>
                <c:pt idx="371">
                  <c:v>0.26041666666622354</c:v>
                </c:pt>
                <c:pt idx="372">
                  <c:v>0.23469387755053969</c:v>
                </c:pt>
                <c:pt idx="373">
                  <c:v>0.22115384615337008</c:v>
                </c:pt>
                <c:pt idx="374">
                  <c:v>0.22549019607795351</c:v>
                </c:pt>
                <c:pt idx="375">
                  <c:v>0.22222222222194818</c:v>
                </c:pt>
                <c:pt idx="376">
                  <c:v>0.22807017543835056</c:v>
                </c:pt>
                <c:pt idx="377">
                  <c:v>0.23333333333311138</c:v>
                </c:pt>
                <c:pt idx="378">
                  <c:v>0.25190839694639938</c:v>
                </c:pt>
                <c:pt idx="379">
                  <c:v>0.26515151515137758</c:v>
                </c:pt>
                <c:pt idx="380">
                  <c:v>0.29850746268649797</c:v>
                </c:pt>
                <c:pt idx="381">
                  <c:v>0.25657894736828651</c:v>
                </c:pt>
                <c:pt idx="382">
                  <c:v>0.25165562913892875</c:v>
                </c:pt>
                <c:pt idx="383">
                  <c:v>0.25675675675661896</c:v>
                </c:pt>
                <c:pt idx="384">
                  <c:v>0.23448275862050807</c:v>
                </c:pt>
                <c:pt idx="385">
                  <c:v>0.21428571428548779</c:v>
                </c:pt>
                <c:pt idx="386">
                  <c:v>0.20567375886500711</c:v>
                </c:pt>
                <c:pt idx="387">
                  <c:v>0.1971830985912939</c:v>
                </c:pt>
                <c:pt idx="388">
                  <c:v>0.22627737226256558</c:v>
                </c:pt>
                <c:pt idx="389">
                  <c:v>0.23972602739708951</c:v>
                </c:pt>
                <c:pt idx="390">
                  <c:v>0.21476510067092899</c:v>
                </c:pt>
                <c:pt idx="391">
                  <c:v>0.19745222929913253</c:v>
                </c:pt>
                <c:pt idx="392">
                  <c:v>0.20779220779199065</c:v>
                </c:pt>
                <c:pt idx="393">
                  <c:v>0.19883040935661889</c:v>
                </c:pt>
                <c:pt idx="394">
                  <c:v>0.19230769230757974</c:v>
                </c:pt>
                <c:pt idx="395">
                  <c:v>0.17647058823515449</c:v>
                </c:pt>
                <c:pt idx="396">
                  <c:v>0.16062176165786662</c:v>
                </c:pt>
                <c:pt idx="397">
                  <c:v>0.19211822660088396</c:v>
                </c:pt>
                <c:pt idx="398">
                  <c:v>0.18534482758617885</c:v>
                </c:pt>
                <c:pt idx="399">
                  <c:v>0.21317829457332196</c:v>
                </c:pt>
                <c:pt idx="400">
                  <c:v>0.26909090909078465</c:v>
                </c:pt>
                <c:pt idx="401">
                  <c:v>0.24999999999984368</c:v>
                </c:pt>
                <c:pt idx="402">
                  <c:v>0.24422442244208759</c:v>
                </c:pt>
                <c:pt idx="403">
                  <c:v>0.25407166123764746</c:v>
                </c:pt>
                <c:pt idx="404">
                  <c:v>0.23974763406924335</c:v>
                </c:pt>
                <c:pt idx="405">
                  <c:v>0.27011494252870777</c:v>
                </c:pt>
                <c:pt idx="406">
                  <c:v>0.24999999999993969</c:v>
                </c:pt>
                <c:pt idx="407">
                  <c:v>0.19947506561670372</c:v>
                </c:pt>
                <c:pt idx="408">
                  <c:v>0.21999999999994671</c:v>
                </c:pt>
                <c:pt idx="409">
                  <c:v>0.21478060046188002</c:v>
                </c:pt>
                <c:pt idx="410">
                  <c:v>0.2038216560509242</c:v>
                </c:pt>
                <c:pt idx="411">
                  <c:v>0.20449897750512067</c:v>
                </c:pt>
                <c:pt idx="412">
                  <c:v>0.19136960600373798</c:v>
                </c:pt>
                <c:pt idx="413">
                  <c:v>0.17124394184168801</c:v>
                </c:pt>
                <c:pt idx="414">
                  <c:v>0.17612809315856903</c:v>
                </c:pt>
                <c:pt idx="415">
                  <c:v>0.16557161629428929</c:v>
                </c:pt>
                <c:pt idx="416">
                  <c:v>0.17443249701312</c:v>
                </c:pt>
                <c:pt idx="417">
                  <c:v>0.18161180476731867</c:v>
                </c:pt>
                <c:pt idx="418">
                  <c:v>0.18308351177723495</c:v>
                </c:pt>
                <c:pt idx="419">
                  <c:v>0.16601178781917969</c:v>
                </c:pt>
                <c:pt idx="420">
                  <c:v>0.16461267605630844</c:v>
                </c:pt>
                <c:pt idx="421">
                  <c:v>0.16840417000802221</c:v>
                </c:pt>
                <c:pt idx="422">
                  <c:v>0.16757599376461571</c:v>
                </c:pt>
                <c:pt idx="423">
                  <c:v>0.16452074391983967</c:v>
                </c:pt>
                <c:pt idx="424">
                  <c:v>0.16621438263227226</c:v>
                </c:pt>
                <c:pt idx="425">
                  <c:v>0.170360987967074</c:v>
                </c:pt>
                <c:pt idx="426">
                  <c:v>0.17119113573406317</c:v>
                </c:pt>
                <c:pt idx="427">
                  <c:v>0.16435541859271044</c:v>
                </c:pt>
                <c:pt idx="428">
                  <c:v>0.15998089780321512</c:v>
                </c:pt>
                <c:pt idx="429">
                  <c:v>0.15643906655141562</c:v>
                </c:pt>
                <c:pt idx="430">
                  <c:v>0.16236469608656887</c:v>
                </c:pt>
                <c:pt idx="431">
                  <c:v>0.16179415298356623</c:v>
                </c:pt>
                <c:pt idx="432">
                  <c:v>0.16452742123686925</c:v>
                </c:pt>
                <c:pt idx="433">
                  <c:v>0.17022872140980752</c:v>
                </c:pt>
                <c:pt idx="434">
                  <c:v>0.16985815602836885</c:v>
                </c:pt>
                <c:pt idx="435">
                  <c:v>0.16781056966366906</c:v>
                </c:pt>
                <c:pt idx="436">
                  <c:v>0.16699801192841526</c:v>
                </c:pt>
                <c:pt idx="437">
                  <c:v>0.1567770143660048</c:v>
                </c:pt>
                <c:pt idx="438">
                  <c:v>0.16036308623297879</c:v>
                </c:pt>
                <c:pt idx="439">
                  <c:v>0.16003562945365754</c:v>
                </c:pt>
                <c:pt idx="440">
                  <c:v>0.14716459197787016</c:v>
                </c:pt>
                <c:pt idx="441">
                  <c:v>0.1446203380734967</c:v>
                </c:pt>
                <c:pt idx="442">
                  <c:v>0.15287479849542543</c:v>
                </c:pt>
                <c:pt idx="443">
                  <c:v>0.15511466116978612</c:v>
                </c:pt>
                <c:pt idx="444">
                  <c:v>0.16000986193292047</c:v>
                </c:pt>
                <c:pt idx="445">
                  <c:v>0.15942376950779108</c:v>
                </c:pt>
                <c:pt idx="446">
                  <c:v>0.15896487985212315</c:v>
                </c:pt>
                <c:pt idx="447">
                  <c:v>0.1641723356008962</c:v>
                </c:pt>
                <c:pt idx="448">
                  <c:v>0.17073170731706019</c:v>
                </c:pt>
                <c:pt idx="449">
                  <c:v>0.16516830441145169</c:v>
                </c:pt>
                <c:pt idx="450">
                  <c:v>0.16608283535957347</c:v>
                </c:pt>
                <c:pt idx="451">
                  <c:v>0.16470826580225384</c:v>
                </c:pt>
                <c:pt idx="452">
                  <c:v>0.16412213740456702</c:v>
                </c:pt>
                <c:pt idx="453">
                  <c:v>0.16016096579476674</c:v>
                </c:pt>
                <c:pt idx="454">
                  <c:v>0.15936570862239807</c:v>
                </c:pt>
                <c:pt idx="455">
                  <c:v>0.15909090909090828</c:v>
                </c:pt>
                <c:pt idx="456">
                  <c:v>0.16272070626001667</c:v>
                </c:pt>
                <c:pt idx="457">
                  <c:v>0.15795724465557928</c:v>
                </c:pt>
                <c:pt idx="458">
                  <c:v>0.15914634146340817</c:v>
                </c:pt>
                <c:pt idx="459">
                  <c:v>0.1582644628099035</c:v>
                </c:pt>
                <c:pt idx="460">
                  <c:v>0.16139108704705493</c:v>
                </c:pt>
                <c:pt idx="461">
                  <c:v>0.16199913830245763</c:v>
                </c:pt>
                <c:pt idx="462">
                  <c:v>0.16586433260392119</c:v>
                </c:pt>
                <c:pt idx="463">
                  <c:v>0.16438053097344757</c:v>
                </c:pt>
                <c:pt idx="464">
                  <c:v>0.17084964310384196</c:v>
                </c:pt>
                <c:pt idx="465">
                  <c:v>0.17000230043707837</c:v>
                </c:pt>
                <c:pt idx="466">
                  <c:v>0.17454375292465998</c:v>
                </c:pt>
                <c:pt idx="467">
                  <c:v>0.17791706846672836</c:v>
                </c:pt>
                <c:pt idx="468">
                  <c:v>0.17588062622307821</c:v>
                </c:pt>
                <c:pt idx="469">
                  <c:v>0.17070732316920331</c:v>
                </c:pt>
                <c:pt idx="470">
                  <c:v>0.16827298775723112</c:v>
                </c:pt>
                <c:pt idx="471">
                  <c:v>0.16666666666665872</c:v>
                </c:pt>
                <c:pt idx="472">
                  <c:v>0.17114568599715343</c:v>
                </c:pt>
                <c:pt idx="473">
                  <c:v>0.16749779994132449</c:v>
                </c:pt>
                <c:pt idx="474">
                  <c:v>0.16626865671640401</c:v>
                </c:pt>
                <c:pt idx="475">
                  <c:v>0.18523193436415072</c:v>
                </c:pt>
                <c:pt idx="476">
                  <c:v>0.19135598812272905</c:v>
                </c:pt>
                <c:pt idx="477">
                  <c:v>0.19731866620831451</c:v>
                </c:pt>
                <c:pt idx="478">
                  <c:v>0.20784457478004564</c:v>
                </c:pt>
                <c:pt idx="479">
                  <c:v>0.21164889253485503</c:v>
                </c:pt>
                <c:pt idx="480">
                  <c:v>0.21081307627827092</c:v>
                </c:pt>
                <c:pt idx="481">
                  <c:v>0.21459044368598568</c:v>
                </c:pt>
                <c:pt idx="482">
                  <c:v>0.200598802395203</c:v>
                </c:pt>
                <c:pt idx="483">
                  <c:v>0.19885864793676916</c:v>
                </c:pt>
                <c:pt idx="484">
                  <c:v>0.19991075412759771</c:v>
                </c:pt>
                <c:pt idx="485">
                  <c:v>0.19428052655469674</c:v>
                </c:pt>
                <c:pt idx="486">
                  <c:v>0.1943950177935613</c:v>
                </c:pt>
                <c:pt idx="487">
                  <c:v>0.19846984698467193</c:v>
                </c:pt>
                <c:pt idx="488">
                  <c:v>0.19248608534322376</c:v>
                </c:pt>
                <c:pt idx="489">
                  <c:v>0.19595645412126289</c:v>
                </c:pt>
                <c:pt idx="490">
                  <c:v>0.19999999999999027</c:v>
                </c:pt>
                <c:pt idx="491">
                  <c:v>0.19586444572082273</c:v>
                </c:pt>
                <c:pt idx="492">
                  <c:v>0.20633971291863923</c:v>
                </c:pt>
                <c:pt idx="493">
                  <c:v>0.2041820418203816</c:v>
                </c:pt>
                <c:pt idx="494">
                  <c:v>0.20560747663546802</c:v>
                </c:pt>
                <c:pt idx="495">
                  <c:v>0.20464816010328871</c:v>
                </c:pt>
                <c:pt idx="496">
                  <c:v>0.21543859649121666</c:v>
                </c:pt>
                <c:pt idx="497">
                  <c:v>0.22222222222220761</c:v>
                </c:pt>
                <c:pt idx="498">
                  <c:v>0.23515052888522986</c:v>
                </c:pt>
                <c:pt idx="499">
                  <c:v>0.22108843537413939</c:v>
                </c:pt>
                <c:pt idx="500">
                  <c:v>0.21971066907772671</c:v>
                </c:pt>
                <c:pt idx="501">
                  <c:v>0.21083172146995205</c:v>
                </c:pt>
                <c:pt idx="502">
                  <c:v>0.20675944333995391</c:v>
                </c:pt>
                <c:pt idx="503">
                  <c:v>0.19825072886297074</c:v>
                </c:pt>
                <c:pt idx="504">
                  <c:v>0.17733990147777737</c:v>
                </c:pt>
                <c:pt idx="505">
                  <c:v>0.16727941176466615</c:v>
                </c:pt>
                <c:pt idx="506">
                  <c:v>0.15730337078647547</c:v>
                </c:pt>
                <c:pt idx="507">
                  <c:v>0.1494435612082379</c:v>
                </c:pt>
                <c:pt idx="508">
                  <c:v>0.14887218045110928</c:v>
                </c:pt>
                <c:pt idx="509">
                  <c:v>0.14933705512910178</c:v>
                </c:pt>
                <c:pt idx="510">
                  <c:v>0.13121019108279894</c:v>
                </c:pt>
                <c:pt idx="511">
                  <c:v>0.12588235294117794</c:v>
                </c:pt>
                <c:pt idx="512">
                  <c:v>0.11201740076127947</c:v>
                </c:pt>
                <c:pt idx="513">
                  <c:v>0.11303060217173615</c:v>
                </c:pt>
                <c:pt idx="514">
                  <c:v>0.11481314723096993</c:v>
                </c:pt>
                <c:pt idx="515">
                  <c:v>0.10886402753871831</c:v>
                </c:pt>
                <c:pt idx="516">
                  <c:v>0.11216494845357748</c:v>
                </c:pt>
                <c:pt idx="517">
                  <c:v>0.10918020400451529</c:v>
                </c:pt>
                <c:pt idx="518">
                  <c:v>0.10286103542233296</c:v>
                </c:pt>
                <c:pt idx="519">
                  <c:v>0.10310913705581175</c:v>
                </c:pt>
                <c:pt idx="520">
                  <c:v>9.7942892232114762E-2</c:v>
                </c:pt>
                <c:pt idx="521">
                  <c:v>9.2905906797265347E-2</c:v>
                </c:pt>
                <c:pt idx="522">
                  <c:v>9.7101449275344601E-2</c:v>
                </c:pt>
                <c:pt idx="523">
                  <c:v>9.4882116158690646E-2</c:v>
                </c:pt>
                <c:pt idx="524">
                  <c:v>9.1600978526757179E-2</c:v>
                </c:pt>
                <c:pt idx="525">
                  <c:v>9.2448266594988726E-2</c:v>
                </c:pt>
                <c:pt idx="526">
                  <c:v>9.5872518286309133E-2</c:v>
                </c:pt>
                <c:pt idx="527">
                  <c:v>9.8591549295756392E-2</c:v>
                </c:pt>
                <c:pt idx="528">
                  <c:v>0.1018589253883244</c:v>
                </c:pt>
                <c:pt idx="529">
                  <c:v>9.851205746534844E-2</c:v>
                </c:pt>
                <c:pt idx="530">
                  <c:v>9.6459722934839329E-2</c:v>
                </c:pt>
                <c:pt idx="531">
                  <c:v>9.8216593434974811E-2</c:v>
                </c:pt>
                <c:pt idx="532">
                  <c:v>0.10424403183022217</c:v>
                </c:pt>
                <c:pt idx="533">
                  <c:v>0.1023448275862059</c:v>
                </c:pt>
                <c:pt idx="534">
                  <c:v>0.10394774211871274</c:v>
                </c:pt>
                <c:pt idx="535">
                  <c:v>0.10236220472439783</c:v>
                </c:pt>
                <c:pt idx="536">
                  <c:v>0.10835547682314277</c:v>
                </c:pt>
                <c:pt idx="537">
                  <c:v>0.10855949895615441</c:v>
                </c:pt>
                <c:pt idx="538">
                  <c:v>0.11299435028247973</c:v>
                </c:pt>
                <c:pt idx="539">
                  <c:v>0.10889175257730001</c:v>
                </c:pt>
                <c:pt idx="540">
                  <c:v>0.11402925531913082</c:v>
                </c:pt>
                <c:pt idx="541">
                  <c:v>0.11340206185564683</c:v>
                </c:pt>
                <c:pt idx="542">
                  <c:v>0.11407129455908957</c:v>
                </c:pt>
                <c:pt idx="543">
                  <c:v>0.1053071458420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ento_novych_JIP_znovych_hosp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23840877915036032</c:v>
                </c:pt>
                <c:pt idx="1">
                  <c:v>0.28743961352743919</c:v>
                </c:pt>
                <c:pt idx="2">
                  <c:v>6.5846736045627366E-2</c:v>
                </c:pt>
                <c:pt idx="3">
                  <c:v>6.6630355846878001E-2</c:v>
                </c:pt>
                <c:pt idx="4">
                  <c:v>-0.1159159159155963</c:v>
                </c:pt>
                <c:pt idx="5">
                  <c:v>-6.1861861861399969E-2</c:v>
                </c:pt>
                <c:pt idx="6">
                  <c:v>-0.10059171597598777</c:v>
                </c:pt>
                <c:pt idx="7">
                  <c:v>-0.22511627906971163</c:v>
                </c:pt>
                <c:pt idx="8">
                  <c:v>-0.24231557377057714</c:v>
                </c:pt>
                <c:pt idx="9">
                  <c:v>-0.30765632309389573</c:v>
                </c:pt>
                <c:pt idx="10">
                  <c:v>-0.29830359109952215</c:v>
                </c:pt>
                <c:pt idx="11">
                  <c:v>-0.24150943396233376</c:v>
                </c:pt>
                <c:pt idx="12">
                  <c:v>-0.13800122125109576</c:v>
                </c:pt>
                <c:pt idx="13">
                  <c:v>-0.189164648910434</c:v>
                </c:pt>
                <c:pt idx="14">
                  <c:v>-0.16576859018289081</c:v>
                </c:pt>
                <c:pt idx="15">
                  <c:v>-0.13505104521130051</c:v>
                </c:pt>
                <c:pt idx="16">
                  <c:v>-0.19446922390677898</c:v>
                </c:pt>
                <c:pt idx="17">
                  <c:v>-2.6673924876310696E-2</c:v>
                </c:pt>
                <c:pt idx="18">
                  <c:v>3.9052890529528095E-2</c:v>
                </c:pt>
                <c:pt idx="19">
                  <c:v>0.12322635135184022</c:v>
                </c:pt>
                <c:pt idx="20">
                  <c:v>0.19139842994430337</c:v>
                </c:pt>
                <c:pt idx="21">
                  <c:v>0.32658715053159804</c:v>
                </c:pt>
                <c:pt idx="22">
                  <c:v>0.49816717528319621</c:v>
                </c:pt>
                <c:pt idx="23">
                  <c:v>0.39004322967476007</c:v>
                </c:pt>
                <c:pt idx="24">
                  <c:v>0.15386727688827145</c:v>
                </c:pt>
                <c:pt idx="25">
                  <c:v>5.7537193045351653E-2</c:v>
                </c:pt>
                <c:pt idx="26">
                  <c:v>-4.3703967320878154E-2</c:v>
                </c:pt>
                <c:pt idx="27">
                  <c:v>8.332443117817286E-4</c:v>
                </c:pt>
                <c:pt idx="28">
                  <c:v>-3.8348664578392207E-2</c:v>
                </c:pt>
                <c:pt idx="29">
                  <c:v>-7.5511425799241527E-2</c:v>
                </c:pt>
                <c:pt idx="30">
                  <c:v>-9.937452668797038E-2</c:v>
                </c:pt>
                <c:pt idx="31">
                  <c:v>-7.4064492366119908E-2</c:v>
                </c:pt>
                <c:pt idx="32">
                  <c:v>3.7766046589361356E-2</c:v>
                </c:pt>
                <c:pt idx="33">
                  <c:v>-2.117248752665217E-2</c:v>
                </c:pt>
                <c:pt idx="34">
                  <c:v>-1.6574881540290732E-2</c:v>
                </c:pt>
                <c:pt idx="35">
                  <c:v>8.6058230683137477E-2</c:v>
                </c:pt>
                <c:pt idx="36">
                  <c:v>6.2800539917366449E-2</c:v>
                </c:pt>
                <c:pt idx="37">
                  <c:v>3.0850356569010598E-2</c:v>
                </c:pt>
                <c:pt idx="38">
                  <c:v>-4.737271706972259E-2</c:v>
                </c:pt>
                <c:pt idx="39">
                  <c:v>-5.0644194394401189E-2</c:v>
                </c:pt>
                <c:pt idx="40">
                  <c:v>-2.2772994286509907E-2</c:v>
                </c:pt>
                <c:pt idx="41">
                  <c:v>-2.3291925466147499E-3</c:v>
                </c:pt>
                <c:pt idx="42">
                  <c:v>-7.310476342422921E-2</c:v>
                </c:pt>
                <c:pt idx="43">
                  <c:v>-8.8725689190651963E-2</c:v>
                </c:pt>
                <c:pt idx="44">
                  <c:v>-8.4172159818853134E-2</c:v>
                </c:pt>
                <c:pt idx="45">
                  <c:v>-0.16049947986112695</c:v>
                </c:pt>
                <c:pt idx="46">
                  <c:v>-0.19608484211505203</c:v>
                </c:pt>
                <c:pt idx="47">
                  <c:v>-0.14933917779102573</c:v>
                </c:pt>
                <c:pt idx="48">
                  <c:v>-0.16474889844453003</c:v>
                </c:pt>
                <c:pt idx="49">
                  <c:v>-0.13947576008513429</c:v>
                </c:pt>
                <c:pt idx="50">
                  <c:v>-0.1324360233058994</c:v>
                </c:pt>
                <c:pt idx="51">
                  <c:v>-0.13639975641027197</c:v>
                </c:pt>
                <c:pt idx="52">
                  <c:v>-0.12390528004840083</c:v>
                </c:pt>
                <c:pt idx="53">
                  <c:v>-6.1888570457090133E-2</c:v>
                </c:pt>
                <c:pt idx="54">
                  <c:v>-2.4611106828271823E-2</c:v>
                </c:pt>
                <c:pt idx="55">
                  <c:v>-7.606035374594337E-3</c:v>
                </c:pt>
                <c:pt idx="56">
                  <c:v>-2.5692253767898392E-2</c:v>
                </c:pt>
                <c:pt idx="57">
                  <c:v>-2.6394984938838528E-2</c:v>
                </c:pt>
                <c:pt idx="58">
                  <c:v>7.6441009651168146E-3</c:v>
                </c:pt>
                <c:pt idx="59">
                  <c:v>-1.9328520997465071E-2</c:v>
                </c:pt>
                <c:pt idx="60">
                  <c:v>-1.0552490981164521E-2</c:v>
                </c:pt>
                <c:pt idx="61">
                  <c:v>7.195297994287992E-3</c:v>
                </c:pt>
                <c:pt idx="62">
                  <c:v>6.9383791582360715E-3</c:v>
                </c:pt>
                <c:pt idx="63">
                  <c:v>3.1420771771174354E-2</c:v>
                </c:pt>
                <c:pt idx="64">
                  <c:v>1.2207424594021269E-2</c:v>
                </c:pt>
                <c:pt idx="65">
                  <c:v>5.5414889074404471E-2</c:v>
                </c:pt>
                <c:pt idx="66">
                  <c:v>6.5620815276121375E-2</c:v>
                </c:pt>
                <c:pt idx="67">
                  <c:v>2.4820512820546453E-2</c:v>
                </c:pt>
                <c:pt idx="68">
                  <c:v>4.6679553903285605E-2</c:v>
                </c:pt>
                <c:pt idx="69">
                  <c:v>4.8635647692115397E-2</c:v>
                </c:pt>
                <c:pt idx="70">
                  <c:v>4.1255765191161968E-2</c:v>
                </c:pt>
                <c:pt idx="71">
                  <c:v>3.7716499544140906E-2</c:v>
                </c:pt>
                <c:pt idx="72">
                  <c:v>3.7578967278237951E-2</c:v>
                </c:pt>
                <c:pt idx="73">
                  <c:v>-5.5340556692133502E-2</c:v>
                </c:pt>
                <c:pt idx="74">
                  <c:v>-4.2842078166650824E-2</c:v>
                </c:pt>
                <c:pt idx="75">
                  <c:v>-2.8816281069787938E-2</c:v>
                </c:pt>
                <c:pt idx="76">
                  <c:v>-2.0106749744526704E-2</c:v>
                </c:pt>
                <c:pt idx="77">
                  <c:v>1.2673933477184042E-2</c:v>
                </c:pt>
                <c:pt idx="78">
                  <c:v>-2.2630350045484533E-2</c:v>
                </c:pt>
                <c:pt idx="79">
                  <c:v>-7.7671734127726134E-3</c:v>
                </c:pt>
                <c:pt idx="80">
                  <c:v>4.5192352662955265E-2</c:v>
                </c:pt>
                <c:pt idx="81">
                  <c:v>8.9166330466790567E-2</c:v>
                </c:pt>
                <c:pt idx="82">
                  <c:v>0.18197188421649677</c:v>
                </c:pt>
                <c:pt idx="83">
                  <c:v>0.14196987002013256</c:v>
                </c:pt>
                <c:pt idx="84">
                  <c:v>7.463645320191678E-2</c:v>
                </c:pt>
                <c:pt idx="85">
                  <c:v>8.2597213576995898E-2</c:v>
                </c:pt>
                <c:pt idx="86">
                  <c:v>6.2293234259620918E-2</c:v>
                </c:pt>
                <c:pt idx="87">
                  <c:v>-4.0621605408641022E-2</c:v>
                </c:pt>
                <c:pt idx="88">
                  <c:v>-7.050744378931148E-2</c:v>
                </c:pt>
                <c:pt idx="89">
                  <c:v>-0.10300798626218378</c:v>
                </c:pt>
                <c:pt idx="90">
                  <c:v>-8.5101353576981453E-2</c:v>
                </c:pt>
                <c:pt idx="91">
                  <c:v>-5.5514312521562394E-2</c:v>
                </c:pt>
                <c:pt idx="92">
                  <c:v>-6.724178236900312E-2</c:v>
                </c:pt>
                <c:pt idx="93">
                  <c:v>-6.0986618101257585E-2</c:v>
                </c:pt>
                <c:pt idx="94">
                  <c:v>-0.10889794168095963</c:v>
                </c:pt>
                <c:pt idx="95">
                  <c:v>-0.11124811178242562</c:v>
                </c:pt>
                <c:pt idx="96">
                  <c:v>-1.4831683356886092E-2</c:v>
                </c:pt>
                <c:pt idx="97">
                  <c:v>6.5702776827239476E-2</c:v>
                </c:pt>
                <c:pt idx="98">
                  <c:v>2.0364487793258418E-2</c:v>
                </c:pt>
                <c:pt idx="99">
                  <c:v>-2.1928371481161269E-2</c:v>
                </c:pt>
                <c:pt idx="100">
                  <c:v>2.4866174488330853E-2</c:v>
                </c:pt>
                <c:pt idx="101">
                  <c:v>3.6616750086226044E-2</c:v>
                </c:pt>
                <c:pt idx="102">
                  <c:v>0.10617334930855354</c:v>
                </c:pt>
                <c:pt idx="103">
                  <c:v>7.9225923041264967E-2</c:v>
                </c:pt>
                <c:pt idx="104">
                  <c:v>2.6248718486678643E-2</c:v>
                </c:pt>
                <c:pt idx="105">
                  <c:v>1.3689170913827166E-4</c:v>
                </c:pt>
                <c:pt idx="106">
                  <c:v>5.2975495916035308E-2</c:v>
                </c:pt>
                <c:pt idx="107">
                  <c:v>2.1952047322407138E-2</c:v>
                </c:pt>
                <c:pt idx="108">
                  <c:v>-2.6516265427197233E-2</c:v>
                </c:pt>
                <c:pt idx="109">
                  <c:v>-3.3038584140238074E-2</c:v>
                </c:pt>
                <c:pt idx="110">
                  <c:v>1.1913655707323296E-2</c:v>
                </c:pt>
                <c:pt idx="111">
                  <c:v>6.1924375672588544E-2</c:v>
                </c:pt>
                <c:pt idx="112">
                  <c:v>4.0677002896503452E-2</c:v>
                </c:pt>
                <c:pt idx="113">
                  <c:v>-3.3326570429848094E-2</c:v>
                </c:pt>
                <c:pt idx="114">
                  <c:v>3.2838478548449096E-2</c:v>
                </c:pt>
                <c:pt idx="115">
                  <c:v>2.186688791257297E-2</c:v>
                </c:pt>
                <c:pt idx="116">
                  <c:v>1.3174834794196979E-2</c:v>
                </c:pt>
                <c:pt idx="117">
                  <c:v>2.8987686682973003E-2</c:v>
                </c:pt>
                <c:pt idx="118">
                  <c:v>-4.0240305785160316E-2</c:v>
                </c:pt>
                <c:pt idx="119">
                  <c:v>-4.6470940899761844E-2</c:v>
                </c:pt>
                <c:pt idx="120">
                  <c:v>-5.4829274172664623E-2</c:v>
                </c:pt>
                <c:pt idx="121">
                  <c:v>-8.4619600411212692E-2</c:v>
                </c:pt>
                <c:pt idx="122">
                  <c:v>-0.10407393669635219</c:v>
                </c:pt>
                <c:pt idx="123">
                  <c:v>-0.10814032091647025</c:v>
                </c:pt>
                <c:pt idx="124">
                  <c:v>-1.2558442522156755E-2</c:v>
                </c:pt>
                <c:pt idx="125">
                  <c:v>-2.8324074829581245E-2</c:v>
                </c:pt>
                <c:pt idx="126">
                  <c:v>-3.4169610901817811E-2</c:v>
                </c:pt>
                <c:pt idx="127">
                  <c:v>-6.9130510117404273E-2</c:v>
                </c:pt>
                <c:pt idx="128">
                  <c:v>-0.10306228242193533</c:v>
                </c:pt>
                <c:pt idx="129">
                  <c:v>-6.9294039473399474E-2</c:v>
                </c:pt>
                <c:pt idx="130">
                  <c:v>-2.8106916871915643E-2</c:v>
                </c:pt>
                <c:pt idx="131">
                  <c:v>3.3960769632846263E-2</c:v>
                </c:pt>
                <c:pt idx="132">
                  <c:v>5.6232798353431708E-2</c:v>
                </c:pt>
                <c:pt idx="133">
                  <c:v>7.0130591010601553E-2</c:v>
                </c:pt>
                <c:pt idx="134">
                  <c:v>0.10395355695953015</c:v>
                </c:pt>
                <c:pt idx="135">
                  <c:v>0.19128327951935301</c:v>
                </c:pt>
                <c:pt idx="136">
                  <c:v>0.18208636491190888</c:v>
                </c:pt>
                <c:pt idx="137">
                  <c:v>0.13434072173257211</c:v>
                </c:pt>
                <c:pt idx="138">
                  <c:v>0.15403835675134075</c:v>
                </c:pt>
                <c:pt idx="139">
                  <c:v>0.13301334146006816</c:v>
                </c:pt>
                <c:pt idx="140">
                  <c:v>0.12835393936575312</c:v>
                </c:pt>
                <c:pt idx="141">
                  <c:v>7.9218707748924186E-2</c:v>
                </c:pt>
                <c:pt idx="142">
                  <c:v>3.5418502202641436E-2</c:v>
                </c:pt>
                <c:pt idx="143">
                  <c:v>2.7896825621745211E-5</c:v>
                </c:pt>
                <c:pt idx="144">
                  <c:v>-1.9686672346230172E-2</c:v>
                </c:pt>
                <c:pt idx="145">
                  <c:v>1.2553153368307209E-2</c:v>
                </c:pt>
                <c:pt idx="146">
                  <c:v>2.642767479037147E-3</c:v>
                </c:pt>
                <c:pt idx="147">
                  <c:v>-3.2785407338451845E-2</c:v>
                </c:pt>
                <c:pt idx="148">
                  <c:v>-4.2609142973248804E-2</c:v>
                </c:pt>
                <c:pt idx="149">
                  <c:v>-2.7131312804621846E-2</c:v>
                </c:pt>
                <c:pt idx="150">
                  <c:v>-2.7380020672353057E-2</c:v>
                </c:pt>
                <c:pt idx="151">
                  <c:v>2.3404664698445408E-2</c:v>
                </c:pt>
                <c:pt idx="152">
                  <c:v>6.0782657786765046E-2</c:v>
                </c:pt>
                <c:pt idx="153">
                  <c:v>3.8572705962006022E-2</c:v>
                </c:pt>
                <c:pt idx="154">
                  <c:v>9.5350053703081597E-2</c:v>
                </c:pt>
                <c:pt idx="155">
                  <c:v>7.4037390151278373E-2</c:v>
                </c:pt>
                <c:pt idx="156">
                  <c:v>6.5307633518326913E-2</c:v>
                </c:pt>
                <c:pt idx="157">
                  <c:v>1.3022281680115887E-2</c:v>
                </c:pt>
                <c:pt idx="158">
                  <c:v>8.4436851411431348E-3</c:v>
                </c:pt>
                <c:pt idx="159">
                  <c:v>8.3937569244588645E-2</c:v>
                </c:pt>
                <c:pt idx="160">
                  <c:v>9.6519834993780848E-2</c:v>
                </c:pt>
                <c:pt idx="161">
                  <c:v>5.9171311539270535E-2</c:v>
                </c:pt>
                <c:pt idx="162">
                  <c:v>6.6001667028969369E-2</c:v>
                </c:pt>
                <c:pt idx="163">
                  <c:v>0.10417210403355293</c:v>
                </c:pt>
                <c:pt idx="164">
                  <c:v>7.8690130429917376E-2</c:v>
                </c:pt>
                <c:pt idx="165">
                  <c:v>5.3162528399885889E-2</c:v>
                </c:pt>
                <c:pt idx="166">
                  <c:v>5.6080693344692539E-2</c:v>
                </c:pt>
                <c:pt idx="167">
                  <c:v>2.1736222412742961E-2</c:v>
                </c:pt>
                <c:pt idx="168">
                  <c:v>2.2974101921438225E-2</c:v>
                </c:pt>
                <c:pt idx="169">
                  <c:v>-2.5123579797989213E-2</c:v>
                </c:pt>
                <c:pt idx="170">
                  <c:v>-4.189434357477128E-2</c:v>
                </c:pt>
                <c:pt idx="171">
                  <c:v>-5.5877135436832238E-2</c:v>
                </c:pt>
                <c:pt idx="172">
                  <c:v>-4.0967103479244683E-2</c:v>
                </c:pt>
                <c:pt idx="173">
                  <c:v>5.0172412850352992E-4</c:v>
                </c:pt>
                <c:pt idx="174">
                  <c:v>-2.7545769910299656E-2</c:v>
                </c:pt>
                <c:pt idx="175">
                  <c:v>-5.3206556933395793E-2</c:v>
                </c:pt>
                <c:pt idx="176">
                  <c:v>-5.0972008498719239E-2</c:v>
                </c:pt>
                <c:pt idx="177">
                  <c:v>-3.8238951028034776E-2</c:v>
                </c:pt>
                <c:pt idx="178">
                  <c:v>-8.9294918632841253E-2</c:v>
                </c:pt>
                <c:pt idx="179">
                  <c:v>-6.8310902858631367E-2</c:v>
                </c:pt>
                <c:pt idx="180">
                  <c:v>-3.0753570069571846E-2</c:v>
                </c:pt>
                <c:pt idx="181">
                  <c:v>-1.1394413930672902E-2</c:v>
                </c:pt>
                <c:pt idx="182">
                  <c:v>-1.2242997547611535E-4</c:v>
                </c:pt>
                <c:pt idx="183">
                  <c:v>3.483537834914311E-2</c:v>
                </c:pt>
                <c:pt idx="184">
                  <c:v>7.3436570133880857E-2</c:v>
                </c:pt>
                <c:pt idx="185">
                  <c:v>9.1674109634932222E-2</c:v>
                </c:pt>
                <c:pt idx="186">
                  <c:v>6.6350603496356783E-2</c:v>
                </c:pt>
                <c:pt idx="187">
                  <c:v>7.2756482233249917E-2</c:v>
                </c:pt>
                <c:pt idx="188">
                  <c:v>7.7113965181047586E-2</c:v>
                </c:pt>
                <c:pt idx="189">
                  <c:v>5.5847907960542155E-2</c:v>
                </c:pt>
                <c:pt idx="190">
                  <c:v>2.0026185745190814E-2</c:v>
                </c:pt>
                <c:pt idx="191">
                  <c:v>1.6583132819637969E-3</c:v>
                </c:pt>
                <c:pt idx="192">
                  <c:v>-3.685315638339106E-2</c:v>
                </c:pt>
                <c:pt idx="193">
                  <c:v>-2.3706957859240308E-2</c:v>
                </c:pt>
                <c:pt idx="194">
                  <c:v>6.3162185262811005E-3</c:v>
                </c:pt>
                <c:pt idx="195">
                  <c:v>-8.3901583974368618E-4</c:v>
                </c:pt>
                <c:pt idx="196">
                  <c:v>-5.2736119642430327E-3</c:v>
                </c:pt>
                <c:pt idx="197">
                  <c:v>1.060193600814517E-2</c:v>
                </c:pt>
                <c:pt idx="198">
                  <c:v>1.8879699034241589E-2</c:v>
                </c:pt>
                <c:pt idx="199">
                  <c:v>4.5825942753557969E-3</c:v>
                </c:pt>
                <c:pt idx="200">
                  <c:v>6.8196615959296774E-3</c:v>
                </c:pt>
                <c:pt idx="201">
                  <c:v>1.7069673450702549E-2</c:v>
                </c:pt>
                <c:pt idx="202">
                  <c:v>-3.921889488879427E-3</c:v>
                </c:pt>
                <c:pt idx="203">
                  <c:v>-4.6487602762532269E-3</c:v>
                </c:pt>
                <c:pt idx="204">
                  <c:v>6.7413034679661924E-3</c:v>
                </c:pt>
                <c:pt idx="205">
                  <c:v>4.7315341182851016E-2</c:v>
                </c:pt>
                <c:pt idx="206">
                  <c:v>2.6464446877150681E-2</c:v>
                </c:pt>
                <c:pt idx="207">
                  <c:v>-5.6686297310323203E-3</c:v>
                </c:pt>
                <c:pt idx="208">
                  <c:v>4.1212448711548298E-2</c:v>
                </c:pt>
                <c:pt idx="209">
                  <c:v>3.1073534643529292E-2</c:v>
                </c:pt>
                <c:pt idx="210">
                  <c:v>1.2845639299540081E-2</c:v>
                </c:pt>
                <c:pt idx="211">
                  <c:v>-2.4967305751125917E-2</c:v>
                </c:pt>
                <c:pt idx="212">
                  <c:v>-4.2336746602976358E-2</c:v>
                </c:pt>
                <c:pt idx="213">
                  <c:v>-5.4344207750030286E-2</c:v>
                </c:pt>
                <c:pt idx="214">
                  <c:v>-3.8595256654056255E-2</c:v>
                </c:pt>
                <c:pt idx="215">
                  <c:v>-2.0027260249857046E-2</c:v>
                </c:pt>
                <c:pt idx="216">
                  <c:v>-1.166082608449859E-2</c:v>
                </c:pt>
                <c:pt idx="217">
                  <c:v>-8.9288172597429147E-2</c:v>
                </c:pt>
                <c:pt idx="218">
                  <c:v>-7.1058053965645851E-2</c:v>
                </c:pt>
                <c:pt idx="219">
                  <c:v>-1.9994513985984133E-2</c:v>
                </c:pt>
                <c:pt idx="220">
                  <c:v>-4.7716928498048969E-2</c:v>
                </c:pt>
                <c:pt idx="221">
                  <c:v>-1.2816012675167212E-2</c:v>
                </c:pt>
                <c:pt idx="222">
                  <c:v>1.666422725231714E-2</c:v>
                </c:pt>
                <c:pt idx="223">
                  <c:v>5.1202449370597126E-2</c:v>
                </c:pt>
                <c:pt idx="224">
                  <c:v>0.20306140842478101</c:v>
                </c:pt>
                <c:pt idx="225">
                  <c:v>0.18222597602903115</c:v>
                </c:pt>
                <c:pt idx="226">
                  <c:v>0.15849152628637161</c:v>
                </c:pt>
                <c:pt idx="227">
                  <c:v>0.16360945975443392</c:v>
                </c:pt>
                <c:pt idx="228">
                  <c:v>9.646794687827312E-2</c:v>
                </c:pt>
                <c:pt idx="229">
                  <c:v>0.11272644719923874</c:v>
                </c:pt>
                <c:pt idx="230">
                  <c:v>0.12809313528701066</c:v>
                </c:pt>
                <c:pt idx="231">
                  <c:v>-4.2181963438174493E-2</c:v>
                </c:pt>
                <c:pt idx="232">
                  <c:v>-7.4968146286040871E-2</c:v>
                </c:pt>
                <c:pt idx="233">
                  <c:v>-7.0566875039636809E-2</c:v>
                </c:pt>
                <c:pt idx="234">
                  <c:v>-0.11100883977258276</c:v>
                </c:pt>
                <c:pt idx="235">
                  <c:v>-7.4576227019870822E-2</c:v>
                </c:pt>
                <c:pt idx="236">
                  <c:v>-2.6907489802350373E-2</c:v>
                </c:pt>
                <c:pt idx="237">
                  <c:v>-5.6824742268152595E-2</c:v>
                </c:pt>
                <c:pt idx="238">
                  <c:v>-1.4727148993994767E-2</c:v>
                </c:pt>
                <c:pt idx="239">
                  <c:v>6.3272213459572249E-2</c:v>
                </c:pt>
                <c:pt idx="240">
                  <c:v>6.196264396702675E-3</c:v>
                </c:pt>
                <c:pt idx="241">
                  <c:v>2.5391173990349597E-2</c:v>
                </c:pt>
                <c:pt idx="242">
                  <c:v>-2.6918562157968208E-2</c:v>
                </c:pt>
                <c:pt idx="243">
                  <c:v>-6.0400883747565911E-3</c:v>
                </c:pt>
                <c:pt idx="244">
                  <c:v>-4.3761998036338123E-2</c:v>
                </c:pt>
                <c:pt idx="245">
                  <c:v>-5.8138728323698236E-2</c:v>
                </c:pt>
                <c:pt idx="246">
                  <c:v>-0.10285140456120305</c:v>
                </c:pt>
                <c:pt idx="247">
                  <c:v>-8.1618615132213829E-2</c:v>
                </c:pt>
                <c:pt idx="248">
                  <c:v>-8.6523464458361024E-2</c:v>
                </c:pt>
                <c:pt idx="249">
                  <c:v>-7.0618807861123276E-2</c:v>
                </c:pt>
                <c:pt idx="250">
                  <c:v>2.9689280265556332E-2</c:v>
                </c:pt>
                <c:pt idx="251">
                  <c:v>5.6999978674670056E-2</c:v>
                </c:pt>
                <c:pt idx="252">
                  <c:v>5.9144676979209963E-2</c:v>
                </c:pt>
                <c:pt idx="253">
                  <c:v>0.10329694791817257</c:v>
                </c:pt>
                <c:pt idx="254">
                  <c:v>9.7034339972816311E-2</c:v>
                </c:pt>
                <c:pt idx="255">
                  <c:v>0.15620951938064032</c:v>
                </c:pt>
                <c:pt idx="256">
                  <c:v>7.5260792129483389E-2</c:v>
                </c:pt>
                <c:pt idx="257">
                  <c:v>9.5673161056987352E-2</c:v>
                </c:pt>
                <c:pt idx="258">
                  <c:v>-2.4693919900619848E-2</c:v>
                </c:pt>
                <c:pt idx="259">
                  <c:v>-7.0642259546084885E-2</c:v>
                </c:pt>
                <c:pt idx="260">
                  <c:v>-4.0286244345628437E-4</c:v>
                </c:pt>
                <c:pt idx="261">
                  <c:v>-4.767737570270577E-2</c:v>
                </c:pt>
                <c:pt idx="262">
                  <c:v>-0.15041438225187065</c:v>
                </c:pt>
                <c:pt idx="263">
                  <c:v>-7.3058684054723697E-2</c:v>
                </c:pt>
                <c:pt idx="264">
                  <c:v>1.3947672181549964E-2</c:v>
                </c:pt>
                <c:pt idx="265">
                  <c:v>5.3358895257336454E-2</c:v>
                </c:pt>
                <c:pt idx="266">
                  <c:v>5.4163502910974479E-2</c:v>
                </c:pt>
                <c:pt idx="267">
                  <c:v>-2.7272965672487652E-2</c:v>
                </c:pt>
                <c:pt idx="268">
                  <c:v>6.8870523418818044E-3</c:v>
                </c:pt>
                <c:pt idx="269">
                  <c:v>-5.0311729738058204E-2</c:v>
                </c:pt>
                <c:pt idx="270">
                  <c:v>-0.17609837631388886</c:v>
                </c:pt>
                <c:pt idx="271">
                  <c:v>-0.15539294059830142</c:v>
                </c:pt>
                <c:pt idx="272">
                  <c:v>-0.20348837209355636</c:v>
                </c:pt>
                <c:pt idx="273">
                  <c:v>-0.19111570247998128</c:v>
                </c:pt>
                <c:pt idx="274">
                  <c:v>-0.15126835781038084</c:v>
                </c:pt>
                <c:pt idx="275">
                  <c:v>-4.6409266409171319E-2</c:v>
                </c:pt>
                <c:pt idx="276">
                  <c:v>2.8997990237138477E-2</c:v>
                </c:pt>
                <c:pt idx="277">
                  <c:v>8.5498556518798716E-2</c:v>
                </c:pt>
                <c:pt idx="278">
                  <c:v>8.1196581197230819E-2</c:v>
                </c:pt>
                <c:pt idx="279">
                  <c:v>0.25205389418401208</c:v>
                </c:pt>
                <c:pt idx="280">
                  <c:v>0.28117647058927897</c:v>
                </c:pt>
                <c:pt idx="281">
                  <c:v>0.25065387968684244</c:v>
                </c:pt>
                <c:pt idx="282">
                  <c:v>3.1457687195501079E-2</c:v>
                </c:pt>
                <c:pt idx="283">
                  <c:v>-0.15270935960611864</c:v>
                </c:pt>
                <c:pt idx="284">
                  <c:v>2.7196333079092506E-2</c:v>
                </c:pt>
                <c:pt idx="285">
                  <c:v>8.4033613430956697E-3</c:v>
                </c:pt>
                <c:pt idx="286">
                  <c:v>-0.17279821627788033</c:v>
                </c:pt>
                <c:pt idx="287">
                  <c:v>-0.30068649885835902</c:v>
                </c:pt>
                <c:pt idx="288">
                  <c:v>-0.29401993355752065</c:v>
                </c:pt>
                <c:pt idx="289">
                  <c:v>-0.21448863636617743</c:v>
                </c:pt>
                <c:pt idx="290">
                  <c:v>-4.3995243759169404E-2</c:v>
                </c:pt>
                <c:pt idx="291">
                  <c:v>-0.27756970453831287</c:v>
                </c:pt>
                <c:pt idx="292">
                  <c:v>-3.3989266549379185E-2</c:v>
                </c:pt>
                <c:pt idx="293">
                  <c:v>0.1007371007349132</c:v>
                </c:pt>
                <c:pt idx="294">
                  <c:v>-3.0701754387352193E-2</c:v>
                </c:pt>
                <c:pt idx="295">
                  <c:v>-0.16286149163190894</c:v>
                </c:pt>
                <c:pt idx="296">
                  <c:v>-0.1181818181849351</c:v>
                </c:pt>
                <c:pt idx="297">
                  <c:v>1.0319917397662709E-3</c:v>
                </c:pt>
                <c:pt idx="298">
                  <c:v>0.21874999999493827</c:v>
                </c:pt>
                <c:pt idx="299">
                  <c:v>-1.3081395355647112E-2</c:v>
                </c:pt>
                <c:pt idx="300">
                  <c:v>0.48214285713921612</c:v>
                </c:pt>
                <c:pt idx="301">
                  <c:v>1.35294117647151</c:v>
                </c:pt>
                <c:pt idx="302">
                  <c:v>1.4687500000035831</c:v>
                </c:pt>
                <c:pt idx="303">
                  <c:v>0.80451127819579493</c:v>
                </c:pt>
                <c:pt idx="304">
                  <c:v>0.58888888889137714</c:v>
                </c:pt>
                <c:pt idx="305">
                  <c:v>0.48648648648978665</c:v>
                </c:pt>
                <c:pt idx="306">
                  <c:v>0.65405405405759109</c:v>
                </c:pt>
                <c:pt idx="307">
                  <c:v>7.0135746605590771E-2</c:v>
                </c:pt>
                <c:pt idx="308">
                  <c:v>-0.17419354839053605</c:v>
                </c:pt>
                <c:pt idx="309">
                  <c:v>-0.38888888889292078</c:v>
                </c:pt>
                <c:pt idx="310">
                  <c:v>-0.5424107142908402</c:v>
                </c:pt>
                <c:pt idx="311">
                  <c:v>-0.3090909090951256</c:v>
                </c:pt>
                <c:pt idx="312">
                  <c:v>-0.24731182796048196</c:v>
                </c:pt>
                <c:pt idx="313">
                  <c:v>-0.34375000000372813</c:v>
                </c:pt>
                <c:pt idx="314">
                  <c:v>-0.398989898992758</c:v>
                </c:pt>
                <c:pt idx="315">
                  <c:v>9.0090090080529716E-3</c:v>
                </c:pt>
                <c:pt idx="316">
                  <c:v>0.37500000000416162</c:v>
                </c:pt>
                <c:pt idx="317">
                  <c:v>0.72857142858278912</c:v>
                </c:pt>
                <c:pt idx="318">
                  <c:v>0.48872180451861857</c:v>
                </c:pt>
                <c:pt idx="319">
                  <c:v>0.34615384615847578</c:v>
                </c:pt>
                <c:pt idx="320">
                  <c:v>0.43859649123186401</c:v>
                </c:pt>
                <c:pt idx="321">
                  <c:v>0.26136363636782106</c:v>
                </c:pt>
                <c:pt idx="322">
                  <c:v>-0.10416666666685932</c:v>
                </c:pt>
                <c:pt idx="323">
                  <c:v>-0.27040816326613593</c:v>
                </c:pt>
                <c:pt idx="324">
                  <c:v>3.3653846154565119E-2</c:v>
                </c:pt>
                <c:pt idx="325">
                  <c:v>2.7972027972430816E-2</c:v>
                </c:pt>
                <c:pt idx="326">
                  <c:v>-8.6956521739298118E-2</c:v>
                </c:pt>
                <c:pt idx="327">
                  <c:v>-3.5014005602648321E-2</c:v>
                </c:pt>
                <c:pt idx="328">
                  <c:v>-0.11312217194626903</c:v>
                </c:pt>
                <c:pt idx="329">
                  <c:v>-0.12000000000258049</c:v>
                </c:pt>
                <c:pt idx="330">
                  <c:v>-0.32598039216010949</c:v>
                </c:pt>
                <c:pt idx="331">
                  <c:v>-0.47767857143006121</c:v>
                </c:pt>
                <c:pt idx="332">
                  <c:v>-0.37343358396064985</c:v>
                </c:pt>
                <c:pt idx="333">
                  <c:v>-0.18796992481302879</c:v>
                </c:pt>
                <c:pt idx="334">
                  <c:v>6.7385444741723644E-2</c:v>
                </c:pt>
                <c:pt idx="335">
                  <c:v>0.12244897959024661</c:v>
                </c:pt>
                <c:pt idx="336">
                  <c:v>0.33846153846103638</c:v>
                </c:pt>
                <c:pt idx="337">
                  <c:v>0.23015873015977206</c:v>
                </c:pt>
                <c:pt idx="338">
                  <c:v>0.27083333333198462</c:v>
                </c:pt>
                <c:pt idx="339">
                  <c:v>0.18867924528165975</c:v>
                </c:pt>
                <c:pt idx="340">
                  <c:v>6.2409288822465728E-2</c:v>
                </c:pt>
                <c:pt idx="341">
                  <c:v>0.25490196078301647</c:v>
                </c:pt>
                <c:pt idx="342">
                  <c:v>-7.3529411766873998E-2</c:v>
                </c:pt>
                <c:pt idx="343">
                  <c:v>4.6296296292595738E-3</c:v>
                </c:pt>
                <c:pt idx="344">
                  <c:v>0.25866666666557908</c:v>
                </c:pt>
                <c:pt idx="345">
                  <c:v>0.49142857142875551</c:v>
                </c:pt>
                <c:pt idx="346">
                  <c:v>0.4346504559265813</c:v>
                </c:pt>
                <c:pt idx="347">
                  <c:v>0.19727891156337277</c:v>
                </c:pt>
                <c:pt idx="348">
                  <c:v>4.3269230767197159E-2</c:v>
                </c:pt>
                <c:pt idx="349">
                  <c:v>-0.10243407707968613</c:v>
                </c:pt>
                <c:pt idx="350">
                  <c:v>6.0851926976388301E-3</c:v>
                </c:pt>
                <c:pt idx="351">
                  <c:v>-0.13425925925974347</c:v>
                </c:pt>
                <c:pt idx="352">
                  <c:v>-7.6923076923215275E-2</c:v>
                </c:pt>
                <c:pt idx="353">
                  <c:v>1.8518518518943362E-2</c:v>
                </c:pt>
                <c:pt idx="354">
                  <c:v>4.3020193152459946E-2</c:v>
                </c:pt>
                <c:pt idx="355">
                  <c:v>0.31314878892894377</c:v>
                </c:pt>
                <c:pt idx="356">
                  <c:v>0.23639607493404027</c:v>
                </c:pt>
                <c:pt idx="357">
                  <c:v>4.1935483870987757E-2</c:v>
                </c:pt>
                <c:pt idx="358">
                  <c:v>-0.21607378129207425</c:v>
                </c:pt>
                <c:pt idx="359">
                  <c:v>-0.37626262626435786</c:v>
                </c:pt>
                <c:pt idx="360">
                  <c:v>-0.3951612903245178</c:v>
                </c:pt>
                <c:pt idx="361">
                  <c:v>-0.37562366357995752</c:v>
                </c:pt>
                <c:pt idx="362">
                  <c:v>-0.39942528735851207</c:v>
                </c:pt>
                <c:pt idx="363">
                  <c:v>-0.550962223808658</c:v>
                </c:pt>
                <c:pt idx="364">
                  <c:v>-0.42615012106817296</c:v>
                </c:pt>
                <c:pt idx="365">
                  <c:v>-0.25925925926160526</c:v>
                </c:pt>
                <c:pt idx="366">
                  <c:v>-0.17725409836233716</c:v>
                </c:pt>
                <c:pt idx="367">
                  <c:v>-2.8985507246451322E-2</c:v>
                </c:pt>
                <c:pt idx="368">
                  <c:v>0.14285714285856202</c:v>
                </c:pt>
                <c:pt idx="369">
                  <c:v>0.38488783943686899</c:v>
                </c:pt>
                <c:pt idx="370">
                  <c:v>0.60839160839743978</c:v>
                </c:pt>
                <c:pt idx="371">
                  <c:v>0.60590277778307311</c:v>
                </c:pt>
                <c:pt idx="372">
                  <c:v>0.32993197279275832</c:v>
                </c:pt>
                <c:pt idx="373">
                  <c:v>5.0480769231882501E-2</c:v>
                </c:pt>
                <c:pt idx="374">
                  <c:v>5.6985294118769736E-2</c:v>
                </c:pt>
                <c:pt idx="375">
                  <c:v>4.5751633988778725E-2</c:v>
                </c:pt>
                <c:pt idx="376">
                  <c:v>1.1441647598306841E-2</c:v>
                </c:pt>
                <c:pt idx="377">
                  <c:v>-9.2592592592006487E-2</c:v>
                </c:pt>
                <c:pt idx="378">
                  <c:v>9.4832648268201342E-2</c:v>
                </c:pt>
                <c:pt idx="379">
                  <c:v>0.21969696969784355</c:v>
                </c:pt>
                <c:pt idx="380">
                  <c:v>0.24733475479826783</c:v>
                </c:pt>
                <c:pt idx="381">
                  <c:v>8.3333333333796472E-2</c:v>
                </c:pt>
                <c:pt idx="382">
                  <c:v>0.11447492904496737</c:v>
                </c:pt>
                <c:pt idx="383">
                  <c:v>9.4992050874664113E-2</c:v>
                </c:pt>
                <c:pt idx="384">
                  <c:v>-8.1081081081275763E-2</c:v>
                </c:pt>
                <c:pt idx="385">
                  <c:v>-0.11309523809557365</c:v>
                </c:pt>
                <c:pt idx="386">
                  <c:v>-0.26055386693745364</c:v>
                </c:pt>
                <c:pt idx="387">
                  <c:v>-0.26056338028274728</c:v>
                </c:pt>
                <c:pt idx="388">
                  <c:v>-0.12182829336200483</c:v>
                </c:pt>
                <c:pt idx="389">
                  <c:v>-6.3926940639984511E-2</c:v>
                </c:pt>
                <c:pt idx="390">
                  <c:v>-0.10003195909316341</c:v>
                </c:pt>
                <c:pt idx="391">
                  <c:v>-0.16462518373433549</c:v>
                </c:pt>
                <c:pt idx="392">
                  <c:v>3.2467532467588586E-2</c:v>
                </c:pt>
                <c:pt idx="393">
                  <c:v>-8.5380116958746186E-2</c:v>
                </c:pt>
                <c:pt idx="394">
                  <c:v>-7.6923076923226946E-2</c:v>
                </c:pt>
                <c:pt idx="395">
                  <c:v>-0.27089783281744778</c:v>
                </c:pt>
                <c:pt idx="396">
                  <c:v>-0.2772020725394021</c:v>
                </c:pt>
                <c:pt idx="397">
                  <c:v>1.5482054891013328E-2</c:v>
                </c:pt>
                <c:pt idx="398">
                  <c:v>-0.12837837837819774</c:v>
                </c:pt>
                <c:pt idx="399">
                  <c:v>0.12510766580431545</c:v>
                </c:pt>
                <c:pt idx="400">
                  <c:v>0.32576496674050354</c:v>
                </c:pt>
                <c:pt idx="401">
                  <c:v>0.33124999999990296</c:v>
                </c:pt>
                <c:pt idx="402">
                  <c:v>0.36894215737367014</c:v>
                </c:pt>
                <c:pt idx="403">
                  <c:v>0.39104234527638754</c:v>
                </c:pt>
                <c:pt idx="404">
                  <c:v>0.3967905637081478</c:v>
                </c:pt>
                <c:pt idx="405">
                  <c:v>0.2177312982863438</c:v>
                </c:pt>
                <c:pt idx="406">
                  <c:v>-3.2051282048069438E-3</c:v>
                </c:pt>
                <c:pt idx="407">
                  <c:v>-0.19442761962437885</c:v>
                </c:pt>
                <c:pt idx="408">
                  <c:v>-6.9873417721384334E-2</c:v>
                </c:pt>
                <c:pt idx="409">
                  <c:v>-0.13828988007439069</c:v>
                </c:pt>
                <c:pt idx="410">
                  <c:v>-0.17751967028839555</c:v>
                </c:pt>
                <c:pt idx="411">
                  <c:v>-0.16378140881566261</c:v>
                </c:pt>
                <c:pt idx="412">
                  <c:v>-0.28497356302190158</c:v>
                </c:pt>
                <c:pt idx="413">
                  <c:v>-0.24929423475465601</c:v>
                </c:pt>
                <c:pt idx="414">
                  <c:v>-0.15764825011109559</c:v>
                </c:pt>
                <c:pt idx="415">
                  <c:v>-0.20820702306782168</c:v>
                </c:pt>
                <c:pt idx="416">
                  <c:v>-0.16770779996603782</c:v>
                </c:pt>
                <c:pt idx="417">
                  <c:v>-0.10891404202953932</c:v>
                </c:pt>
                <c:pt idx="418">
                  <c:v>-9.3232055843092604E-2</c:v>
                </c:pt>
                <c:pt idx="419">
                  <c:v>-7.1966891043146658E-2</c:v>
                </c:pt>
                <c:pt idx="420">
                  <c:v>-3.1614491637081271E-2</c:v>
                </c:pt>
                <c:pt idx="421">
                  <c:v>-2.7525215446493025E-2</c:v>
                </c:pt>
                <c:pt idx="422">
                  <c:v>-3.0377897714233208E-2</c:v>
                </c:pt>
                <c:pt idx="423">
                  <c:v>-9.2266360581469142E-2</c:v>
                </c:pt>
                <c:pt idx="424">
                  <c:v>-9.7693351424587599E-2</c:v>
                </c:pt>
                <c:pt idx="425">
                  <c:v>6.52053094845087E-3</c:v>
                </c:pt>
                <c:pt idx="426">
                  <c:v>6.270825805934209E-2</c:v>
                </c:pt>
                <c:pt idx="427">
                  <c:v>-2.1660202256086135E-2</c:v>
                </c:pt>
                <c:pt idx="428">
                  <c:v>-4.0114613180528773E-2</c:v>
                </c:pt>
                <c:pt idx="429">
                  <c:v>-7.3856933001663794E-2</c:v>
                </c:pt>
                <c:pt idx="430">
                  <c:v>-4.977709227538029E-2</c:v>
                </c:pt>
                <c:pt idx="431">
                  <c:v>-6.2594701270335701E-2</c:v>
                </c:pt>
                <c:pt idx="432">
                  <c:v>-5.205458392999521E-4</c:v>
                </c:pt>
                <c:pt idx="433">
                  <c:v>5.2755277098696728E-2</c:v>
                </c:pt>
                <c:pt idx="434">
                  <c:v>4.5521649869562697E-2</c:v>
                </c:pt>
                <c:pt idx="435">
                  <c:v>7.3901145554001971E-2</c:v>
                </c:pt>
                <c:pt idx="436">
                  <c:v>2.0289223562815362E-2</c:v>
                </c:pt>
                <c:pt idx="437">
                  <c:v>-5.405329534206104E-2</c:v>
                </c:pt>
                <c:pt idx="438">
                  <c:v>-4.8421174869083226E-2</c:v>
                </c:pt>
                <c:pt idx="439">
                  <c:v>-3.8861161836069705E-2</c:v>
                </c:pt>
                <c:pt idx="440">
                  <c:v>-0.1000104782262163</c:v>
                </c:pt>
                <c:pt idx="441">
                  <c:v>-0.1291168712731611</c:v>
                </c:pt>
                <c:pt idx="442">
                  <c:v>-6.4911241518924495E-2</c:v>
                </c:pt>
                <c:pt idx="443">
                  <c:v>-4.35490442748631E-2</c:v>
                </c:pt>
                <c:pt idx="444">
                  <c:v>-1.8606180144743127E-2</c:v>
                </c:pt>
                <c:pt idx="445">
                  <c:v>-3.5538983805407924E-2</c:v>
                </c:pt>
                <c:pt idx="446">
                  <c:v>5.3268893415136569E-2</c:v>
                </c:pt>
                <c:pt idx="447">
                  <c:v>0.14867071352740874</c:v>
                </c:pt>
                <c:pt idx="448">
                  <c:v>0.124317722050375</c:v>
                </c:pt>
                <c:pt idx="449">
                  <c:v>7.8277855963778772E-2</c:v>
                </c:pt>
                <c:pt idx="450">
                  <c:v>5.7141366977597384E-2</c:v>
                </c:pt>
                <c:pt idx="451">
                  <c:v>3.4636113334156585E-3</c:v>
                </c:pt>
                <c:pt idx="452">
                  <c:v>7.3480795816716132E-3</c:v>
                </c:pt>
                <c:pt idx="453">
                  <c:v>2.4990781095016134E-2</c:v>
                </c:pt>
                <c:pt idx="454">
                  <c:v>-2.9198785548157056E-2</c:v>
                </c:pt>
                <c:pt idx="455">
                  <c:v>-5.9039836567890872E-2</c:v>
                </c:pt>
                <c:pt idx="456">
                  <c:v>-1.2373221652266403E-2</c:v>
                </c:pt>
                <c:pt idx="457">
                  <c:v>-4.3293219468250176E-2</c:v>
                </c:pt>
                <c:pt idx="458">
                  <c:v>-4.8078768492646522E-2</c:v>
                </c:pt>
                <c:pt idx="459">
                  <c:v>-2.9523730286440175E-2</c:v>
                </c:pt>
                <c:pt idx="460">
                  <c:v>2.8455581613167382E-2</c:v>
                </c:pt>
                <c:pt idx="461">
                  <c:v>1.402703867167221E-2</c:v>
                </c:pt>
                <c:pt idx="462">
                  <c:v>2.2265886660964334E-2</c:v>
                </c:pt>
                <c:pt idx="463">
                  <c:v>3.7304028241175499E-2</c:v>
                </c:pt>
                <c:pt idx="464">
                  <c:v>7.3483377745761289E-2</c:v>
                </c:pt>
                <c:pt idx="465">
                  <c:v>5.3113328859735721E-2</c:v>
                </c:pt>
                <c:pt idx="466">
                  <c:v>8.7006048143492637E-2</c:v>
                </c:pt>
                <c:pt idx="467">
                  <c:v>0.12419462922711758</c:v>
                </c:pt>
                <c:pt idx="468">
                  <c:v>6.34875180611148E-2</c:v>
                </c:pt>
                <c:pt idx="469">
                  <c:v>2.151573978655287E-2</c:v>
                </c:pt>
                <c:pt idx="470">
                  <c:v>2.0975468271729941E-2</c:v>
                </c:pt>
                <c:pt idx="471">
                  <c:v>-1.8192488262953298E-2</c:v>
                </c:pt>
                <c:pt idx="472">
                  <c:v>-2.5643513294127868E-2</c:v>
                </c:pt>
                <c:pt idx="473">
                  <c:v>-6.2093629940139977E-2</c:v>
                </c:pt>
                <c:pt idx="474">
                  <c:v>-2.1642331166869606E-2</c:v>
                </c:pt>
                <c:pt idx="475">
                  <c:v>6.8856865701392905E-2</c:v>
                </c:pt>
                <c:pt idx="476">
                  <c:v>0.12985191416453959</c:v>
                </c:pt>
                <c:pt idx="477">
                  <c:v>0.18254741449609649</c:v>
                </c:pt>
                <c:pt idx="478">
                  <c:v>0.22410280335501534</c:v>
                </c:pt>
                <c:pt idx="479">
                  <c:v>0.21083597192272771</c:v>
                </c:pt>
                <c:pt idx="480">
                  <c:v>0.22503976608950144</c:v>
                </c:pt>
                <c:pt idx="481">
                  <c:v>0.23405330373405847</c:v>
                </c:pt>
                <c:pt idx="482">
                  <c:v>8.1320220958995743E-2</c:v>
                </c:pt>
                <c:pt idx="483">
                  <c:v>3.8011782131117333E-2</c:v>
                </c:pt>
                <c:pt idx="484">
                  <c:v>1.7461148931752928E-4</c:v>
                </c:pt>
                <c:pt idx="485">
                  <c:v>-6.8661763864565822E-2</c:v>
                </c:pt>
                <c:pt idx="486">
                  <c:v>-8.381385553260623E-2</c:v>
                </c:pt>
                <c:pt idx="487">
                  <c:v>-8.1158115811644144E-2</c:v>
                </c:pt>
                <c:pt idx="488">
                  <c:v>-5.8123172227315306E-2</c:v>
                </c:pt>
                <c:pt idx="489">
                  <c:v>-5.2564358760549146E-3</c:v>
                </c:pt>
                <c:pt idx="490">
                  <c:v>5.3537284894778084E-3</c:v>
                </c:pt>
                <c:pt idx="491">
                  <c:v>-1.0451916799897152E-2</c:v>
                </c:pt>
                <c:pt idx="492">
                  <c:v>5.0573715047285216E-2</c:v>
                </c:pt>
                <c:pt idx="493">
                  <c:v>2.0069953785922478E-2</c:v>
                </c:pt>
                <c:pt idx="494">
                  <c:v>2.8037383177340058E-2</c:v>
                </c:pt>
                <c:pt idx="495">
                  <c:v>8.7936025323361561E-2</c:v>
                </c:pt>
                <c:pt idx="496">
                  <c:v>0.10102029266726947</c:v>
                </c:pt>
                <c:pt idx="497">
                  <c:v>0.13111651797784007</c:v>
                </c:pt>
                <c:pt idx="498">
                  <c:v>0.15908374617618559</c:v>
                </c:pt>
                <c:pt idx="499">
                  <c:v>7.5006626027182902E-2</c:v>
                </c:pt>
                <c:pt idx="500">
                  <c:v>3.4785077318770216E-2</c:v>
                </c:pt>
                <c:pt idx="501">
                  <c:v>2.268232217265927E-2</c:v>
                </c:pt>
                <c:pt idx="502">
                  <c:v>8.3142600977048776E-3</c:v>
                </c:pt>
                <c:pt idx="503">
                  <c:v>-8.726700953249826E-2</c:v>
                </c:pt>
                <c:pt idx="504">
                  <c:v>-0.20834193681611621</c:v>
                </c:pt>
                <c:pt idx="505">
                  <c:v>-0.26375749344339278</c:v>
                </c:pt>
                <c:pt idx="506">
                  <c:v>-0.274069956723765</c:v>
                </c:pt>
                <c:pt idx="507">
                  <c:v>-0.32722200557954229</c:v>
                </c:pt>
                <c:pt idx="508">
                  <c:v>-0.28247442640928455</c:v>
                </c:pt>
                <c:pt idx="509">
                  <c:v>-0.2527026872431965</c:v>
                </c:pt>
                <c:pt idx="510">
                  <c:v>-0.2958195421798927</c:v>
                </c:pt>
                <c:pt idx="511">
                  <c:v>-0.28375272331125639</c:v>
                </c:pt>
                <c:pt idx="512">
                  <c:v>-0.29109760870879586</c:v>
                </c:pt>
                <c:pt idx="513">
                  <c:v>-0.25646219993188202</c:v>
                </c:pt>
                <c:pt idx="514">
                  <c:v>-0.26049895624392078</c:v>
                </c:pt>
                <c:pt idx="515">
                  <c:v>-0.27645829731890759</c:v>
                </c:pt>
                <c:pt idx="516">
                  <c:v>-0.17266763227411358</c:v>
                </c:pt>
                <c:pt idx="517">
                  <c:v>-0.13204021921081427</c:v>
                </c:pt>
                <c:pt idx="518">
                  <c:v>-0.12738138131371568</c:v>
                </c:pt>
                <c:pt idx="519">
                  <c:v>-8.7443542907537808E-2</c:v>
                </c:pt>
                <c:pt idx="520">
                  <c:v>-0.15438038115071889</c:v>
                </c:pt>
                <c:pt idx="521">
                  <c:v>-0.19057766113104085</c:v>
                </c:pt>
                <c:pt idx="522">
                  <c:v>-0.16133830774389063</c:v>
                </c:pt>
                <c:pt idx="523">
                  <c:v>-0.10236130485829752</c:v>
                </c:pt>
                <c:pt idx="524">
                  <c:v>-0.10695881830314065</c:v>
                </c:pt>
                <c:pt idx="525">
                  <c:v>-8.2064661712565948E-2</c:v>
                </c:pt>
                <c:pt idx="526">
                  <c:v>-4.2319749216302001E-2</c:v>
                </c:pt>
                <c:pt idx="527">
                  <c:v>1.6725352112516023E-2</c:v>
                </c:pt>
                <c:pt idx="528">
                  <c:v>3.5891317921862814E-2</c:v>
                </c:pt>
                <c:pt idx="529">
                  <c:v>-2.2397450784467553E-2</c:v>
                </c:pt>
                <c:pt idx="530">
                  <c:v>7.3935082832350424E-2</c:v>
                </c:pt>
                <c:pt idx="531">
                  <c:v>9.2974398738104258E-2</c:v>
                </c:pt>
                <c:pt idx="532">
                  <c:v>9.6557435305040296E-2</c:v>
                </c:pt>
                <c:pt idx="533">
                  <c:v>5.91611079705903E-2</c:v>
                </c:pt>
                <c:pt idx="534">
                  <c:v>3.3689684989114496E-2</c:v>
                </c:pt>
                <c:pt idx="535">
                  <c:v>-4.3162609260346627E-3</c:v>
                </c:pt>
                <c:pt idx="536">
                  <c:v>8.5871156097032275E-2</c:v>
                </c:pt>
                <c:pt idx="537">
                  <c:v>0.16701461377887755</c:v>
                </c:pt>
                <c:pt idx="538">
                  <c:v>0.12259633655096866</c:v>
                </c:pt>
                <c:pt idx="539">
                  <c:v>5.2457141202325558E-2</c:v>
                </c:pt>
                <c:pt idx="540">
                  <c:v>0.10067675556870456</c:v>
                </c:pt>
                <c:pt idx="541">
                  <c:v>9.0026083716130897E-2</c:v>
                </c:pt>
                <c:pt idx="542">
                  <c:v>4.7587744821924932E-2</c:v>
                </c:pt>
                <c:pt idx="543">
                  <c:v>-3.516595056444639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HOSP_do_3_dne_7dni_shift3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69147389999999997</c:v>
                </c:pt>
                <c:pt idx="1">
                  <c:v>0.83163750000000003</c:v>
                </c:pt>
                <c:pt idx="2">
                  <c:v>0.91573570000000004</c:v>
                </c:pt>
                <c:pt idx="3">
                  <c:v>1.0278666000000001</c:v>
                </c:pt>
                <c:pt idx="4">
                  <c:v>1.1493418</c:v>
                </c:pt>
                <c:pt idx="5">
                  <c:v>1.1960630000000001</c:v>
                </c:pt>
                <c:pt idx="6">
                  <c:v>1.2240956999999999</c:v>
                </c:pt>
                <c:pt idx="7">
                  <c:v>1.2334400000000001</c:v>
                </c:pt>
                <c:pt idx="8">
                  <c:v>1.5044230000000001</c:v>
                </c:pt>
                <c:pt idx="9">
                  <c:v>1.5791769</c:v>
                </c:pt>
                <c:pt idx="10">
                  <c:v>1.6539309</c:v>
                </c:pt>
                <c:pt idx="11">
                  <c:v>1.7193406</c:v>
                </c:pt>
                <c:pt idx="12">
                  <c:v>1.775406</c:v>
                </c:pt>
                <c:pt idx="13">
                  <c:v>1.8781927</c:v>
                </c:pt>
                <c:pt idx="14">
                  <c:v>1.9529466</c:v>
                </c:pt>
                <c:pt idx="15">
                  <c:v>2.2052412000000001</c:v>
                </c:pt>
                <c:pt idx="16">
                  <c:v>2.6163878999999999</c:v>
                </c:pt>
                <c:pt idx="17">
                  <c:v>2.9714691000000002</c:v>
                </c:pt>
                <c:pt idx="18">
                  <c:v>3.6629429999999998</c:v>
                </c:pt>
                <c:pt idx="19">
                  <c:v>3.8498279000000002</c:v>
                </c:pt>
                <c:pt idx="20">
                  <c:v>3.9899914999999999</c:v>
                </c:pt>
                <c:pt idx="21">
                  <c:v>4.1114667000000003</c:v>
                </c:pt>
                <c:pt idx="22">
                  <c:v>4.4104824000000002</c:v>
                </c:pt>
                <c:pt idx="23">
                  <c:v>4.8870388</c:v>
                </c:pt>
                <c:pt idx="24">
                  <c:v>4.9617927000000002</c:v>
                </c:pt>
                <c:pt idx="25">
                  <c:v>5.5411358000000002</c:v>
                </c:pt>
                <c:pt idx="26">
                  <c:v>5.5598242999999998</c:v>
                </c:pt>
                <c:pt idx="27">
                  <c:v>5.7280205999999998</c:v>
                </c:pt>
                <c:pt idx="28">
                  <c:v>5.9522824999999999</c:v>
                </c:pt>
                <c:pt idx="29">
                  <c:v>6.4849043000000002</c:v>
                </c:pt>
                <c:pt idx="30">
                  <c:v>7.2137551999999996</c:v>
                </c:pt>
                <c:pt idx="31">
                  <c:v>7.8024424999999997</c:v>
                </c:pt>
                <c:pt idx="32">
                  <c:v>8.5219491999999999</c:v>
                </c:pt>
                <c:pt idx="33">
                  <c:v>8.9985055000000003</c:v>
                </c:pt>
                <c:pt idx="34">
                  <c:v>9.0265383000000003</c:v>
                </c:pt>
                <c:pt idx="35">
                  <c:v>9.5404716000000001</c:v>
                </c:pt>
                <c:pt idx="36">
                  <c:v>11.128992800000001</c:v>
                </c:pt>
                <c:pt idx="37">
                  <c:v>12.3530886</c:v>
                </c:pt>
                <c:pt idx="38">
                  <c:v>13.8107904</c:v>
                </c:pt>
                <c:pt idx="39">
                  <c:v>14.978820799999999</c:v>
                </c:pt>
                <c:pt idx="40">
                  <c:v>16.427178399999999</c:v>
                </c:pt>
                <c:pt idx="41">
                  <c:v>16.8102923</c:v>
                </c:pt>
                <c:pt idx="42">
                  <c:v>17.894224399999999</c:v>
                </c:pt>
                <c:pt idx="43">
                  <c:v>19.781761400000001</c:v>
                </c:pt>
                <c:pt idx="44">
                  <c:v>21.220774800000001</c:v>
                </c:pt>
                <c:pt idx="45">
                  <c:v>22.7251978</c:v>
                </c:pt>
                <c:pt idx="46">
                  <c:v>23.6783106</c:v>
                </c:pt>
                <c:pt idx="47">
                  <c:v>25.117323899999999</c:v>
                </c:pt>
                <c:pt idx="48">
                  <c:v>25.7807651</c:v>
                </c:pt>
                <c:pt idx="49">
                  <c:v>27.116991800000001</c:v>
                </c:pt>
                <c:pt idx="50">
                  <c:v>30.5369846</c:v>
                </c:pt>
                <c:pt idx="51">
                  <c:v>32.704848900000002</c:v>
                </c:pt>
                <c:pt idx="52">
                  <c:v>35.835170099999999</c:v>
                </c:pt>
                <c:pt idx="53">
                  <c:v>37.956313199999997</c:v>
                </c:pt>
                <c:pt idx="54">
                  <c:v>40.189587199999998</c:v>
                </c:pt>
                <c:pt idx="55">
                  <c:v>41.479092600000001</c:v>
                </c:pt>
                <c:pt idx="56">
                  <c:v>42.310730200000002</c:v>
                </c:pt>
                <c:pt idx="57">
                  <c:v>46.132525399999999</c:v>
                </c:pt>
                <c:pt idx="58">
                  <c:v>47.730390900000003</c:v>
                </c:pt>
                <c:pt idx="59">
                  <c:v>48.001373899999997</c:v>
                </c:pt>
                <c:pt idx="60">
                  <c:v>47.898587300000003</c:v>
                </c:pt>
                <c:pt idx="61">
                  <c:v>48.804978800000001</c:v>
                </c:pt>
                <c:pt idx="62">
                  <c:v>47.683669700000003</c:v>
                </c:pt>
                <c:pt idx="63">
                  <c:v>45.8335097</c:v>
                </c:pt>
                <c:pt idx="64">
                  <c:v>48.272357</c:v>
                </c:pt>
                <c:pt idx="65">
                  <c:v>48.5339958</c:v>
                </c:pt>
                <c:pt idx="66">
                  <c:v>47.730390900000003</c:v>
                </c:pt>
                <c:pt idx="67">
                  <c:v>48.347110899999997</c:v>
                </c:pt>
                <c:pt idx="68">
                  <c:v>46.693179999999998</c:v>
                </c:pt>
                <c:pt idx="69">
                  <c:v>43.646956899999999</c:v>
                </c:pt>
                <c:pt idx="70">
                  <c:v>41.4230272</c:v>
                </c:pt>
                <c:pt idx="71">
                  <c:v>42.544336299999998</c:v>
                </c:pt>
                <c:pt idx="72">
                  <c:v>40.909093800000001</c:v>
                </c:pt>
                <c:pt idx="73">
                  <c:v>39.012212599999998</c:v>
                </c:pt>
                <c:pt idx="74">
                  <c:v>37.264839199999997</c:v>
                </c:pt>
                <c:pt idx="75">
                  <c:v>35.508121600000003</c:v>
                </c:pt>
                <c:pt idx="76">
                  <c:v>32.966487700000002</c:v>
                </c:pt>
                <c:pt idx="77">
                  <c:v>30.892065800000001</c:v>
                </c:pt>
                <c:pt idx="78">
                  <c:v>33.078618599999999</c:v>
                </c:pt>
                <c:pt idx="79">
                  <c:v>31.0322295</c:v>
                </c:pt>
                <c:pt idx="80">
                  <c:v>29.5745276</c:v>
                </c:pt>
                <c:pt idx="81">
                  <c:v>27.6776464</c:v>
                </c:pt>
                <c:pt idx="82">
                  <c:v>25.939617299999998</c:v>
                </c:pt>
                <c:pt idx="83">
                  <c:v>23.435360299999999</c:v>
                </c:pt>
                <c:pt idx="84">
                  <c:v>22.3981493</c:v>
                </c:pt>
                <c:pt idx="85">
                  <c:v>24.3791288</c:v>
                </c:pt>
                <c:pt idx="86">
                  <c:v>23.8558512</c:v>
                </c:pt>
                <c:pt idx="87">
                  <c:v>24.491259700000001</c:v>
                </c:pt>
                <c:pt idx="88">
                  <c:v>23.622245100000001</c:v>
                </c:pt>
                <c:pt idx="89">
                  <c:v>22.472903299999999</c:v>
                </c:pt>
                <c:pt idx="90">
                  <c:v>21.174053600000001</c:v>
                </c:pt>
                <c:pt idx="91">
                  <c:v>20.660120200000001</c:v>
                </c:pt>
                <c:pt idx="92">
                  <c:v>22.557001499999998</c:v>
                </c:pt>
                <c:pt idx="93">
                  <c:v>22.500935999999999</c:v>
                </c:pt>
                <c:pt idx="94">
                  <c:v>21.248807500000002</c:v>
                </c:pt>
                <c:pt idx="95">
                  <c:v>20.875037800000001</c:v>
                </c:pt>
                <c:pt idx="96">
                  <c:v>20.613399000000001</c:v>
                </c:pt>
                <c:pt idx="97">
                  <c:v>20.4078257</c:v>
                </c:pt>
                <c:pt idx="98">
                  <c:v>20.248973599999999</c:v>
                </c:pt>
                <c:pt idx="99">
                  <c:v>22.566345699999999</c:v>
                </c:pt>
                <c:pt idx="100">
                  <c:v>22.827984499999999</c:v>
                </c:pt>
                <c:pt idx="101">
                  <c:v>23.164377200000001</c:v>
                </c:pt>
                <c:pt idx="102">
                  <c:v>23.454048700000001</c:v>
                </c:pt>
                <c:pt idx="103">
                  <c:v>23.1830657</c:v>
                </c:pt>
                <c:pt idx="104">
                  <c:v>22.407493599999999</c:v>
                </c:pt>
                <c:pt idx="105">
                  <c:v>21.753396599999999</c:v>
                </c:pt>
                <c:pt idx="106">
                  <c:v>24.995848800000001</c:v>
                </c:pt>
                <c:pt idx="107">
                  <c:v>24.986504499999999</c:v>
                </c:pt>
                <c:pt idx="108">
                  <c:v>25.098635399999999</c:v>
                </c:pt>
                <c:pt idx="109">
                  <c:v>24.5099482</c:v>
                </c:pt>
                <c:pt idx="110">
                  <c:v>24.519292400000001</c:v>
                </c:pt>
                <c:pt idx="111">
                  <c:v>23.9212609</c:v>
                </c:pt>
                <c:pt idx="112">
                  <c:v>24.0053591</c:v>
                </c:pt>
                <c:pt idx="113">
                  <c:v>26.58437</c:v>
                </c:pt>
                <c:pt idx="114">
                  <c:v>25.902240299999999</c:v>
                </c:pt>
                <c:pt idx="115">
                  <c:v>26.014371199999999</c:v>
                </c:pt>
                <c:pt idx="116">
                  <c:v>24.0520803</c:v>
                </c:pt>
                <c:pt idx="117">
                  <c:v>23.2204427</c:v>
                </c:pt>
                <c:pt idx="118">
                  <c:v>23.145688700000001</c:v>
                </c:pt>
                <c:pt idx="119">
                  <c:v>24.603390600000001</c:v>
                </c:pt>
                <c:pt idx="120">
                  <c:v>28.733545800000002</c:v>
                </c:pt>
                <c:pt idx="121">
                  <c:v>30.7705907</c:v>
                </c:pt>
                <c:pt idx="122">
                  <c:v>32.854356799999998</c:v>
                </c:pt>
                <c:pt idx="123">
                  <c:v>33.779436799999999</c:v>
                </c:pt>
                <c:pt idx="124">
                  <c:v>34.723205299999996</c:v>
                </c:pt>
                <c:pt idx="125">
                  <c:v>36.769594400000003</c:v>
                </c:pt>
                <c:pt idx="126">
                  <c:v>37.638608900000001</c:v>
                </c:pt>
                <c:pt idx="127">
                  <c:v>40.2082756</c:v>
                </c:pt>
                <c:pt idx="128">
                  <c:v>41.4697484</c:v>
                </c:pt>
                <c:pt idx="129">
                  <c:v>41.236142299999997</c:v>
                </c:pt>
                <c:pt idx="130">
                  <c:v>40.4231932</c:v>
                </c:pt>
                <c:pt idx="131">
                  <c:v>40.254996900000002</c:v>
                </c:pt>
                <c:pt idx="132">
                  <c:v>41.2454866</c:v>
                </c:pt>
                <c:pt idx="133">
                  <c:v>39.367293799999999</c:v>
                </c:pt>
                <c:pt idx="134">
                  <c:v>40.367127799999999</c:v>
                </c:pt>
                <c:pt idx="135">
                  <c:v>39.348605300000003</c:v>
                </c:pt>
                <c:pt idx="136">
                  <c:v>36.152874400000002</c:v>
                </c:pt>
                <c:pt idx="137">
                  <c:v>33.433699799999999</c:v>
                </c:pt>
                <c:pt idx="138">
                  <c:v>31.761080400000001</c:v>
                </c:pt>
                <c:pt idx="139">
                  <c:v>29.396986999999999</c:v>
                </c:pt>
                <c:pt idx="140">
                  <c:v>27.5655155</c:v>
                </c:pt>
                <c:pt idx="141">
                  <c:v>29.331577299999999</c:v>
                </c:pt>
                <c:pt idx="142">
                  <c:v>28.453218499999998</c:v>
                </c:pt>
                <c:pt idx="143">
                  <c:v>27.163713000000001</c:v>
                </c:pt>
                <c:pt idx="144">
                  <c:v>26.509616099999999</c:v>
                </c:pt>
                <c:pt idx="145">
                  <c:v>26.556337299999999</c:v>
                </c:pt>
                <c:pt idx="146">
                  <c:v>25.238799100000001</c:v>
                </c:pt>
                <c:pt idx="147">
                  <c:v>24.865029400000001</c:v>
                </c:pt>
                <c:pt idx="148">
                  <c:v>26.659123900000001</c:v>
                </c:pt>
                <c:pt idx="149">
                  <c:v>26.135846399999998</c:v>
                </c:pt>
                <c:pt idx="150">
                  <c:v>25.481749400000002</c:v>
                </c:pt>
                <c:pt idx="151">
                  <c:v>25.2107663</c:v>
                </c:pt>
                <c:pt idx="152">
                  <c:v>24.799619700000001</c:v>
                </c:pt>
                <c:pt idx="153">
                  <c:v>23.341917800000001</c:v>
                </c:pt>
                <c:pt idx="154">
                  <c:v>23.080279000000001</c:v>
                </c:pt>
                <c:pt idx="155">
                  <c:v>25.818142099999999</c:v>
                </c:pt>
                <c:pt idx="156">
                  <c:v>26.051748199999999</c:v>
                </c:pt>
                <c:pt idx="157">
                  <c:v>25.640601499999999</c:v>
                </c:pt>
                <c:pt idx="158">
                  <c:v>25.463060899999999</c:v>
                </c:pt>
                <c:pt idx="159">
                  <c:v>25.435028200000001</c:v>
                </c:pt>
                <c:pt idx="160">
                  <c:v>24.519292400000001</c:v>
                </c:pt>
                <c:pt idx="161">
                  <c:v>24.650111800000001</c:v>
                </c:pt>
                <c:pt idx="162">
                  <c:v>26.247977299999999</c:v>
                </c:pt>
                <c:pt idx="163">
                  <c:v>25.874207599999998</c:v>
                </c:pt>
                <c:pt idx="164">
                  <c:v>25.6032245</c:v>
                </c:pt>
                <c:pt idx="165">
                  <c:v>25.6032245</c:v>
                </c:pt>
                <c:pt idx="166">
                  <c:v>25.322897300000001</c:v>
                </c:pt>
                <c:pt idx="167">
                  <c:v>24.1828997</c:v>
                </c:pt>
                <c:pt idx="168">
                  <c:v>24.0520803</c:v>
                </c:pt>
                <c:pt idx="169">
                  <c:v>26.836664599999999</c:v>
                </c:pt>
                <c:pt idx="170">
                  <c:v>28.565349399999999</c:v>
                </c:pt>
                <c:pt idx="171">
                  <c:v>28.546660899999999</c:v>
                </c:pt>
                <c:pt idx="172">
                  <c:v>28.976496099999999</c:v>
                </c:pt>
                <c:pt idx="173">
                  <c:v>29.873543399999999</c:v>
                </c:pt>
                <c:pt idx="174">
                  <c:v>29.66797</c:v>
                </c:pt>
                <c:pt idx="175">
                  <c:v>30.013707</c:v>
                </c:pt>
                <c:pt idx="176">
                  <c:v>33.499109500000003</c:v>
                </c:pt>
                <c:pt idx="177">
                  <c:v>34.0504198</c:v>
                </c:pt>
                <c:pt idx="178">
                  <c:v>33.770092499999997</c:v>
                </c:pt>
                <c:pt idx="179">
                  <c:v>34.872713099999999</c:v>
                </c:pt>
                <c:pt idx="180">
                  <c:v>35.386646499999998</c:v>
                </c:pt>
                <c:pt idx="181">
                  <c:v>34.199927700000003</c:v>
                </c:pt>
                <c:pt idx="182">
                  <c:v>33.8728792</c:v>
                </c:pt>
                <c:pt idx="183">
                  <c:v>37.6666417</c:v>
                </c:pt>
                <c:pt idx="184">
                  <c:v>38.077788300000002</c:v>
                </c:pt>
                <c:pt idx="185">
                  <c:v>37.619920499999999</c:v>
                </c:pt>
                <c:pt idx="186">
                  <c:v>37.087298599999997</c:v>
                </c:pt>
                <c:pt idx="187">
                  <c:v>35.853858600000002</c:v>
                </c:pt>
                <c:pt idx="188">
                  <c:v>34.769926499999997</c:v>
                </c:pt>
                <c:pt idx="189">
                  <c:v>34.480255</c:v>
                </c:pt>
                <c:pt idx="190">
                  <c:v>37.0592659</c:v>
                </c:pt>
                <c:pt idx="191">
                  <c:v>35.442711899999999</c:v>
                </c:pt>
                <c:pt idx="192">
                  <c:v>34.0877968</c:v>
                </c:pt>
                <c:pt idx="193">
                  <c:v>33.134684</c:v>
                </c:pt>
                <c:pt idx="194">
                  <c:v>34.508287699999997</c:v>
                </c:pt>
                <c:pt idx="195">
                  <c:v>33.330913099999997</c:v>
                </c:pt>
                <c:pt idx="196">
                  <c:v>32.190915500000003</c:v>
                </c:pt>
                <c:pt idx="197">
                  <c:v>34.760582200000002</c:v>
                </c:pt>
                <c:pt idx="198">
                  <c:v>34.480255</c:v>
                </c:pt>
                <c:pt idx="199">
                  <c:v>34.583041600000001</c:v>
                </c:pt>
                <c:pt idx="200">
                  <c:v>33.685994299999997</c:v>
                </c:pt>
                <c:pt idx="201">
                  <c:v>33.144028300000002</c:v>
                </c:pt>
                <c:pt idx="202">
                  <c:v>29.920264599999999</c:v>
                </c:pt>
                <c:pt idx="203">
                  <c:v>28.733545800000002</c:v>
                </c:pt>
                <c:pt idx="204">
                  <c:v>30.910754300000001</c:v>
                </c:pt>
                <c:pt idx="205">
                  <c:v>29.8828876</c:v>
                </c:pt>
                <c:pt idx="206">
                  <c:v>28.537316700000002</c:v>
                </c:pt>
                <c:pt idx="207">
                  <c:v>27.397319100000001</c:v>
                </c:pt>
                <c:pt idx="208">
                  <c:v>27.051582100000001</c:v>
                </c:pt>
                <c:pt idx="209">
                  <c:v>25.7994536</c:v>
                </c:pt>
                <c:pt idx="210">
                  <c:v>24.734210000000001</c:v>
                </c:pt>
                <c:pt idx="211">
                  <c:v>27.0609264</c:v>
                </c:pt>
                <c:pt idx="212">
                  <c:v>26.070436699999998</c:v>
                </c:pt>
                <c:pt idx="213">
                  <c:v>24.883717900000001</c:v>
                </c:pt>
                <c:pt idx="214">
                  <c:v>24.1642112</c:v>
                </c:pt>
                <c:pt idx="215">
                  <c:v>22.257985699999999</c:v>
                </c:pt>
                <c:pt idx="216">
                  <c:v>20.6227433</c:v>
                </c:pt>
                <c:pt idx="217">
                  <c:v>20.1274984</c:v>
                </c:pt>
                <c:pt idx="218">
                  <c:v>20.3891372</c:v>
                </c:pt>
                <c:pt idx="219">
                  <c:v>19.9032366</c:v>
                </c:pt>
                <c:pt idx="220">
                  <c:v>19.389303200000001</c:v>
                </c:pt>
                <c:pt idx="221">
                  <c:v>18.258649900000002</c:v>
                </c:pt>
                <c:pt idx="222">
                  <c:v>17.585864399999998</c:v>
                </c:pt>
                <c:pt idx="223">
                  <c:v>17.230783200000001</c:v>
                </c:pt>
                <c:pt idx="224">
                  <c:v>16.576686200000001</c:v>
                </c:pt>
                <c:pt idx="225">
                  <c:v>16.969144400000001</c:v>
                </c:pt>
                <c:pt idx="226">
                  <c:v>17.2868487</c:v>
                </c:pt>
                <c:pt idx="227">
                  <c:v>15.8571796</c:v>
                </c:pt>
                <c:pt idx="228">
                  <c:v>14.4835759</c:v>
                </c:pt>
                <c:pt idx="229">
                  <c:v>13.997675299999999</c:v>
                </c:pt>
                <c:pt idx="230">
                  <c:v>12.848333500000001</c:v>
                </c:pt>
                <c:pt idx="231">
                  <c:v>12.240957699999999</c:v>
                </c:pt>
                <c:pt idx="232">
                  <c:v>13.091283799999999</c:v>
                </c:pt>
                <c:pt idx="233">
                  <c:v>12.801612199999999</c:v>
                </c:pt>
                <c:pt idx="234">
                  <c:v>12.3437444</c:v>
                </c:pt>
                <c:pt idx="235">
                  <c:v>11.6148934</c:v>
                </c:pt>
                <c:pt idx="236">
                  <c:v>10.960796500000001</c:v>
                </c:pt>
                <c:pt idx="237">
                  <c:v>10.0637492</c:v>
                </c:pt>
                <c:pt idx="238">
                  <c:v>9.6806351999999993</c:v>
                </c:pt>
                <c:pt idx="239">
                  <c:v>10.4281746</c:v>
                </c:pt>
                <c:pt idx="240">
                  <c:v>9.9329298000000001</c:v>
                </c:pt>
                <c:pt idx="241">
                  <c:v>9.3255540000000003</c:v>
                </c:pt>
                <c:pt idx="242">
                  <c:v>8.7929321999999992</c:v>
                </c:pt>
                <c:pt idx="243">
                  <c:v>8.4658836999999991</c:v>
                </c:pt>
                <c:pt idx="244">
                  <c:v>8.2509660999999994</c:v>
                </c:pt>
                <c:pt idx="245">
                  <c:v>8.1762122000000002</c:v>
                </c:pt>
                <c:pt idx="246">
                  <c:v>8.7929321999999992</c:v>
                </c:pt>
                <c:pt idx="247">
                  <c:v>8.2416219000000002</c:v>
                </c:pt>
                <c:pt idx="248">
                  <c:v>7.8211310000000003</c:v>
                </c:pt>
                <c:pt idx="249">
                  <c:v>7.6249019000000002</c:v>
                </c:pt>
                <c:pt idx="250">
                  <c:v>7.1016243000000001</c:v>
                </c:pt>
                <c:pt idx="251">
                  <c:v>6.5035927999999998</c:v>
                </c:pt>
                <c:pt idx="252">
                  <c:v>6.1204787999999999</c:v>
                </c:pt>
                <c:pt idx="253">
                  <c:v>6.6250679000000003</c:v>
                </c:pt>
                <c:pt idx="254">
                  <c:v>6.2045769999999996</c:v>
                </c:pt>
                <c:pt idx="255">
                  <c:v>5.8401515000000002</c:v>
                </c:pt>
                <c:pt idx="256">
                  <c:v>5.4757261000000002</c:v>
                </c:pt>
                <c:pt idx="257">
                  <c:v>4.8683503000000004</c:v>
                </c:pt>
                <c:pt idx="258">
                  <c:v>4.6254</c:v>
                </c:pt>
                <c:pt idx="259">
                  <c:v>4.4572035999999997</c:v>
                </c:pt>
                <c:pt idx="260">
                  <c:v>4.5786787999999996</c:v>
                </c:pt>
                <c:pt idx="261">
                  <c:v>4.1114667000000003</c:v>
                </c:pt>
                <c:pt idx="262">
                  <c:v>3.7844182000000002</c:v>
                </c:pt>
                <c:pt idx="263">
                  <c:v>3.4947466999999999</c:v>
                </c:pt>
                <c:pt idx="264">
                  <c:v>3.1209769999999999</c:v>
                </c:pt>
                <c:pt idx="265">
                  <c:v>2.9247478999999998</c:v>
                </c:pt>
                <c:pt idx="266">
                  <c:v>2.7285187999999998</c:v>
                </c:pt>
                <c:pt idx="267">
                  <c:v>2.8313054000000002</c:v>
                </c:pt>
                <c:pt idx="268">
                  <c:v>2.6537647999999998</c:v>
                </c:pt>
                <c:pt idx="269">
                  <c:v>2.3827818000000001</c:v>
                </c:pt>
                <c:pt idx="270">
                  <c:v>2.1024544999999999</c:v>
                </c:pt>
                <c:pt idx="271">
                  <c:v>1.9529466</c:v>
                </c:pt>
                <c:pt idx="272">
                  <c:v>1.7567174999999999</c:v>
                </c:pt>
                <c:pt idx="273">
                  <c:v>1.6352424000000001</c:v>
                </c:pt>
                <c:pt idx="274">
                  <c:v>1.7847503</c:v>
                </c:pt>
                <c:pt idx="275">
                  <c:v>1.6445866</c:v>
                </c:pt>
                <c:pt idx="276">
                  <c:v>1.3922920999999999</c:v>
                </c:pt>
                <c:pt idx="277">
                  <c:v>1.1867188</c:v>
                </c:pt>
                <c:pt idx="278">
                  <c:v>1.1586860000000001</c:v>
                </c:pt>
                <c:pt idx="279">
                  <c:v>1.0185223999999999</c:v>
                </c:pt>
                <c:pt idx="280">
                  <c:v>0.97180120000000003</c:v>
                </c:pt>
                <c:pt idx="281">
                  <c:v>1.0091781</c:v>
                </c:pt>
                <c:pt idx="282">
                  <c:v>0.80360480000000001</c:v>
                </c:pt>
                <c:pt idx="283">
                  <c:v>0.72885089999999997</c:v>
                </c:pt>
                <c:pt idx="284">
                  <c:v>0.71016239999999997</c:v>
                </c:pt>
                <c:pt idx="285">
                  <c:v>0.63540839999999998</c:v>
                </c:pt>
                <c:pt idx="286">
                  <c:v>0.55131030000000003</c:v>
                </c:pt>
                <c:pt idx="287">
                  <c:v>0.49524479999999999</c:v>
                </c:pt>
                <c:pt idx="288">
                  <c:v>0.52327749999999995</c:v>
                </c:pt>
                <c:pt idx="289">
                  <c:v>0.47655629999999999</c:v>
                </c:pt>
                <c:pt idx="290">
                  <c:v>0.54196599999999995</c:v>
                </c:pt>
                <c:pt idx="291">
                  <c:v>0.50458899999999995</c:v>
                </c:pt>
                <c:pt idx="292">
                  <c:v>0.47655629999999999</c:v>
                </c:pt>
                <c:pt idx="293">
                  <c:v>0.42983510000000003</c:v>
                </c:pt>
                <c:pt idx="294">
                  <c:v>0.4018024</c:v>
                </c:pt>
                <c:pt idx="295">
                  <c:v>0.42983510000000003</c:v>
                </c:pt>
                <c:pt idx="296">
                  <c:v>0.39245809999999998</c:v>
                </c:pt>
                <c:pt idx="297">
                  <c:v>0.39245809999999998</c:v>
                </c:pt>
                <c:pt idx="298">
                  <c:v>0.27098299999999997</c:v>
                </c:pt>
                <c:pt idx="299">
                  <c:v>0.23360600000000001</c:v>
                </c:pt>
                <c:pt idx="300">
                  <c:v>0.20557329999999999</c:v>
                </c:pt>
                <c:pt idx="301">
                  <c:v>0.19622899999999999</c:v>
                </c:pt>
                <c:pt idx="302">
                  <c:v>0.23360600000000001</c:v>
                </c:pt>
                <c:pt idx="303">
                  <c:v>0.20557329999999999</c:v>
                </c:pt>
                <c:pt idx="304">
                  <c:v>0.21491750000000001</c:v>
                </c:pt>
                <c:pt idx="305">
                  <c:v>0.17754059999999999</c:v>
                </c:pt>
                <c:pt idx="306">
                  <c:v>0.18688479999999999</c:v>
                </c:pt>
                <c:pt idx="307">
                  <c:v>0.17754059999999999</c:v>
                </c:pt>
                <c:pt idx="308">
                  <c:v>0.16819629999999999</c:v>
                </c:pt>
                <c:pt idx="309">
                  <c:v>0.17754059999999999</c:v>
                </c:pt>
                <c:pt idx="310">
                  <c:v>0.1308193</c:v>
                </c:pt>
                <c:pt idx="311">
                  <c:v>0.16819629999999999</c:v>
                </c:pt>
                <c:pt idx="312">
                  <c:v>0.1495078</c:v>
                </c:pt>
                <c:pt idx="313">
                  <c:v>0.1588521</c:v>
                </c:pt>
                <c:pt idx="314">
                  <c:v>0.17754059999999999</c:v>
                </c:pt>
                <c:pt idx="315">
                  <c:v>0.19622899999999999</c:v>
                </c:pt>
                <c:pt idx="316">
                  <c:v>0.21491750000000001</c:v>
                </c:pt>
                <c:pt idx="317">
                  <c:v>0.21491750000000001</c:v>
                </c:pt>
                <c:pt idx="318">
                  <c:v>0.2616387</c:v>
                </c:pt>
                <c:pt idx="319">
                  <c:v>0.24295030000000001</c:v>
                </c:pt>
                <c:pt idx="320">
                  <c:v>0.2616387</c:v>
                </c:pt>
                <c:pt idx="321">
                  <c:v>0.25229449999999998</c:v>
                </c:pt>
                <c:pt idx="322">
                  <c:v>0.23360600000000001</c:v>
                </c:pt>
                <c:pt idx="323">
                  <c:v>0.27098299999999997</c:v>
                </c:pt>
                <c:pt idx="324">
                  <c:v>0.27098299999999997</c:v>
                </c:pt>
                <c:pt idx="325">
                  <c:v>0.2990157</c:v>
                </c:pt>
                <c:pt idx="326">
                  <c:v>0.28967150000000003</c:v>
                </c:pt>
                <c:pt idx="327">
                  <c:v>0.31770419999999999</c:v>
                </c:pt>
                <c:pt idx="328">
                  <c:v>0.2990157</c:v>
                </c:pt>
                <c:pt idx="329">
                  <c:v>0.2990157</c:v>
                </c:pt>
                <c:pt idx="330">
                  <c:v>0.35508119999999999</c:v>
                </c:pt>
                <c:pt idx="331">
                  <c:v>0.33639269999999999</c:v>
                </c:pt>
                <c:pt idx="332">
                  <c:v>0.34573690000000001</c:v>
                </c:pt>
                <c:pt idx="333">
                  <c:v>0.34573690000000001</c:v>
                </c:pt>
                <c:pt idx="334">
                  <c:v>0.35508119999999999</c:v>
                </c:pt>
                <c:pt idx="335">
                  <c:v>0.33639269999999999</c:v>
                </c:pt>
                <c:pt idx="336">
                  <c:v>0.32704840000000002</c:v>
                </c:pt>
                <c:pt idx="337">
                  <c:v>0.38311390000000001</c:v>
                </c:pt>
                <c:pt idx="338">
                  <c:v>0.33639269999999999</c:v>
                </c:pt>
                <c:pt idx="339">
                  <c:v>0.32704840000000002</c:v>
                </c:pt>
                <c:pt idx="340">
                  <c:v>0.31770419999999999</c:v>
                </c:pt>
                <c:pt idx="341">
                  <c:v>0.31770419999999999</c:v>
                </c:pt>
                <c:pt idx="342">
                  <c:v>0.2990157</c:v>
                </c:pt>
                <c:pt idx="343">
                  <c:v>0.2803272</c:v>
                </c:pt>
                <c:pt idx="344">
                  <c:v>0.31770419999999999</c:v>
                </c:pt>
                <c:pt idx="345">
                  <c:v>0.2803272</c:v>
                </c:pt>
                <c:pt idx="346">
                  <c:v>0.27098299999999997</c:v>
                </c:pt>
                <c:pt idx="347">
                  <c:v>0.2616387</c:v>
                </c:pt>
                <c:pt idx="348">
                  <c:v>0.2616387</c:v>
                </c:pt>
                <c:pt idx="349">
                  <c:v>0.25229449999999998</c:v>
                </c:pt>
                <c:pt idx="350">
                  <c:v>0.27098299999999997</c:v>
                </c:pt>
                <c:pt idx="351">
                  <c:v>0.31770419999999999</c:v>
                </c:pt>
                <c:pt idx="352">
                  <c:v>0.2990157</c:v>
                </c:pt>
                <c:pt idx="353">
                  <c:v>0.31770419999999999</c:v>
                </c:pt>
                <c:pt idx="354">
                  <c:v>0.30836000000000002</c:v>
                </c:pt>
                <c:pt idx="355">
                  <c:v>0.32704840000000002</c:v>
                </c:pt>
                <c:pt idx="356">
                  <c:v>0.32704840000000002</c:v>
                </c:pt>
                <c:pt idx="357">
                  <c:v>0.31770419999999999</c:v>
                </c:pt>
                <c:pt idx="358">
                  <c:v>0.31770419999999999</c:v>
                </c:pt>
                <c:pt idx="359">
                  <c:v>0.28967150000000003</c:v>
                </c:pt>
                <c:pt idx="360">
                  <c:v>0.28967150000000003</c:v>
                </c:pt>
                <c:pt idx="361">
                  <c:v>0.27098299999999997</c:v>
                </c:pt>
                <c:pt idx="362">
                  <c:v>0.28967150000000003</c:v>
                </c:pt>
                <c:pt idx="363">
                  <c:v>0.27098299999999997</c:v>
                </c:pt>
                <c:pt idx="364">
                  <c:v>0.2616387</c:v>
                </c:pt>
                <c:pt idx="365">
                  <c:v>0.27098299999999997</c:v>
                </c:pt>
                <c:pt idx="366">
                  <c:v>0.25229449999999998</c:v>
                </c:pt>
                <c:pt idx="367">
                  <c:v>0.2990157</c:v>
                </c:pt>
                <c:pt idx="368">
                  <c:v>0.31770419999999999</c:v>
                </c:pt>
                <c:pt idx="369">
                  <c:v>0.4018024</c:v>
                </c:pt>
                <c:pt idx="370">
                  <c:v>0.44852360000000002</c:v>
                </c:pt>
                <c:pt idx="371">
                  <c:v>0.46721210000000002</c:v>
                </c:pt>
                <c:pt idx="372">
                  <c:v>0.50458899999999995</c:v>
                </c:pt>
                <c:pt idx="373">
                  <c:v>0.57934300000000005</c:v>
                </c:pt>
                <c:pt idx="374">
                  <c:v>0.63540839999999998</c:v>
                </c:pt>
                <c:pt idx="375">
                  <c:v>0.69147389999999997</c:v>
                </c:pt>
                <c:pt idx="376">
                  <c:v>0.72885089999999997</c:v>
                </c:pt>
                <c:pt idx="377">
                  <c:v>0.67278539999999998</c:v>
                </c:pt>
                <c:pt idx="378">
                  <c:v>0.66344119999999995</c:v>
                </c:pt>
                <c:pt idx="379">
                  <c:v>0.81294909999999998</c:v>
                </c:pt>
                <c:pt idx="380">
                  <c:v>0.93442420000000004</c:v>
                </c:pt>
                <c:pt idx="381">
                  <c:v>0.95311270000000003</c:v>
                </c:pt>
                <c:pt idx="382">
                  <c:v>0.95311270000000003</c:v>
                </c:pt>
                <c:pt idx="383">
                  <c:v>1.0091781</c:v>
                </c:pt>
                <c:pt idx="384">
                  <c:v>0.96245689999999995</c:v>
                </c:pt>
                <c:pt idx="385">
                  <c:v>0.94376839999999995</c:v>
                </c:pt>
                <c:pt idx="386">
                  <c:v>1.1026206000000001</c:v>
                </c:pt>
                <c:pt idx="387">
                  <c:v>0.99048970000000003</c:v>
                </c:pt>
                <c:pt idx="388">
                  <c:v>0.87835870000000005</c:v>
                </c:pt>
                <c:pt idx="389">
                  <c:v>0.8596703</c:v>
                </c:pt>
                <c:pt idx="390">
                  <c:v>0.96245689999999995</c:v>
                </c:pt>
                <c:pt idx="391">
                  <c:v>0.85032600000000003</c:v>
                </c:pt>
                <c:pt idx="392">
                  <c:v>0.95311270000000003</c:v>
                </c:pt>
                <c:pt idx="393">
                  <c:v>1.1867188</c:v>
                </c:pt>
                <c:pt idx="394">
                  <c:v>1.0932763000000001</c:v>
                </c:pt>
                <c:pt idx="395">
                  <c:v>1.2427842</c:v>
                </c:pt>
                <c:pt idx="396">
                  <c:v>1.3922920999999999</c:v>
                </c:pt>
                <c:pt idx="397">
                  <c:v>1.4857345</c:v>
                </c:pt>
                <c:pt idx="398">
                  <c:v>1.4577017999999999</c:v>
                </c:pt>
                <c:pt idx="399">
                  <c:v>1.4763903</c:v>
                </c:pt>
                <c:pt idx="400">
                  <c:v>1.5698327000000001</c:v>
                </c:pt>
                <c:pt idx="401">
                  <c:v>1.6445866</c:v>
                </c:pt>
                <c:pt idx="402">
                  <c:v>1.9342581999999999</c:v>
                </c:pt>
                <c:pt idx="403">
                  <c:v>1.9809794000000001</c:v>
                </c:pt>
                <c:pt idx="404">
                  <c:v>2.0463890999999998</c:v>
                </c:pt>
                <c:pt idx="405">
                  <c:v>2.0183563000000002</c:v>
                </c:pt>
                <c:pt idx="406">
                  <c:v>2.0557333</c:v>
                </c:pt>
                <c:pt idx="407">
                  <c:v>2.5603224</c:v>
                </c:pt>
                <c:pt idx="408">
                  <c:v>2.7939284999999998</c:v>
                </c:pt>
                <c:pt idx="409">
                  <c:v>2.8499938999999999</c:v>
                </c:pt>
                <c:pt idx="410">
                  <c:v>2.8593381999999998</c:v>
                </c:pt>
                <c:pt idx="411">
                  <c:v>3.1490097000000001</c:v>
                </c:pt>
                <c:pt idx="412">
                  <c:v>3.2144194000000001</c:v>
                </c:pt>
                <c:pt idx="413">
                  <c:v>3.3826158</c:v>
                </c:pt>
                <c:pt idx="414">
                  <c:v>4.2235975999999997</c:v>
                </c:pt>
                <c:pt idx="415">
                  <c:v>4.6347443000000004</c:v>
                </c:pt>
                <c:pt idx="416">
                  <c:v>5.1299891000000004</c:v>
                </c:pt>
                <c:pt idx="417">
                  <c:v>5.5972011999999998</c:v>
                </c:pt>
                <c:pt idx="418">
                  <c:v>6.3260522000000003</c:v>
                </c:pt>
                <c:pt idx="419">
                  <c:v>6.3447405999999997</c:v>
                </c:pt>
                <c:pt idx="420">
                  <c:v>6.6250679000000003</c:v>
                </c:pt>
                <c:pt idx="421">
                  <c:v>8.0921140000000005</c:v>
                </c:pt>
                <c:pt idx="422">
                  <c:v>8.9798170000000006</c:v>
                </c:pt>
                <c:pt idx="423">
                  <c:v>9.6526025000000004</c:v>
                </c:pt>
                <c:pt idx="424">
                  <c:v>9.8114545999999994</c:v>
                </c:pt>
                <c:pt idx="425">
                  <c:v>10.8860425</c:v>
                </c:pt>
                <c:pt idx="426">
                  <c:v>11.0168619</c:v>
                </c:pt>
                <c:pt idx="427">
                  <c:v>11.764401299999999</c:v>
                </c:pt>
                <c:pt idx="428">
                  <c:v>14.3994777</c:v>
                </c:pt>
                <c:pt idx="429">
                  <c:v>15.343246199999999</c:v>
                </c:pt>
                <c:pt idx="430">
                  <c:v>16.3057032</c:v>
                </c:pt>
                <c:pt idx="431">
                  <c:v>17.0438984</c:v>
                </c:pt>
                <c:pt idx="432">
                  <c:v>18.454878999999998</c:v>
                </c:pt>
                <c:pt idx="433">
                  <c:v>18.025043799999999</c:v>
                </c:pt>
                <c:pt idx="434">
                  <c:v>18.333403799999999</c:v>
                </c:pt>
                <c:pt idx="435">
                  <c:v>21.117988100000002</c:v>
                </c:pt>
                <c:pt idx="436">
                  <c:v>21.594544500000001</c:v>
                </c:pt>
                <c:pt idx="437">
                  <c:v>22.697165099999999</c:v>
                </c:pt>
                <c:pt idx="438">
                  <c:v>22.8373287</c:v>
                </c:pt>
                <c:pt idx="439">
                  <c:v>23.5755239</c:v>
                </c:pt>
                <c:pt idx="440">
                  <c:v>23.6783106</c:v>
                </c:pt>
                <c:pt idx="441">
                  <c:v>24.238965100000001</c:v>
                </c:pt>
                <c:pt idx="442">
                  <c:v>27.986006400000001</c:v>
                </c:pt>
                <c:pt idx="443">
                  <c:v>28.995184600000002</c:v>
                </c:pt>
                <c:pt idx="444">
                  <c:v>28.144858500000002</c:v>
                </c:pt>
                <c:pt idx="445">
                  <c:v>28.584037899999998</c:v>
                </c:pt>
                <c:pt idx="446">
                  <c:v>30.8173119</c:v>
                </c:pt>
                <c:pt idx="447">
                  <c:v>30.705181</c:v>
                </c:pt>
                <c:pt idx="448">
                  <c:v>30.5369846</c:v>
                </c:pt>
                <c:pt idx="449">
                  <c:v>34.498943400000002</c:v>
                </c:pt>
                <c:pt idx="450">
                  <c:v>35.031565299999997</c:v>
                </c:pt>
                <c:pt idx="451">
                  <c:v>34.227960400000001</c:v>
                </c:pt>
                <c:pt idx="452">
                  <c:v>37.115331400000002</c:v>
                </c:pt>
                <c:pt idx="453">
                  <c:v>37.199429500000001</c:v>
                </c:pt>
                <c:pt idx="454">
                  <c:v>35.134351899999999</c:v>
                </c:pt>
                <c:pt idx="455">
                  <c:v>34.975499800000001</c:v>
                </c:pt>
                <c:pt idx="456">
                  <c:v>37.909592000000004</c:v>
                </c:pt>
                <c:pt idx="457">
                  <c:v>36.8910695</c:v>
                </c:pt>
                <c:pt idx="458">
                  <c:v>35.330581000000002</c:v>
                </c:pt>
                <c:pt idx="459">
                  <c:v>35.872547099999998</c:v>
                </c:pt>
                <c:pt idx="460">
                  <c:v>33.770092499999997</c:v>
                </c:pt>
                <c:pt idx="461">
                  <c:v>32.050751900000002</c:v>
                </c:pt>
                <c:pt idx="462">
                  <c:v>30.9668198</c:v>
                </c:pt>
                <c:pt idx="463">
                  <c:v>33.7420598</c:v>
                </c:pt>
                <c:pt idx="464">
                  <c:v>32.368456100000003</c:v>
                </c:pt>
                <c:pt idx="465">
                  <c:v>31.4527204</c:v>
                </c:pt>
                <c:pt idx="466">
                  <c:v>30.873377300000001</c:v>
                </c:pt>
                <c:pt idx="467">
                  <c:v>29.518462199999998</c:v>
                </c:pt>
                <c:pt idx="468">
                  <c:v>28.0233834</c:v>
                </c:pt>
                <c:pt idx="469">
                  <c:v>27.070270600000001</c:v>
                </c:pt>
                <c:pt idx="470">
                  <c:v>29.387642799999998</c:v>
                </c:pt>
                <c:pt idx="471">
                  <c:v>27.472073000000002</c:v>
                </c:pt>
                <c:pt idx="472">
                  <c:v>26.472239099999999</c:v>
                </c:pt>
                <c:pt idx="473">
                  <c:v>25.463060899999999</c:v>
                </c:pt>
                <c:pt idx="474">
                  <c:v>23.9866706</c:v>
                </c:pt>
                <c:pt idx="475">
                  <c:v>21.921593000000001</c:v>
                </c:pt>
                <c:pt idx="476">
                  <c:v>21.080611099999999</c:v>
                </c:pt>
                <c:pt idx="477">
                  <c:v>22.603722699999999</c:v>
                </c:pt>
                <c:pt idx="478">
                  <c:v>20.921759000000002</c:v>
                </c:pt>
                <c:pt idx="479">
                  <c:v>19.379958999999999</c:v>
                </c:pt>
                <c:pt idx="480">
                  <c:v>17.763404999999999</c:v>
                </c:pt>
                <c:pt idx="481">
                  <c:v>15.4366886</c:v>
                </c:pt>
                <c:pt idx="482">
                  <c:v>14.3527565</c:v>
                </c:pt>
                <c:pt idx="483">
                  <c:v>14.1378389</c:v>
                </c:pt>
                <c:pt idx="484">
                  <c:v>15.7917699</c:v>
                </c:pt>
                <c:pt idx="485">
                  <c:v>15.1563614</c:v>
                </c:pt>
                <c:pt idx="486">
                  <c:v>14.642428000000001</c:v>
                </c:pt>
                <c:pt idx="487">
                  <c:v>13.997675299999999</c:v>
                </c:pt>
                <c:pt idx="488">
                  <c:v>13.820134700000001</c:v>
                </c:pt>
                <c:pt idx="489">
                  <c:v>13.866855899999999</c:v>
                </c:pt>
                <c:pt idx="490">
                  <c:v>13.6612826</c:v>
                </c:pt>
                <c:pt idx="491">
                  <c:v>14.4648874</c:v>
                </c:pt>
                <c:pt idx="492">
                  <c:v>13.3342341</c:v>
                </c:pt>
                <c:pt idx="493">
                  <c:v>12.371777099999999</c:v>
                </c:pt>
                <c:pt idx="494">
                  <c:v>11.250468</c:v>
                </c:pt>
                <c:pt idx="495">
                  <c:v>10.7271904</c:v>
                </c:pt>
                <c:pt idx="496">
                  <c:v>10.306699500000001</c:v>
                </c:pt>
                <c:pt idx="497">
                  <c:v>10.1945686</c:v>
                </c:pt>
                <c:pt idx="498">
                  <c:v>10.437518900000001</c:v>
                </c:pt>
                <c:pt idx="499">
                  <c:v>9.5685043000000007</c:v>
                </c:pt>
                <c:pt idx="500">
                  <c:v>8.5873588999999999</c:v>
                </c:pt>
                <c:pt idx="501">
                  <c:v>7.7370327999999997</c:v>
                </c:pt>
                <c:pt idx="502">
                  <c:v>7.4006400000000001</c:v>
                </c:pt>
                <c:pt idx="503">
                  <c:v>6.8960509999999999</c:v>
                </c:pt>
                <c:pt idx="504">
                  <c:v>6.5596582000000003</c:v>
                </c:pt>
                <c:pt idx="505">
                  <c:v>7.4099842999999996</c:v>
                </c:pt>
                <c:pt idx="506">
                  <c:v>7.5314594000000001</c:v>
                </c:pt>
                <c:pt idx="507">
                  <c:v>7.9706387999999997</c:v>
                </c:pt>
                <c:pt idx="508">
                  <c:v>8.6901454999999999</c:v>
                </c:pt>
                <c:pt idx="509">
                  <c:v>9.5965369999999997</c:v>
                </c:pt>
                <c:pt idx="510">
                  <c:v>9.9048970999999995</c:v>
                </c:pt>
                <c:pt idx="511">
                  <c:v>10.540305500000001</c:v>
                </c:pt>
                <c:pt idx="512">
                  <c:v>12.8389892</c:v>
                </c:pt>
                <c:pt idx="513">
                  <c:v>13.9696426</c:v>
                </c:pt>
                <c:pt idx="514">
                  <c:v>15.810458300000001</c:v>
                </c:pt>
                <c:pt idx="515">
                  <c:v>16.754226800000001</c:v>
                </c:pt>
                <c:pt idx="516">
                  <c:v>18.258649900000002</c:v>
                </c:pt>
                <c:pt idx="517">
                  <c:v>18.127830500000002</c:v>
                </c:pt>
                <c:pt idx="518">
                  <c:v>19.529466899999999</c:v>
                </c:pt>
                <c:pt idx="519">
                  <c:v>22.6784766</c:v>
                </c:pt>
                <c:pt idx="520">
                  <c:v>24.687488800000001</c:v>
                </c:pt>
                <c:pt idx="521">
                  <c:v>26.145190599999999</c:v>
                </c:pt>
                <c:pt idx="522">
                  <c:v>26.817976099999999</c:v>
                </c:pt>
                <c:pt idx="523">
                  <c:v>27.864531199999998</c:v>
                </c:pt>
                <c:pt idx="524">
                  <c:v>27.528138500000001</c:v>
                </c:pt>
                <c:pt idx="525">
                  <c:v>28.200924000000001</c:v>
                </c:pt>
                <c:pt idx="526">
                  <c:v>31.630261000000001</c:v>
                </c:pt>
                <c:pt idx="527">
                  <c:v>32.004030700000001</c:v>
                </c:pt>
                <c:pt idx="528">
                  <c:v>32.125505799999999</c:v>
                </c:pt>
                <c:pt idx="529">
                  <c:v>31.985342200000002</c:v>
                </c:pt>
                <c:pt idx="530">
                  <c:v>32.060096100000003</c:v>
                </c:pt>
                <c:pt idx="531">
                  <c:v>30.7332137</c:v>
                </c:pt>
                <c:pt idx="532">
                  <c:v>30.069772499999999</c:v>
                </c:pt>
                <c:pt idx="533">
                  <c:v>33.433699799999999</c:v>
                </c:pt>
                <c:pt idx="534">
                  <c:v>32.060096100000003</c:v>
                </c:pt>
                <c:pt idx="535">
                  <c:v>31.4527204</c:v>
                </c:pt>
                <c:pt idx="536">
                  <c:v>30.0791167</c:v>
                </c:pt>
                <c:pt idx="537">
                  <c:v>28.817644000000001</c:v>
                </c:pt>
                <c:pt idx="538">
                  <c:v>26.808631800000001</c:v>
                </c:pt>
                <c:pt idx="539">
                  <c:v>26.4348621</c:v>
                </c:pt>
                <c:pt idx="540">
                  <c:v>28.714857299999998</c:v>
                </c:pt>
                <c:pt idx="541">
                  <c:v>26.528304500000001</c:v>
                </c:pt>
                <c:pt idx="542">
                  <c:v>24.9304391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HOSP_do_3_dne_7dni_shift3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2.7777E-2</c:v>
                </c:pt>
                <c:pt idx="1">
                  <c:v>0.15584400000000001</c:v>
                </c:pt>
                <c:pt idx="2">
                  <c:v>0.19512099999999999</c:v>
                </c:pt>
                <c:pt idx="3">
                  <c:v>0.34146300000000002</c:v>
                </c:pt>
                <c:pt idx="4">
                  <c:v>0.430232</c:v>
                </c:pt>
                <c:pt idx="5">
                  <c:v>0.75342399999999998</c:v>
                </c:pt>
                <c:pt idx="6">
                  <c:v>0.77027000000000001</c:v>
                </c:pt>
                <c:pt idx="7">
                  <c:v>0.48314600000000002</c:v>
                </c:pt>
                <c:pt idx="8">
                  <c:v>0.64285700000000001</c:v>
                </c:pt>
                <c:pt idx="9">
                  <c:v>0.53636300000000003</c:v>
                </c:pt>
                <c:pt idx="10">
                  <c:v>0.43902400000000003</c:v>
                </c:pt>
                <c:pt idx="11">
                  <c:v>0.4375</c:v>
                </c:pt>
                <c:pt idx="12">
                  <c:v>0.45038099999999998</c:v>
                </c:pt>
                <c:pt idx="13">
                  <c:v>0.52272700000000005</c:v>
                </c:pt>
                <c:pt idx="14">
                  <c:v>0.29813600000000001</c:v>
                </c:pt>
                <c:pt idx="15">
                  <c:v>0.396449</c:v>
                </c:pt>
                <c:pt idx="16">
                  <c:v>0.58191999999999999</c:v>
                </c:pt>
                <c:pt idx="17">
                  <c:v>0.72826000000000002</c:v>
                </c:pt>
                <c:pt idx="18">
                  <c:v>1.0631569999999999</c:v>
                </c:pt>
                <c:pt idx="19">
                  <c:v>1.0497510000000001</c:v>
                </c:pt>
                <c:pt idx="20">
                  <c:v>1.0430619999999999</c:v>
                </c:pt>
                <c:pt idx="21">
                  <c:v>0.86440600000000001</c:v>
                </c:pt>
                <c:pt idx="22">
                  <c:v>0.68571400000000005</c:v>
                </c:pt>
                <c:pt idx="23">
                  <c:v>0.64465399999999995</c:v>
                </c:pt>
                <c:pt idx="24">
                  <c:v>0.35459099999999999</c:v>
                </c:pt>
                <c:pt idx="25">
                  <c:v>0.43931999999999999</c:v>
                </c:pt>
                <c:pt idx="26">
                  <c:v>0.39344200000000001</c:v>
                </c:pt>
                <c:pt idx="27">
                  <c:v>0.393181</c:v>
                </c:pt>
                <c:pt idx="28">
                  <c:v>0.349576</c:v>
                </c:pt>
                <c:pt idx="29">
                  <c:v>0.326959</c:v>
                </c:pt>
                <c:pt idx="30">
                  <c:v>0.45385999999999999</c:v>
                </c:pt>
                <c:pt idx="31">
                  <c:v>0.40809400000000001</c:v>
                </c:pt>
                <c:pt idx="32">
                  <c:v>0.53277300000000005</c:v>
                </c:pt>
                <c:pt idx="33">
                  <c:v>0.57096199999999997</c:v>
                </c:pt>
                <c:pt idx="34">
                  <c:v>0.51648300000000003</c:v>
                </c:pt>
                <c:pt idx="35">
                  <c:v>0.47118100000000002</c:v>
                </c:pt>
                <c:pt idx="36">
                  <c:v>0.54274599999999995</c:v>
                </c:pt>
                <c:pt idx="37">
                  <c:v>0.583233</c:v>
                </c:pt>
                <c:pt idx="38">
                  <c:v>0.620614</c:v>
                </c:pt>
                <c:pt idx="39">
                  <c:v>0.66458899999999999</c:v>
                </c:pt>
                <c:pt idx="40">
                  <c:v>0.81987500000000002</c:v>
                </c:pt>
                <c:pt idx="41">
                  <c:v>0.76199799999999995</c:v>
                </c:pt>
                <c:pt idx="42">
                  <c:v>0.60789199999999999</c:v>
                </c:pt>
                <c:pt idx="43">
                  <c:v>0.60136100000000003</c:v>
                </c:pt>
                <c:pt idx="44">
                  <c:v>0.53653499999999998</c:v>
                </c:pt>
                <c:pt idx="45">
                  <c:v>0.51715500000000003</c:v>
                </c:pt>
                <c:pt idx="46">
                  <c:v>0.44141000000000002</c:v>
                </c:pt>
                <c:pt idx="47">
                  <c:v>0.49416300000000002</c:v>
                </c:pt>
                <c:pt idx="48">
                  <c:v>0.44073099999999998</c:v>
                </c:pt>
                <c:pt idx="49">
                  <c:v>0.370807</c:v>
                </c:pt>
                <c:pt idx="50">
                  <c:v>0.43901299999999999</c:v>
                </c:pt>
                <c:pt idx="51">
                  <c:v>0.43914399999999998</c:v>
                </c:pt>
                <c:pt idx="52">
                  <c:v>0.51341700000000001</c:v>
                </c:pt>
                <c:pt idx="53">
                  <c:v>0.51115999999999995</c:v>
                </c:pt>
                <c:pt idx="54">
                  <c:v>0.55889800000000001</c:v>
                </c:pt>
                <c:pt idx="55">
                  <c:v>0.52963400000000005</c:v>
                </c:pt>
                <c:pt idx="56">
                  <c:v>0.38555600000000001</c:v>
                </c:pt>
                <c:pt idx="57">
                  <c:v>0.41057100000000002</c:v>
                </c:pt>
                <c:pt idx="58">
                  <c:v>0.33194200000000001</c:v>
                </c:pt>
                <c:pt idx="59">
                  <c:v>0.26464700000000002</c:v>
                </c:pt>
                <c:pt idx="60">
                  <c:v>0.19181500000000001</c:v>
                </c:pt>
                <c:pt idx="61">
                  <c:v>0.176616</c:v>
                </c:pt>
                <c:pt idx="62">
                  <c:v>0.12698699999999999</c:v>
                </c:pt>
                <c:pt idx="63">
                  <c:v>-6.4809999999999998E-3</c:v>
                </c:pt>
                <c:pt idx="64">
                  <c:v>1.1354E-2</c:v>
                </c:pt>
                <c:pt idx="65">
                  <c:v>1.1095000000000001E-2</c:v>
                </c:pt>
                <c:pt idx="66">
                  <c:v>-3.5109999999999998E-3</c:v>
                </c:pt>
                <c:pt idx="67">
                  <c:v>-9.3810000000000004E-3</c:v>
                </c:pt>
                <c:pt idx="68">
                  <c:v>-2.0771999999999999E-2</c:v>
                </c:pt>
                <c:pt idx="69">
                  <c:v>-4.7705999999999998E-2</c:v>
                </c:pt>
                <c:pt idx="70">
                  <c:v>-0.14188899999999999</c:v>
                </c:pt>
                <c:pt idx="71">
                  <c:v>-0.12341100000000001</c:v>
                </c:pt>
                <c:pt idx="72">
                  <c:v>-0.14291300000000001</c:v>
                </c:pt>
                <c:pt idx="73">
                  <c:v>-0.19308</c:v>
                </c:pt>
                <c:pt idx="74">
                  <c:v>-0.20192099999999999</c:v>
                </c:pt>
                <c:pt idx="75">
                  <c:v>-0.186469</c:v>
                </c:pt>
                <c:pt idx="76">
                  <c:v>-0.20415</c:v>
                </c:pt>
                <c:pt idx="77">
                  <c:v>-0.27388499999999999</c:v>
                </c:pt>
                <c:pt idx="78">
                  <c:v>-0.191411</c:v>
                </c:pt>
                <c:pt idx="79">
                  <c:v>-0.20455000000000001</c:v>
                </c:pt>
                <c:pt idx="80">
                  <c:v>-0.206369</c:v>
                </c:pt>
                <c:pt idx="81">
                  <c:v>-0.220526</c:v>
                </c:pt>
                <c:pt idx="82">
                  <c:v>-0.21315100000000001</c:v>
                </c:pt>
                <c:pt idx="83">
                  <c:v>-0.24137900000000001</c:v>
                </c:pt>
                <c:pt idx="84">
                  <c:v>-0.32288099999999997</c:v>
                </c:pt>
                <c:pt idx="85">
                  <c:v>-0.214393</c:v>
                </c:pt>
                <c:pt idx="86">
                  <c:v>-0.19336400000000001</c:v>
                </c:pt>
                <c:pt idx="87">
                  <c:v>-0.115124</c:v>
                </c:pt>
                <c:pt idx="88">
                  <c:v>-8.9337E-2</c:v>
                </c:pt>
                <c:pt idx="89">
                  <c:v>-4.1068E-2</c:v>
                </c:pt>
                <c:pt idx="90">
                  <c:v>-5.4650999999999998E-2</c:v>
                </c:pt>
                <c:pt idx="91">
                  <c:v>-0.15254799999999999</c:v>
                </c:pt>
                <c:pt idx="92">
                  <c:v>-5.4445E-2</c:v>
                </c:pt>
                <c:pt idx="93">
                  <c:v>-8.1266000000000005E-2</c:v>
                </c:pt>
                <c:pt idx="94">
                  <c:v>-0.10047399999999999</c:v>
                </c:pt>
                <c:pt idx="95">
                  <c:v>-7.1100999999999998E-2</c:v>
                </c:pt>
                <c:pt idx="96">
                  <c:v>-2.6478000000000002E-2</c:v>
                </c:pt>
                <c:pt idx="97">
                  <c:v>-1.2211E-2</c:v>
                </c:pt>
                <c:pt idx="98">
                  <c:v>-0.10231899999999999</c:v>
                </c:pt>
                <c:pt idx="99">
                  <c:v>2.9060000000000002E-3</c:v>
                </c:pt>
                <c:pt idx="100">
                  <c:v>7.4317999999999995E-2</c:v>
                </c:pt>
                <c:pt idx="101">
                  <c:v>0.109668</c:v>
                </c:pt>
                <c:pt idx="102">
                  <c:v>0.13780500000000001</c:v>
                </c:pt>
                <c:pt idx="103">
                  <c:v>0.135989</c:v>
                </c:pt>
                <c:pt idx="104">
                  <c:v>0.106598</c:v>
                </c:pt>
                <c:pt idx="105">
                  <c:v>-3.6024E-2</c:v>
                </c:pt>
                <c:pt idx="106">
                  <c:v>9.4964999999999994E-2</c:v>
                </c:pt>
                <c:pt idx="107">
                  <c:v>7.8659999999999994E-2</c:v>
                </c:pt>
                <c:pt idx="108">
                  <c:v>7.0119000000000001E-2</c:v>
                </c:pt>
                <c:pt idx="109">
                  <c:v>5.7234E-2</c:v>
                </c:pt>
                <c:pt idx="110">
                  <c:v>9.4244999999999995E-2</c:v>
                </c:pt>
                <c:pt idx="111">
                  <c:v>9.9655999999999995E-2</c:v>
                </c:pt>
                <c:pt idx="112">
                  <c:v>-3.9626000000000001E-2</c:v>
                </c:pt>
                <c:pt idx="113">
                  <c:v>6.3949000000000006E-2</c:v>
                </c:pt>
                <c:pt idx="114">
                  <c:v>3.2016999999999997E-2</c:v>
                </c:pt>
                <c:pt idx="115">
                  <c:v>6.1379999999999997E-2</c:v>
                </c:pt>
                <c:pt idx="116">
                  <c:v>-1.9054000000000001E-2</c:v>
                </c:pt>
                <c:pt idx="117">
                  <c:v>-2.9295999999999999E-2</c:v>
                </c:pt>
                <c:pt idx="118">
                  <c:v>-3.5811000000000003E-2</c:v>
                </c:pt>
                <c:pt idx="119">
                  <c:v>-7.4515999999999999E-2</c:v>
                </c:pt>
                <c:pt idx="120">
                  <c:v>0.109307</c:v>
                </c:pt>
                <c:pt idx="121">
                  <c:v>0.18282999999999999</c:v>
                </c:pt>
                <c:pt idx="122">
                  <c:v>0.36596699999999999</c:v>
                </c:pt>
                <c:pt idx="123">
                  <c:v>0.45472800000000002</c:v>
                </c:pt>
                <c:pt idx="124">
                  <c:v>0.50020100000000001</c:v>
                </c:pt>
                <c:pt idx="125">
                  <c:v>0.49449199999999999</c:v>
                </c:pt>
                <c:pt idx="126">
                  <c:v>0.30991800000000003</c:v>
                </c:pt>
                <c:pt idx="127">
                  <c:v>0.30671100000000001</c:v>
                </c:pt>
                <c:pt idx="128">
                  <c:v>0.26222899999999999</c:v>
                </c:pt>
                <c:pt idx="129">
                  <c:v>0.220746</c:v>
                </c:pt>
                <c:pt idx="130">
                  <c:v>0.164155</c:v>
                </c:pt>
                <c:pt idx="131">
                  <c:v>9.4789999999999999E-2</c:v>
                </c:pt>
                <c:pt idx="132">
                  <c:v>9.5828999999999998E-2</c:v>
                </c:pt>
                <c:pt idx="133">
                  <c:v>-2.0915E-2</c:v>
                </c:pt>
                <c:pt idx="134">
                  <c:v>-2.6588000000000001E-2</c:v>
                </c:pt>
                <c:pt idx="135">
                  <c:v>-4.5773000000000001E-2</c:v>
                </c:pt>
                <c:pt idx="136">
                  <c:v>-0.10564</c:v>
                </c:pt>
                <c:pt idx="137">
                  <c:v>-0.16945199999999999</c:v>
                </c:pt>
                <c:pt idx="138">
                  <c:v>-0.22994999999999999</c:v>
                </c:pt>
                <c:pt idx="139">
                  <c:v>-0.25326300000000002</c:v>
                </c:pt>
                <c:pt idx="140">
                  <c:v>-0.31712899999999999</c:v>
                </c:pt>
                <c:pt idx="141">
                  <c:v>-0.25457099999999999</c:v>
                </c:pt>
                <c:pt idx="142">
                  <c:v>-0.212974</c:v>
                </c:pt>
                <c:pt idx="143">
                  <c:v>-0.18753400000000001</c:v>
                </c:pt>
                <c:pt idx="144">
                  <c:v>-0.16534199999999999</c:v>
                </c:pt>
                <c:pt idx="145">
                  <c:v>-9.6629999999999994E-2</c:v>
                </c:pt>
                <c:pt idx="146">
                  <c:v>-8.4405999999999995E-2</c:v>
                </c:pt>
                <c:pt idx="147">
                  <c:v>-0.152277</c:v>
                </c:pt>
                <c:pt idx="148">
                  <c:v>-6.3053999999999999E-2</c:v>
                </c:pt>
                <c:pt idx="149">
                  <c:v>-3.7838999999999998E-2</c:v>
                </c:pt>
                <c:pt idx="150">
                  <c:v>-3.8773000000000002E-2</c:v>
                </c:pt>
                <c:pt idx="151">
                  <c:v>-5.0667999999999998E-2</c:v>
                </c:pt>
                <c:pt idx="152">
                  <c:v>-1.7399999999999999E-2</c:v>
                </c:pt>
                <c:pt idx="153">
                  <c:v>-6.1254999999999997E-2</c:v>
                </c:pt>
                <c:pt idx="154">
                  <c:v>-0.134244</c:v>
                </c:pt>
                <c:pt idx="155">
                  <c:v>-1.2154999999999999E-2</c:v>
                </c:pt>
                <c:pt idx="156">
                  <c:v>2.2367999999999999E-2</c:v>
                </c:pt>
                <c:pt idx="157">
                  <c:v>1.7049000000000002E-2</c:v>
                </c:pt>
                <c:pt idx="158">
                  <c:v>2.6752000000000001E-2</c:v>
                </c:pt>
                <c:pt idx="159">
                  <c:v>8.9671000000000001E-2</c:v>
                </c:pt>
                <c:pt idx="160">
                  <c:v>6.2348000000000001E-2</c:v>
                </c:pt>
                <c:pt idx="161">
                  <c:v>-4.5240000000000002E-2</c:v>
                </c:pt>
                <c:pt idx="162">
                  <c:v>7.5319999999999996E-3</c:v>
                </c:pt>
                <c:pt idx="163">
                  <c:v>9.11E-3</c:v>
                </c:pt>
                <c:pt idx="164">
                  <c:v>5.5040000000000002E-3</c:v>
                </c:pt>
                <c:pt idx="165">
                  <c:v>6.6119999999999998E-3</c:v>
                </c:pt>
                <c:pt idx="166">
                  <c:v>3.2773999999999998E-2</c:v>
                </c:pt>
                <c:pt idx="167">
                  <c:v>-1.8953000000000001E-2</c:v>
                </c:pt>
                <c:pt idx="168">
                  <c:v>-8.3658999999999997E-2</c:v>
                </c:pt>
                <c:pt idx="169">
                  <c:v>3.7197000000000001E-2</c:v>
                </c:pt>
                <c:pt idx="170">
                  <c:v>0.115693</c:v>
                </c:pt>
                <c:pt idx="171">
                  <c:v>0.114963</c:v>
                </c:pt>
                <c:pt idx="172">
                  <c:v>0.14427999999999999</c:v>
                </c:pt>
                <c:pt idx="173">
                  <c:v>0.235316</c:v>
                </c:pt>
                <c:pt idx="174">
                  <c:v>0.233488</c:v>
                </c:pt>
                <c:pt idx="175">
                  <c:v>0.118384</c:v>
                </c:pt>
                <c:pt idx="176">
                  <c:v>0.17271800000000001</c:v>
                </c:pt>
                <c:pt idx="177">
                  <c:v>0.192798</c:v>
                </c:pt>
                <c:pt idx="178">
                  <c:v>0.16542999999999999</c:v>
                </c:pt>
                <c:pt idx="179">
                  <c:v>0.16734399999999999</c:v>
                </c:pt>
                <c:pt idx="180">
                  <c:v>0.19275500000000001</c:v>
                </c:pt>
                <c:pt idx="181">
                  <c:v>0.13947599999999999</c:v>
                </c:pt>
                <c:pt idx="182">
                  <c:v>1.1157E-2</c:v>
                </c:pt>
                <c:pt idx="183">
                  <c:v>0.106201</c:v>
                </c:pt>
                <c:pt idx="184">
                  <c:v>0.12755900000000001</c:v>
                </c:pt>
                <c:pt idx="185">
                  <c:v>7.8778000000000001E-2</c:v>
                </c:pt>
                <c:pt idx="186">
                  <c:v>4.8058999999999998E-2</c:v>
                </c:pt>
                <c:pt idx="187">
                  <c:v>4.836E-2</c:v>
                </c:pt>
                <c:pt idx="188">
                  <c:v>2.6481999999999999E-2</c:v>
                </c:pt>
                <c:pt idx="189">
                  <c:v>-8.4594000000000003E-2</c:v>
                </c:pt>
                <c:pt idx="190">
                  <c:v>-2.6748000000000001E-2</c:v>
                </c:pt>
                <c:pt idx="191">
                  <c:v>-5.7873000000000001E-2</c:v>
                </c:pt>
                <c:pt idx="192">
                  <c:v>-8.0876000000000003E-2</c:v>
                </c:pt>
                <c:pt idx="193">
                  <c:v>-7.5840000000000005E-2</c:v>
                </c:pt>
                <c:pt idx="194">
                  <c:v>-7.5240000000000003E-3</c:v>
                </c:pt>
                <c:pt idx="195">
                  <c:v>-3.3333000000000002E-2</c:v>
                </c:pt>
                <c:pt idx="196">
                  <c:v>-0.13136600000000001</c:v>
                </c:pt>
                <c:pt idx="197">
                  <c:v>-1.9245000000000002E-2</c:v>
                </c:pt>
                <c:pt idx="198">
                  <c:v>1.1513000000000001E-2</c:v>
                </c:pt>
                <c:pt idx="199">
                  <c:v>4.3711E-2</c:v>
                </c:pt>
                <c:pt idx="200">
                  <c:v>-2.3827999999999998E-2</c:v>
                </c:pt>
                <c:pt idx="201">
                  <c:v>-5.6059999999999999E-3</c:v>
                </c:pt>
                <c:pt idx="202">
                  <c:v>-7.0537000000000002E-2</c:v>
                </c:pt>
                <c:pt idx="203">
                  <c:v>-0.17338700000000001</c:v>
                </c:pt>
                <c:pt idx="204">
                  <c:v>-0.103523</c:v>
                </c:pt>
                <c:pt idx="205">
                  <c:v>-0.135909</c:v>
                </c:pt>
                <c:pt idx="206">
                  <c:v>-0.15284300000000001</c:v>
                </c:pt>
                <c:pt idx="207">
                  <c:v>-0.17338500000000001</c:v>
                </c:pt>
                <c:pt idx="208">
                  <c:v>-9.5877000000000004E-2</c:v>
                </c:pt>
                <c:pt idx="209">
                  <c:v>-0.102113</c:v>
                </c:pt>
                <c:pt idx="210">
                  <c:v>-0.199818</c:v>
                </c:pt>
                <c:pt idx="211">
                  <c:v>-9.4434000000000004E-2</c:v>
                </c:pt>
                <c:pt idx="212">
                  <c:v>-8.6443999999999993E-2</c:v>
                </c:pt>
                <c:pt idx="213">
                  <c:v>-9.1745999999999994E-2</c:v>
                </c:pt>
                <c:pt idx="214">
                  <c:v>-0.106735</c:v>
                </c:pt>
                <c:pt idx="215">
                  <c:v>-0.137269</c:v>
                </c:pt>
                <c:pt idx="216">
                  <c:v>-0.16622500000000001</c:v>
                </c:pt>
                <c:pt idx="217">
                  <c:v>-0.25621500000000003</c:v>
                </c:pt>
                <c:pt idx="218">
                  <c:v>-0.217921</c:v>
                </c:pt>
                <c:pt idx="219">
                  <c:v>-0.20014999999999999</c:v>
                </c:pt>
                <c:pt idx="220">
                  <c:v>-0.197602</c:v>
                </c:pt>
                <c:pt idx="221">
                  <c:v>-0.17968000000000001</c:v>
                </c:pt>
                <c:pt idx="222">
                  <c:v>-0.147258</c:v>
                </c:pt>
                <c:pt idx="223">
                  <c:v>-0.14391799999999999</c:v>
                </c:pt>
                <c:pt idx="224">
                  <c:v>-0.18698400000000001</c:v>
                </c:pt>
                <c:pt idx="225">
                  <c:v>-0.14741699999999999</c:v>
                </c:pt>
                <c:pt idx="226">
                  <c:v>-0.108433</c:v>
                </c:pt>
                <c:pt idx="227">
                  <c:v>-0.131525</c:v>
                </c:pt>
                <c:pt idx="228">
                  <c:v>-0.17640800000000001</c:v>
                </c:pt>
                <c:pt idx="229">
                  <c:v>-0.187635</c:v>
                </c:pt>
                <c:pt idx="230">
                  <c:v>-0.224915</c:v>
                </c:pt>
                <c:pt idx="231">
                  <c:v>-0.27863399999999999</c:v>
                </c:pt>
                <c:pt idx="232">
                  <c:v>-0.242702</c:v>
                </c:pt>
                <c:pt idx="233">
                  <c:v>-0.192692</c:v>
                </c:pt>
                <c:pt idx="234">
                  <c:v>-0.14774100000000001</c:v>
                </c:pt>
                <c:pt idx="235">
                  <c:v>-0.17022599999999999</c:v>
                </c:pt>
                <c:pt idx="236">
                  <c:v>-0.14690900000000001</c:v>
                </c:pt>
                <c:pt idx="237">
                  <c:v>-0.17786199999999999</c:v>
                </c:pt>
                <c:pt idx="238">
                  <c:v>-0.26052799999999998</c:v>
                </c:pt>
                <c:pt idx="239">
                  <c:v>-0.18540100000000001</c:v>
                </c:pt>
                <c:pt idx="240">
                  <c:v>-0.19530600000000001</c:v>
                </c:pt>
                <c:pt idx="241">
                  <c:v>-0.197103</c:v>
                </c:pt>
                <c:pt idx="242">
                  <c:v>-0.19778299999999999</c:v>
                </c:pt>
                <c:pt idx="243">
                  <c:v>-0.158774</c:v>
                </c:pt>
                <c:pt idx="244">
                  <c:v>-0.14768300000000001</c:v>
                </c:pt>
                <c:pt idx="245">
                  <c:v>-0.215949</c:v>
                </c:pt>
                <c:pt idx="246">
                  <c:v>-0.114769</c:v>
                </c:pt>
                <c:pt idx="247">
                  <c:v>-0.116232</c:v>
                </c:pt>
                <c:pt idx="248">
                  <c:v>-0.11051999999999999</c:v>
                </c:pt>
                <c:pt idx="249">
                  <c:v>-9.9336999999999995E-2</c:v>
                </c:pt>
                <c:pt idx="250">
                  <c:v>-0.139297</c:v>
                </c:pt>
                <c:pt idx="251">
                  <c:v>-0.204571</c:v>
                </c:pt>
                <c:pt idx="252">
                  <c:v>-0.30393100000000001</c:v>
                </c:pt>
                <c:pt idx="253">
                  <c:v>-0.19614500000000001</c:v>
                </c:pt>
                <c:pt idx="254">
                  <c:v>-0.20669000000000001</c:v>
                </c:pt>
                <c:pt idx="255">
                  <c:v>-0.234068</c:v>
                </c:pt>
                <c:pt idx="256">
                  <c:v>-0.22894700000000001</c:v>
                </c:pt>
                <c:pt idx="257">
                  <c:v>-0.25143599999999999</c:v>
                </c:pt>
                <c:pt idx="258">
                  <c:v>-0.24427399999999999</c:v>
                </c:pt>
                <c:pt idx="259">
                  <c:v>-0.32722099999999998</c:v>
                </c:pt>
                <c:pt idx="260">
                  <c:v>-0.262048</c:v>
                </c:pt>
                <c:pt idx="261">
                  <c:v>-0.29599900000000001</c:v>
                </c:pt>
                <c:pt idx="262">
                  <c:v>-0.30887300000000001</c:v>
                </c:pt>
                <c:pt idx="263">
                  <c:v>-0.28214899999999998</c:v>
                </c:pt>
                <c:pt idx="264">
                  <c:v>-0.32525199999999999</c:v>
                </c:pt>
                <c:pt idx="265">
                  <c:v>-0.34381499999999998</c:v>
                </c:pt>
                <c:pt idx="266">
                  <c:v>-0.40408100000000002</c:v>
                </c:pt>
                <c:pt idx="267">
                  <c:v>-0.311363</c:v>
                </c:pt>
                <c:pt idx="268">
                  <c:v>-0.298765</c:v>
                </c:pt>
                <c:pt idx="269">
                  <c:v>-0.31818099999999999</c:v>
                </c:pt>
                <c:pt idx="270">
                  <c:v>-0.326347</c:v>
                </c:pt>
                <c:pt idx="271">
                  <c:v>-0.33226800000000001</c:v>
                </c:pt>
                <c:pt idx="272">
                  <c:v>-0.35616399999999998</c:v>
                </c:pt>
                <c:pt idx="273">
                  <c:v>-0.42244199999999998</c:v>
                </c:pt>
                <c:pt idx="274">
                  <c:v>-0.32746399999999998</c:v>
                </c:pt>
                <c:pt idx="275">
                  <c:v>-0.309803</c:v>
                </c:pt>
                <c:pt idx="276">
                  <c:v>-0.33777699999999999</c:v>
                </c:pt>
                <c:pt idx="277">
                  <c:v>-0.39234400000000003</c:v>
                </c:pt>
                <c:pt idx="278">
                  <c:v>-0.34042499999999998</c:v>
                </c:pt>
                <c:pt idx="279">
                  <c:v>-0.37714199999999998</c:v>
                </c:pt>
                <c:pt idx="280">
                  <c:v>-0.45549699999999999</c:v>
                </c:pt>
                <c:pt idx="281">
                  <c:v>-0.38636300000000001</c:v>
                </c:pt>
                <c:pt idx="282">
                  <c:v>-0.42281800000000003</c:v>
                </c:pt>
                <c:pt idx="283">
                  <c:v>-0.385826</c:v>
                </c:pt>
                <c:pt idx="284">
                  <c:v>-0.387096</c:v>
                </c:pt>
                <c:pt idx="285">
                  <c:v>-0.37614599999999998</c:v>
                </c:pt>
                <c:pt idx="286">
                  <c:v>-0.43269200000000002</c:v>
                </c:pt>
                <c:pt idx="287">
                  <c:v>-0.50925900000000002</c:v>
                </c:pt>
                <c:pt idx="288">
                  <c:v>-0.34883700000000001</c:v>
                </c:pt>
                <c:pt idx="289">
                  <c:v>-0.34615299999999999</c:v>
                </c:pt>
                <c:pt idx="290">
                  <c:v>-0.236842</c:v>
                </c:pt>
                <c:pt idx="291">
                  <c:v>-0.20588200000000001</c:v>
                </c:pt>
                <c:pt idx="292">
                  <c:v>-0.13559299999999999</c:v>
                </c:pt>
                <c:pt idx="293">
                  <c:v>-0.132075</c:v>
                </c:pt>
                <c:pt idx="294">
                  <c:v>-0.23214199999999999</c:v>
                </c:pt>
                <c:pt idx="295">
                  <c:v>-9.8039000000000001E-2</c:v>
                </c:pt>
                <c:pt idx="296">
                  <c:v>-0.275862</c:v>
                </c:pt>
                <c:pt idx="297">
                  <c:v>-0.222222</c:v>
                </c:pt>
                <c:pt idx="298">
                  <c:v>-0.43137199999999998</c:v>
                </c:pt>
                <c:pt idx="299">
                  <c:v>-0.45652100000000001</c:v>
                </c:pt>
                <c:pt idx="300">
                  <c:v>-0.48837199999999997</c:v>
                </c:pt>
                <c:pt idx="301">
                  <c:v>-0.54347800000000002</c:v>
                </c:pt>
                <c:pt idx="302">
                  <c:v>-0.40476099999999998</c:v>
                </c:pt>
                <c:pt idx="303">
                  <c:v>-0.47619</c:v>
                </c:pt>
                <c:pt idx="304">
                  <c:v>-0.206896</c:v>
                </c:pt>
                <c:pt idx="305">
                  <c:v>-0.23999899999999999</c:v>
                </c:pt>
                <c:pt idx="306">
                  <c:v>-9.0909000000000004E-2</c:v>
                </c:pt>
                <c:pt idx="307">
                  <c:v>-9.5237000000000002E-2</c:v>
                </c:pt>
                <c:pt idx="308">
                  <c:v>-0.28000000000000003</c:v>
                </c:pt>
                <c:pt idx="309">
                  <c:v>-0.13636300000000001</c:v>
                </c:pt>
                <c:pt idx="310">
                  <c:v>-0.39130399999999999</c:v>
                </c:pt>
                <c:pt idx="311">
                  <c:v>-5.2630999999999997E-2</c:v>
                </c:pt>
                <c:pt idx="312">
                  <c:v>-0.2</c:v>
                </c:pt>
                <c:pt idx="313">
                  <c:v>-0.105263</c:v>
                </c:pt>
                <c:pt idx="314">
                  <c:v>5.5555E-2</c:v>
                </c:pt>
                <c:pt idx="315">
                  <c:v>0.10526199999999999</c:v>
                </c:pt>
                <c:pt idx="316">
                  <c:v>0.64285700000000001</c:v>
                </c:pt>
                <c:pt idx="317">
                  <c:v>0.277777</c:v>
                </c:pt>
                <c:pt idx="318">
                  <c:v>0.75</c:v>
                </c:pt>
                <c:pt idx="319">
                  <c:v>0.52941099999999996</c:v>
                </c:pt>
                <c:pt idx="320">
                  <c:v>0.47368300000000002</c:v>
                </c:pt>
                <c:pt idx="321">
                  <c:v>0.28571400000000002</c:v>
                </c:pt>
                <c:pt idx="322">
                  <c:v>8.6956000000000006E-2</c:v>
                </c:pt>
                <c:pt idx="323">
                  <c:v>0.26086900000000002</c:v>
                </c:pt>
                <c:pt idx="324">
                  <c:v>3.5714000000000003E-2</c:v>
                </c:pt>
                <c:pt idx="325">
                  <c:v>0.230769</c:v>
                </c:pt>
                <c:pt idx="326">
                  <c:v>0.107143</c:v>
                </c:pt>
                <c:pt idx="327">
                  <c:v>0.25925900000000002</c:v>
                </c:pt>
                <c:pt idx="328">
                  <c:v>0.28000000000000003</c:v>
                </c:pt>
                <c:pt idx="329">
                  <c:v>0.103448</c:v>
                </c:pt>
                <c:pt idx="330">
                  <c:v>0.31034400000000001</c:v>
                </c:pt>
                <c:pt idx="331">
                  <c:v>0.125</c:v>
                </c:pt>
                <c:pt idx="332">
                  <c:v>0.193548</c:v>
                </c:pt>
                <c:pt idx="333">
                  <c:v>8.8234999999999994E-2</c:v>
                </c:pt>
                <c:pt idx="334">
                  <c:v>0.1875</c:v>
                </c:pt>
                <c:pt idx="335">
                  <c:v>0.125</c:v>
                </c:pt>
                <c:pt idx="336">
                  <c:v>-7.8947000000000003E-2</c:v>
                </c:pt>
                <c:pt idx="337">
                  <c:v>0.13888800000000001</c:v>
                </c:pt>
                <c:pt idx="338">
                  <c:v>-2.7026000000000001E-2</c:v>
                </c:pt>
                <c:pt idx="339">
                  <c:v>-5.4053999999999998E-2</c:v>
                </c:pt>
                <c:pt idx="340">
                  <c:v>-0.105263</c:v>
                </c:pt>
                <c:pt idx="341">
                  <c:v>-5.5555E-2</c:v>
                </c:pt>
                <c:pt idx="342">
                  <c:v>-8.5713999999999999E-2</c:v>
                </c:pt>
                <c:pt idx="343">
                  <c:v>-0.26829199999999997</c:v>
                </c:pt>
                <c:pt idx="344">
                  <c:v>-5.5555E-2</c:v>
                </c:pt>
                <c:pt idx="345">
                  <c:v>-0.14285700000000001</c:v>
                </c:pt>
                <c:pt idx="346">
                  <c:v>-0.14705799999999999</c:v>
                </c:pt>
                <c:pt idx="347">
                  <c:v>-0.17646999999999999</c:v>
                </c:pt>
                <c:pt idx="348">
                  <c:v>-0.125</c:v>
                </c:pt>
                <c:pt idx="349">
                  <c:v>-9.9999000000000005E-2</c:v>
                </c:pt>
                <c:pt idx="350">
                  <c:v>-0.14705799999999999</c:v>
                </c:pt>
                <c:pt idx="351">
                  <c:v>0.13333300000000001</c:v>
                </c:pt>
                <c:pt idx="352">
                  <c:v>0.103448</c:v>
                </c:pt>
                <c:pt idx="353">
                  <c:v>0.214285</c:v>
                </c:pt>
                <c:pt idx="354">
                  <c:v>0.17857100000000001</c:v>
                </c:pt>
                <c:pt idx="355">
                  <c:v>0.296296</c:v>
                </c:pt>
                <c:pt idx="356">
                  <c:v>0.206896</c:v>
                </c:pt>
                <c:pt idx="357">
                  <c:v>0</c:v>
                </c:pt>
                <c:pt idx="358">
                  <c:v>6.25E-2</c:v>
                </c:pt>
                <c:pt idx="359">
                  <c:v>-8.8234999999999994E-2</c:v>
                </c:pt>
                <c:pt idx="360">
                  <c:v>-6.0606E-2</c:v>
                </c:pt>
                <c:pt idx="361">
                  <c:v>-0.171428</c:v>
                </c:pt>
                <c:pt idx="362">
                  <c:v>-0.114285</c:v>
                </c:pt>
                <c:pt idx="363">
                  <c:v>-0.14705799999999999</c:v>
                </c:pt>
                <c:pt idx="364">
                  <c:v>-0.17646999999999999</c:v>
                </c:pt>
                <c:pt idx="365">
                  <c:v>-6.4516000000000004E-2</c:v>
                </c:pt>
                <c:pt idx="366">
                  <c:v>-0.12903200000000001</c:v>
                </c:pt>
                <c:pt idx="367">
                  <c:v>0.103448</c:v>
                </c:pt>
                <c:pt idx="368">
                  <c:v>9.6773999999999999E-2</c:v>
                </c:pt>
                <c:pt idx="369">
                  <c:v>0.48275800000000002</c:v>
                </c:pt>
                <c:pt idx="370">
                  <c:v>0.71428599999999998</c:v>
                </c:pt>
                <c:pt idx="371">
                  <c:v>0.72413799999999995</c:v>
                </c:pt>
                <c:pt idx="372">
                  <c:v>1</c:v>
                </c:pt>
                <c:pt idx="373">
                  <c:v>0.9375</c:v>
                </c:pt>
                <c:pt idx="374">
                  <c:v>1</c:v>
                </c:pt>
                <c:pt idx="375">
                  <c:v>0.72092999999999996</c:v>
                </c:pt>
                <c:pt idx="376">
                  <c:v>0.625</c:v>
                </c:pt>
                <c:pt idx="377">
                  <c:v>0.43999899999999997</c:v>
                </c:pt>
                <c:pt idx="378">
                  <c:v>0.31481500000000001</c:v>
                </c:pt>
                <c:pt idx="379">
                  <c:v>0.403225</c:v>
                </c:pt>
                <c:pt idx="380">
                  <c:v>0.47058800000000001</c:v>
                </c:pt>
                <c:pt idx="381">
                  <c:v>0.37837799999999999</c:v>
                </c:pt>
                <c:pt idx="382">
                  <c:v>0.30769200000000002</c:v>
                </c:pt>
                <c:pt idx="383">
                  <c:v>0.5</c:v>
                </c:pt>
                <c:pt idx="384">
                  <c:v>0.45070399999999999</c:v>
                </c:pt>
                <c:pt idx="385">
                  <c:v>0.16091900000000001</c:v>
                </c:pt>
                <c:pt idx="386">
                  <c:v>0.18</c:v>
                </c:pt>
                <c:pt idx="387">
                  <c:v>3.9215E-2</c:v>
                </c:pt>
                <c:pt idx="388">
                  <c:v>-7.8431000000000001E-2</c:v>
                </c:pt>
                <c:pt idx="389">
                  <c:v>-0.148148</c:v>
                </c:pt>
                <c:pt idx="390">
                  <c:v>0</c:v>
                </c:pt>
                <c:pt idx="391">
                  <c:v>-9.9009E-2</c:v>
                </c:pt>
                <c:pt idx="392">
                  <c:v>-0.13559299999999999</c:v>
                </c:pt>
                <c:pt idx="393">
                  <c:v>0.19811300000000001</c:v>
                </c:pt>
                <c:pt idx="394">
                  <c:v>0.24468000000000001</c:v>
                </c:pt>
                <c:pt idx="395">
                  <c:v>0.44565199999999999</c:v>
                </c:pt>
                <c:pt idx="396">
                  <c:v>0.446602</c:v>
                </c:pt>
                <c:pt idx="397">
                  <c:v>0.74725200000000003</c:v>
                </c:pt>
                <c:pt idx="398">
                  <c:v>0.52941099999999996</c:v>
                </c:pt>
                <c:pt idx="399">
                  <c:v>0.24409400000000001</c:v>
                </c:pt>
                <c:pt idx="400">
                  <c:v>0.43589699999999998</c:v>
                </c:pt>
                <c:pt idx="401">
                  <c:v>0.32330799999999998</c:v>
                </c:pt>
                <c:pt idx="402">
                  <c:v>0.38926100000000002</c:v>
                </c:pt>
                <c:pt idx="403">
                  <c:v>0.33333299999999999</c:v>
                </c:pt>
                <c:pt idx="404">
                  <c:v>0.40384599999999998</c:v>
                </c:pt>
                <c:pt idx="405">
                  <c:v>0.36708800000000003</c:v>
                </c:pt>
                <c:pt idx="406">
                  <c:v>0.30952299999999999</c:v>
                </c:pt>
                <c:pt idx="407">
                  <c:v>0.55681800000000004</c:v>
                </c:pt>
                <c:pt idx="408">
                  <c:v>0.44444400000000001</c:v>
                </c:pt>
                <c:pt idx="409">
                  <c:v>0.43867899999999999</c:v>
                </c:pt>
                <c:pt idx="410">
                  <c:v>0.39726</c:v>
                </c:pt>
                <c:pt idx="411">
                  <c:v>0.56018500000000004</c:v>
                </c:pt>
                <c:pt idx="412">
                  <c:v>0.56363600000000003</c:v>
                </c:pt>
                <c:pt idx="413">
                  <c:v>0.32116699999999998</c:v>
                </c:pt>
                <c:pt idx="414">
                  <c:v>0.51170499999999997</c:v>
                </c:pt>
                <c:pt idx="415">
                  <c:v>0.62622900000000004</c:v>
                </c:pt>
                <c:pt idx="416">
                  <c:v>0.79411699999999996</c:v>
                </c:pt>
                <c:pt idx="417">
                  <c:v>0.77744800000000003</c:v>
                </c:pt>
                <c:pt idx="418">
                  <c:v>0.96802299999999997</c:v>
                </c:pt>
                <c:pt idx="419">
                  <c:v>0.87568999999999997</c:v>
                </c:pt>
                <c:pt idx="420">
                  <c:v>0.56858399999999998</c:v>
                </c:pt>
                <c:pt idx="421">
                  <c:v>0.74596700000000005</c:v>
                </c:pt>
                <c:pt idx="422">
                  <c:v>0.75045499999999998</c:v>
                </c:pt>
                <c:pt idx="423">
                  <c:v>0.72453999999999996</c:v>
                </c:pt>
                <c:pt idx="424">
                  <c:v>0.55096000000000001</c:v>
                </c:pt>
                <c:pt idx="425">
                  <c:v>0.71575800000000001</c:v>
                </c:pt>
                <c:pt idx="426">
                  <c:v>0.66290499999999997</c:v>
                </c:pt>
                <c:pt idx="427">
                  <c:v>0.45380999999999999</c:v>
                </c:pt>
                <c:pt idx="428">
                  <c:v>0.60353699999999999</c:v>
                </c:pt>
                <c:pt idx="429">
                  <c:v>0.58954499999999999</c:v>
                </c:pt>
                <c:pt idx="430">
                  <c:v>0.66190400000000005</c:v>
                </c:pt>
                <c:pt idx="431">
                  <c:v>0.56566499999999997</c:v>
                </c:pt>
                <c:pt idx="432">
                  <c:v>0.67514799999999997</c:v>
                </c:pt>
                <c:pt idx="433">
                  <c:v>0.53216799999999997</c:v>
                </c:pt>
                <c:pt idx="434">
                  <c:v>0.27319900000000003</c:v>
                </c:pt>
                <c:pt idx="435">
                  <c:v>0.37636999999999998</c:v>
                </c:pt>
                <c:pt idx="436">
                  <c:v>0.324355</c:v>
                </c:pt>
                <c:pt idx="437">
                  <c:v>0.33168799999999998</c:v>
                </c:pt>
                <c:pt idx="438">
                  <c:v>0.23746800000000001</c:v>
                </c:pt>
                <c:pt idx="439">
                  <c:v>0.30793100000000001</c:v>
                </c:pt>
                <c:pt idx="440">
                  <c:v>0.29153899999999999</c:v>
                </c:pt>
                <c:pt idx="441">
                  <c:v>0.147787</c:v>
                </c:pt>
                <c:pt idx="442">
                  <c:v>0.29597499999999999</c:v>
                </c:pt>
                <c:pt idx="443">
                  <c:v>0.27748</c:v>
                </c:pt>
                <c:pt idx="444">
                  <c:v>0.232405</c:v>
                </c:pt>
                <c:pt idx="445">
                  <c:v>0.21244499999999999</c:v>
                </c:pt>
                <c:pt idx="446">
                  <c:v>0.30149900000000002</c:v>
                </c:pt>
                <c:pt idx="447">
                  <c:v>0.26676899999999998</c:v>
                </c:pt>
                <c:pt idx="448">
                  <c:v>9.1150999999999996E-2</c:v>
                </c:pt>
                <c:pt idx="449">
                  <c:v>0.18981600000000001</c:v>
                </c:pt>
                <c:pt idx="450">
                  <c:v>0.24468699999999999</c:v>
                </c:pt>
                <c:pt idx="451">
                  <c:v>0.19744999999999999</c:v>
                </c:pt>
                <c:pt idx="452">
                  <c:v>0.20436599999999999</c:v>
                </c:pt>
                <c:pt idx="453">
                  <c:v>0.211503</c:v>
                </c:pt>
                <c:pt idx="454">
                  <c:v>0.15054999999999999</c:v>
                </c:pt>
                <c:pt idx="455">
                  <c:v>1.3813000000000001E-2</c:v>
                </c:pt>
                <c:pt idx="456">
                  <c:v>8.2155000000000006E-2</c:v>
                </c:pt>
                <c:pt idx="457">
                  <c:v>7.7804999999999999E-2</c:v>
                </c:pt>
                <c:pt idx="458">
                  <c:v>-4.8085999999999997E-2</c:v>
                </c:pt>
                <c:pt idx="459">
                  <c:v>-3.5668999999999999E-2</c:v>
                </c:pt>
                <c:pt idx="460">
                  <c:v>-3.8829000000000002E-2</c:v>
                </c:pt>
                <c:pt idx="461">
                  <c:v>-8.3622000000000002E-2</c:v>
                </c:pt>
                <c:pt idx="462">
                  <c:v>-0.18314</c:v>
                </c:pt>
                <c:pt idx="463">
                  <c:v>-8.5359000000000004E-2</c:v>
                </c:pt>
                <c:pt idx="464">
                  <c:v>-8.3839999999999998E-2</c:v>
                </c:pt>
                <c:pt idx="465">
                  <c:v>-0.123209</c:v>
                </c:pt>
                <c:pt idx="466">
                  <c:v>-8.5777000000000006E-2</c:v>
                </c:pt>
                <c:pt idx="467">
                  <c:v>-7.9007999999999995E-2</c:v>
                </c:pt>
                <c:pt idx="468">
                  <c:v>-9.5050999999999997E-2</c:v>
                </c:pt>
                <c:pt idx="469">
                  <c:v>-0.19772899999999999</c:v>
                </c:pt>
                <c:pt idx="470">
                  <c:v>-9.2090000000000005E-2</c:v>
                </c:pt>
                <c:pt idx="471">
                  <c:v>-0.126559</c:v>
                </c:pt>
                <c:pt idx="472">
                  <c:v>-0.14255399999999999</c:v>
                </c:pt>
                <c:pt idx="473">
                  <c:v>-0.13738500000000001</c:v>
                </c:pt>
                <c:pt idx="474">
                  <c:v>-0.14404800000000001</c:v>
                </c:pt>
                <c:pt idx="475">
                  <c:v>-0.190196</c:v>
                </c:pt>
                <c:pt idx="476">
                  <c:v>-0.28266999999999998</c:v>
                </c:pt>
                <c:pt idx="477">
                  <c:v>-0.17721000000000001</c:v>
                </c:pt>
                <c:pt idx="478">
                  <c:v>-0.209671</c:v>
                </c:pt>
                <c:pt idx="479">
                  <c:v>-0.238899</c:v>
                </c:pt>
                <c:pt idx="480">
                  <c:v>-0.25944600000000001</c:v>
                </c:pt>
                <c:pt idx="481">
                  <c:v>-0.29582199999999997</c:v>
                </c:pt>
                <c:pt idx="482">
                  <c:v>-0.31914799999999999</c:v>
                </c:pt>
                <c:pt idx="483">
                  <c:v>-0.37453399999999998</c:v>
                </c:pt>
                <c:pt idx="484">
                  <c:v>-0.245198</c:v>
                </c:pt>
                <c:pt idx="485">
                  <c:v>-0.21793599999999999</c:v>
                </c:pt>
                <c:pt idx="486">
                  <c:v>-0.17569699999999999</c:v>
                </c:pt>
                <c:pt idx="487">
                  <c:v>-9.3219999999999997E-2</c:v>
                </c:pt>
                <c:pt idx="488">
                  <c:v>-3.7109000000000003E-2</c:v>
                </c:pt>
                <c:pt idx="489">
                  <c:v>-1.9167E-2</c:v>
                </c:pt>
                <c:pt idx="490">
                  <c:v>-0.134911</c:v>
                </c:pt>
                <c:pt idx="491">
                  <c:v>-4.5622000000000003E-2</c:v>
                </c:pt>
                <c:pt idx="492">
                  <c:v>-8.9342000000000005E-2</c:v>
                </c:pt>
                <c:pt idx="493">
                  <c:v>-0.11615399999999999</c:v>
                </c:pt>
                <c:pt idx="494">
                  <c:v>-0.18593599999999999</c:v>
                </c:pt>
                <c:pt idx="495">
                  <c:v>-0.22641500000000001</c:v>
                </c:pt>
                <c:pt idx="496">
                  <c:v>-0.24555399999999999</c:v>
                </c:pt>
                <c:pt idx="497">
                  <c:v>-0.29521900000000001</c:v>
                </c:pt>
                <c:pt idx="498">
                  <c:v>-0.21723799999999999</c:v>
                </c:pt>
                <c:pt idx="499">
                  <c:v>-0.22658600000000001</c:v>
                </c:pt>
                <c:pt idx="500">
                  <c:v>-0.23671</c:v>
                </c:pt>
                <c:pt idx="501">
                  <c:v>-0.27874500000000002</c:v>
                </c:pt>
                <c:pt idx="502">
                  <c:v>-0.28195799999999999</c:v>
                </c:pt>
                <c:pt idx="503">
                  <c:v>-0.32355600000000001</c:v>
                </c:pt>
                <c:pt idx="504">
                  <c:v>-0.37153000000000003</c:v>
                </c:pt>
                <c:pt idx="505">
                  <c:v>-0.22558500000000001</c:v>
                </c:pt>
                <c:pt idx="506">
                  <c:v>-0.122959</c:v>
                </c:pt>
                <c:pt idx="507">
                  <c:v>3.0193000000000001E-2</c:v>
                </c:pt>
                <c:pt idx="508">
                  <c:v>0.17424200000000001</c:v>
                </c:pt>
                <c:pt idx="509">
                  <c:v>0.391598</c:v>
                </c:pt>
                <c:pt idx="510">
                  <c:v>0.50997099999999995</c:v>
                </c:pt>
                <c:pt idx="511">
                  <c:v>0.42244599999999999</c:v>
                </c:pt>
                <c:pt idx="512">
                  <c:v>0.70471399999999995</c:v>
                </c:pt>
                <c:pt idx="513">
                  <c:v>0.752637</c:v>
                </c:pt>
                <c:pt idx="514">
                  <c:v>0.81935400000000003</c:v>
                </c:pt>
                <c:pt idx="515">
                  <c:v>0.745861</c:v>
                </c:pt>
                <c:pt idx="516">
                  <c:v>0.84339600000000003</c:v>
                </c:pt>
                <c:pt idx="517">
                  <c:v>0.719858</c:v>
                </c:pt>
                <c:pt idx="518">
                  <c:v>0.52110599999999996</c:v>
                </c:pt>
                <c:pt idx="519">
                  <c:v>0.62341100000000005</c:v>
                </c:pt>
                <c:pt idx="520">
                  <c:v>0.56146499999999999</c:v>
                </c:pt>
                <c:pt idx="521">
                  <c:v>0.56051300000000004</c:v>
                </c:pt>
                <c:pt idx="522">
                  <c:v>0.468781</c:v>
                </c:pt>
                <c:pt idx="523">
                  <c:v>0.53711299999999995</c:v>
                </c:pt>
                <c:pt idx="524">
                  <c:v>0.40956900000000002</c:v>
                </c:pt>
                <c:pt idx="525">
                  <c:v>0.24351</c:v>
                </c:pt>
                <c:pt idx="526">
                  <c:v>0.28122599999999998</c:v>
                </c:pt>
                <c:pt idx="527">
                  <c:v>0.22408800000000001</c:v>
                </c:pt>
                <c:pt idx="528">
                  <c:v>0.197909</c:v>
                </c:pt>
                <c:pt idx="529">
                  <c:v>0.14788699999999999</c:v>
                </c:pt>
                <c:pt idx="530">
                  <c:v>0.16463</c:v>
                </c:pt>
                <c:pt idx="531">
                  <c:v>8.9793999999999999E-2</c:v>
                </c:pt>
                <c:pt idx="532">
                  <c:v>-4.9334999999999997E-2</c:v>
                </c:pt>
                <c:pt idx="533">
                  <c:v>4.4671000000000002E-2</c:v>
                </c:pt>
                <c:pt idx="534">
                  <c:v>-2.036E-3</c:v>
                </c:pt>
                <c:pt idx="535">
                  <c:v>-1.6652E-2</c:v>
                </c:pt>
                <c:pt idx="536">
                  <c:v>-6.1788999999999997E-2</c:v>
                </c:pt>
                <c:pt idx="537">
                  <c:v>-6.2328000000000001E-2</c:v>
                </c:pt>
                <c:pt idx="538">
                  <c:v>-0.10845200000000001</c:v>
                </c:pt>
                <c:pt idx="539">
                  <c:v>-0.20933399999999999</c:v>
                </c:pt>
                <c:pt idx="540">
                  <c:v>-0.104342</c:v>
                </c:pt>
                <c:pt idx="541">
                  <c:v>-0.15656500000000001</c:v>
                </c:pt>
                <c:pt idx="542">
                  <c:v>-0.171170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do_3_dne_7dni_shift3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2.8626692456E-2</c:v>
                </c:pt>
                <c:pt idx="1">
                  <c:v>3.2902033270999997E-2</c:v>
                </c:pt>
                <c:pt idx="2">
                  <c:v>3.3299354400000002E-2</c:v>
                </c:pt>
                <c:pt idx="3">
                  <c:v>3.4119106699E-2</c:v>
                </c:pt>
                <c:pt idx="4">
                  <c:v>3.5112760490999997E-2</c:v>
                </c:pt>
                <c:pt idx="5">
                  <c:v>3.2405063291E-2</c:v>
                </c:pt>
                <c:pt idx="6">
                  <c:v>3.3005794909999997E-2</c:v>
                </c:pt>
                <c:pt idx="7">
                  <c:v>3.2520325203000001E-2</c:v>
                </c:pt>
                <c:pt idx="8">
                  <c:v>3.7054085154999999E-2</c:v>
                </c:pt>
                <c:pt idx="9">
                  <c:v>3.2190476189999997E-2</c:v>
                </c:pt>
                <c:pt idx="10">
                  <c:v>2.9944171881999999E-2</c:v>
                </c:pt>
                <c:pt idx="11">
                  <c:v>2.7673334335000001E-2</c:v>
                </c:pt>
                <c:pt idx="12">
                  <c:v>2.5620280474000001E-2</c:v>
                </c:pt>
                <c:pt idx="13">
                  <c:v>2.4644433545E-2</c:v>
                </c:pt>
                <c:pt idx="14">
                  <c:v>2.4754234276000001E-2</c:v>
                </c:pt>
                <c:pt idx="15">
                  <c:v>2.6045690321000001E-2</c:v>
                </c:pt>
                <c:pt idx="16">
                  <c:v>2.751572327E-2</c:v>
                </c:pt>
                <c:pt idx="17">
                  <c:v>2.8525296017000001E-2</c:v>
                </c:pt>
                <c:pt idx="18">
                  <c:v>2.9889439572999998E-2</c:v>
                </c:pt>
                <c:pt idx="19">
                  <c:v>2.9768786126999999E-2</c:v>
                </c:pt>
                <c:pt idx="20">
                  <c:v>2.9564494911000001E-2</c:v>
                </c:pt>
                <c:pt idx="21">
                  <c:v>3.1677465802000003E-2</c:v>
                </c:pt>
                <c:pt idx="22">
                  <c:v>3.2381997804000001E-2</c:v>
                </c:pt>
                <c:pt idx="23">
                  <c:v>3.2820834639999998E-2</c:v>
                </c:pt>
                <c:pt idx="24">
                  <c:v>3.2057474039999999E-2</c:v>
                </c:pt>
                <c:pt idx="25">
                  <c:v>3.4204302935E-2</c:v>
                </c:pt>
                <c:pt idx="26">
                  <c:v>3.4679722561999998E-2</c:v>
                </c:pt>
                <c:pt idx="27">
                  <c:v>3.5995302407000003E-2</c:v>
                </c:pt>
                <c:pt idx="28">
                  <c:v>3.9103744628000002E-2</c:v>
                </c:pt>
                <c:pt idx="29">
                  <c:v>4.1832429173999999E-2</c:v>
                </c:pt>
                <c:pt idx="30">
                  <c:v>4.5212298682000003E-2</c:v>
                </c:pt>
                <c:pt idx="31">
                  <c:v>4.7408164423999997E-2</c:v>
                </c:pt>
                <c:pt idx="32">
                  <c:v>4.8482271011E-2</c:v>
                </c:pt>
                <c:pt idx="33">
                  <c:v>4.8883248730000002E-2</c:v>
                </c:pt>
                <c:pt idx="34">
                  <c:v>5.0028484126E-2</c:v>
                </c:pt>
                <c:pt idx="35">
                  <c:v>5.3263081015999997E-2</c:v>
                </c:pt>
                <c:pt idx="36">
                  <c:v>5.6765645107000003E-2</c:v>
                </c:pt>
                <c:pt idx="37">
                  <c:v>5.4729869591999998E-2</c:v>
                </c:pt>
                <c:pt idx="38">
                  <c:v>5.3688837226E-2</c:v>
                </c:pt>
                <c:pt idx="39">
                  <c:v>5.3436895792999997E-2</c:v>
                </c:pt>
                <c:pt idx="40">
                  <c:v>5.0066926779000001E-2</c:v>
                </c:pt>
                <c:pt idx="41">
                  <c:v>5.0034765678999997E-2</c:v>
                </c:pt>
                <c:pt idx="42">
                  <c:v>5.2458567318999998E-2</c:v>
                </c:pt>
                <c:pt idx="43">
                  <c:v>5.4322444893999997E-2</c:v>
                </c:pt>
                <c:pt idx="44">
                  <c:v>5.1405677033000002E-2</c:v>
                </c:pt>
                <c:pt idx="45">
                  <c:v>4.9366677492000001E-2</c:v>
                </c:pt>
                <c:pt idx="46">
                  <c:v>4.7230298963000003E-2</c:v>
                </c:pt>
                <c:pt idx="47">
                  <c:v>4.5281493211000001E-2</c:v>
                </c:pt>
                <c:pt idx="48">
                  <c:v>4.6403283044000002E-2</c:v>
                </c:pt>
                <c:pt idx="49">
                  <c:v>4.8464403213000003E-2</c:v>
                </c:pt>
                <c:pt idx="50">
                  <c:v>5.0390883998999998E-2</c:v>
                </c:pt>
                <c:pt idx="51">
                  <c:v>4.8255228797999997E-2</c:v>
                </c:pt>
                <c:pt idx="52">
                  <c:v>4.8435171385000003E-2</c:v>
                </c:pt>
                <c:pt idx="53">
                  <c:v>4.8477181591999999E-2</c:v>
                </c:pt>
                <c:pt idx="54">
                  <c:v>4.8154865869000002E-2</c:v>
                </c:pt>
                <c:pt idx="55">
                  <c:v>4.8949660914E-2</c:v>
                </c:pt>
                <c:pt idx="56">
                  <c:v>5.0721390805000002E-2</c:v>
                </c:pt>
                <c:pt idx="57">
                  <c:v>5.2250021165999999E-2</c:v>
                </c:pt>
                <c:pt idx="58">
                  <c:v>5.0040655582999999E-2</c:v>
                </c:pt>
                <c:pt idx="59">
                  <c:v>4.9840398179000003E-2</c:v>
                </c:pt>
                <c:pt idx="60">
                  <c:v>5.0678214101999998E-2</c:v>
                </c:pt>
                <c:pt idx="61">
                  <c:v>5.1921069634999997E-2</c:v>
                </c:pt>
                <c:pt idx="62">
                  <c:v>5.2730560577999998E-2</c:v>
                </c:pt>
                <c:pt idx="63">
                  <c:v>5.3988310786999998E-2</c:v>
                </c:pt>
                <c:pt idx="64">
                  <c:v>5.5671702911000001E-2</c:v>
                </c:pt>
                <c:pt idx="65">
                  <c:v>5.4899639569E-2</c:v>
                </c:pt>
                <c:pt idx="66">
                  <c:v>5.3956986520999999E-2</c:v>
                </c:pt>
                <c:pt idx="67">
                  <c:v>5.4504466543000001E-2</c:v>
                </c:pt>
                <c:pt idx="68">
                  <c:v>5.3487326597E-2</c:v>
                </c:pt>
                <c:pt idx="69">
                  <c:v>5.3358464701000002E-2</c:v>
                </c:pt>
                <c:pt idx="70">
                  <c:v>5.5605032424E-2</c:v>
                </c:pt>
                <c:pt idx="71">
                  <c:v>5.7472860388000001E-2</c:v>
                </c:pt>
                <c:pt idx="72">
                  <c:v>5.5392479376000003E-2</c:v>
                </c:pt>
                <c:pt idx="73">
                  <c:v>5.5031964673999997E-2</c:v>
                </c:pt>
                <c:pt idx="74">
                  <c:v>5.8635849028000002E-2</c:v>
                </c:pt>
                <c:pt idx="75">
                  <c:v>6.1158142079999998E-2</c:v>
                </c:pt>
                <c:pt idx="76">
                  <c:v>6.4398364484999998E-2</c:v>
                </c:pt>
                <c:pt idx="77">
                  <c:v>6.7532785880000001E-2</c:v>
                </c:pt>
                <c:pt idx="78">
                  <c:v>6.9731710198999999E-2</c:v>
                </c:pt>
                <c:pt idx="79">
                  <c:v>6.7825341065999994E-2</c:v>
                </c:pt>
                <c:pt idx="80">
                  <c:v>6.9681424891000002E-2</c:v>
                </c:pt>
                <c:pt idx="81">
                  <c:v>6.8928604672000002E-2</c:v>
                </c:pt>
                <c:pt idx="82">
                  <c:v>6.7861246240999998E-2</c:v>
                </c:pt>
                <c:pt idx="83">
                  <c:v>6.8263473052999998E-2</c:v>
                </c:pt>
                <c:pt idx="84">
                  <c:v>7.0392341124999994E-2</c:v>
                </c:pt>
                <c:pt idx="85">
                  <c:v>7.1401204159000004E-2</c:v>
                </c:pt>
                <c:pt idx="86">
                  <c:v>6.9041051435E-2</c:v>
                </c:pt>
                <c:pt idx="87">
                  <c:v>6.9594540770999996E-2</c:v>
                </c:pt>
                <c:pt idx="88">
                  <c:v>6.9841971488000004E-2</c:v>
                </c:pt>
                <c:pt idx="89">
                  <c:v>7.0344262773999994E-2</c:v>
                </c:pt>
                <c:pt idx="90">
                  <c:v>7.2983767069999997E-2</c:v>
                </c:pt>
                <c:pt idx="91">
                  <c:v>7.6423213852999994E-2</c:v>
                </c:pt>
                <c:pt idx="92">
                  <c:v>7.7881016905000003E-2</c:v>
                </c:pt>
                <c:pt idx="93">
                  <c:v>7.5728033208999998E-2</c:v>
                </c:pt>
                <c:pt idx="94">
                  <c:v>7.4562266377999994E-2</c:v>
                </c:pt>
                <c:pt idx="95">
                  <c:v>7.3990660085999999E-2</c:v>
                </c:pt>
                <c:pt idx="96">
                  <c:v>7.1412385484000002E-2</c:v>
                </c:pt>
                <c:pt idx="97">
                  <c:v>7.3433980026999995E-2</c:v>
                </c:pt>
                <c:pt idx="98">
                  <c:v>7.6884867837000007E-2</c:v>
                </c:pt>
                <c:pt idx="99">
                  <c:v>7.7004017600000002E-2</c:v>
                </c:pt>
                <c:pt idx="100">
                  <c:v>7.2613244559999998E-2</c:v>
                </c:pt>
                <c:pt idx="101">
                  <c:v>7.1072247706E-2</c:v>
                </c:pt>
                <c:pt idx="102">
                  <c:v>6.9344678970000004E-2</c:v>
                </c:pt>
                <c:pt idx="103">
                  <c:v>6.5666190249E-2</c:v>
                </c:pt>
                <c:pt idx="104">
                  <c:v>6.5358408285000003E-2</c:v>
                </c:pt>
                <c:pt idx="105">
                  <c:v>6.5809187278999995E-2</c:v>
                </c:pt>
                <c:pt idx="106">
                  <c:v>6.7821104406000005E-2</c:v>
                </c:pt>
                <c:pt idx="107">
                  <c:v>6.2033127638E-2</c:v>
                </c:pt>
                <c:pt idx="108">
                  <c:v>5.9013512029000001E-2</c:v>
                </c:pt>
                <c:pt idx="109">
                  <c:v>5.6147786625000001E-2</c:v>
                </c:pt>
                <c:pt idx="110">
                  <c:v>5.2801030264000001E-2</c:v>
                </c:pt>
                <c:pt idx="111">
                  <c:v>5.2410686865999999E-2</c:v>
                </c:pt>
                <c:pt idx="112">
                  <c:v>5.2849207980999999E-2</c:v>
                </c:pt>
                <c:pt idx="113">
                  <c:v>5.2116726813000003E-2</c:v>
                </c:pt>
                <c:pt idx="114">
                  <c:v>4.5919127999999997E-2</c:v>
                </c:pt>
                <c:pt idx="115">
                  <c:v>4.1782980639000003E-2</c:v>
                </c:pt>
                <c:pt idx="116">
                  <c:v>4.1020574033000003E-2</c:v>
                </c:pt>
                <c:pt idx="117">
                  <c:v>4.2984899067000003E-2</c:v>
                </c:pt>
                <c:pt idx="118">
                  <c:v>4.7634615383999997E-2</c:v>
                </c:pt>
                <c:pt idx="119">
                  <c:v>5.2200634417E-2</c:v>
                </c:pt>
                <c:pt idx="120">
                  <c:v>5.2988919714999999E-2</c:v>
                </c:pt>
                <c:pt idx="121">
                  <c:v>4.9442217316999999E-2</c:v>
                </c:pt>
                <c:pt idx="122">
                  <c:v>4.8314622181000001E-2</c:v>
                </c:pt>
                <c:pt idx="123">
                  <c:v>5.0255098493999999E-2</c:v>
                </c:pt>
                <c:pt idx="124">
                  <c:v>5.2330657652999997E-2</c:v>
                </c:pt>
                <c:pt idx="125">
                  <c:v>5.3659334815000001E-2</c:v>
                </c:pt>
                <c:pt idx="126">
                  <c:v>5.2597216055E-2</c:v>
                </c:pt>
                <c:pt idx="127">
                  <c:v>5.0157945656999998E-2</c:v>
                </c:pt>
                <c:pt idx="128">
                  <c:v>4.8108922589E-2</c:v>
                </c:pt>
                <c:pt idx="129">
                  <c:v>4.7157512287999998E-2</c:v>
                </c:pt>
                <c:pt idx="130">
                  <c:v>4.7305055275999999E-2</c:v>
                </c:pt>
                <c:pt idx="131">
                  <c:v>4.7193374523000001E-2</c:v>
                </c:pt>
                <c:pt idx="132">
                  <c:v>4.5830694312999999E-2</c:v>
                </c:pt>
                <c:pt idx="133">
                  <c:v>4.4047382561999998E-2</c:v>
                </c:pt>
                <c:pt idx="134">
                  <c:v>4.3726024069000002E-2</c:v>
                </c:pt>
                <c:pt idx="135">
                  <c:v>4.358040279E-2</c:v>
                </c:pt>
                <c:pt idx="136">
                  <c:v>4.2936887547000001E-2</c:v>
                </c:pt>
                <c:pt idx="137">
                  <c:v>4.4527409619000001E-2</c:v>
                </c:pt>
                <c:pt idx="138">
                  <c:v>4.5497135514000003E-2</c:v>
                </c:pt>
                <c:pt idx="139">
                  <c:v>4.7102154480999997E-2</c:v>
                </c:pt>
                <c:pt idx="140">
                  <c:v>4.8394770082999999E-2</c:v>
                </c:pt>
                <c:pt idx="141">
                  <c:v>4.8805137055000003E-2</c:v>
                </c:pt>
                <c:pt idx="142">
                  <c:v>4.7203447634000001E-2</c:v>
                </c:pt>
                <c:pt idx="143">
                  <c:v>4.6948432629000003E-2</c:v>
                </c:pt>
                <c:pt idx="144">
                  <c:v>4.8449347633000003E-2</c:v>
                </c:pt>
                <c:pt idx="145">
                  <c:v>4.8229983368000003E-2</c:v>
                </c:pt>
                <c:pt idx="146">
                  <c:v>5.0179278057000003E-2</c:v>
                </c:pt>
                <c:pt idx="147">
                  <c:v>5.2192844814000001E-2</c:v>
                </c:pt>
                <c:pt idx="148">
                  <c:v>5.1551235025000003E-2</c:v>
                </c:pt>
                <c:pt idx="149">
                  <c:v>4.9191860566999999E-2</c:v>
                </c:pt>
                <c:pt idx="150">
                  <c:v>4.8895503118999997E-2</c:v>
                </c:pt>
                <c:pt idx="151">
                  <c:v>4.8553124099999997E-2</c:v>
                </c:pt>
                <c:pt idx="152">
                  <c:v>4.7353114350000003E-2</c:v>
                </c:pt>
                <c:pt idx="153">
                  <c:v>4.8391158635999999E-2</c:v>
                </c:pt>
                <c:pt idx="154">
                  <c:v>4.9442520566999999E-2</c:v>
                </c:pt>
                <c:pt idx="155">
                  <c:v>5.0416028027000001E-2</c:v>
                </c:pt>
                <c:pt idx="156">
                  <c:v>4.8942333010999997E-2</c:v>
                </c:pt>
                <c:pt idx="157">
                  <c:v>4.7772419436000003E-2</c:v>
                </c:pt>
                <c:pt idx="158">
                  <c:v>4.7797793408E-2</c:v>
                </c:pt>
                <c:pt idx="159">
                  <c:v>4.7247101297999999E-2</c:v>
                </c:pt>
                <c:pt idx="160">
                  <c:v>4.8262796814000003E-2</c:v>
                </c:pt>
                <c:pt idx="161">
                  <c:v>5.0001895446999997E-2</c:v>
                </c:pt>
                <c:pt idx="162">
                  <c:v>4.8436045108000002E-2</c:v>
                </c:pt>
                <c:pt idx="163">
                  <c:v>4.5358494274000002E-2</c:v>
                </c:pt>
                <c:pt idx="164">
                  <c:v>4.4587645641999997E-2</c:v>
                </c:pt>
                <c:pt idx="165">
                  <c:v>4.5056155755999999E-2</c:v>
                </c:pt>
                <c:pt idx="166">
                  <c:v>4.4033536981000002E-2</c:v>
                </c:pt>
                <c:pt idx="167">
                  <c:v>4.4580720732999998E-2</c:v>
                </c:pt>
                <c:pt idx="168">
                  <c:v>4.5873358165000003E-2</c:v>
                </c:pt>
                <c:pt idx="169">
                  <c:v>4.5895456797000002E-2</c:v>
                </c:pt>
                <c:pt idx="170">
                  <c:v>4.5368199222E-2</c:v>
                </c:pt>
                <c:pt idx="171">
                  <c:v>4.4906658826E-2</c:v>
                </c:pt>
                <c:pt idx="172">
                  <c:v>4.4187007509000002E-2</c:v>
                </c:pt>
                <c:pt idx="173">
                  <c:v>4.4136731369000003E-2</c:v>
                </c:pt>
                <c:pt idx="174">
                  <c:v>4.5121223318000003E-2</c:v>
                </c:pt>
                <c:pt idx="175">
                  <c:v>4.6355226508000003E-2</c:v>
                </c:pt>
                <c:pt idx="176">
                  <c:v>4.6043590501000001E-2</c:v>
                </c:pt>
                <c:pt idx="177">
                  <c:v>4.2968657877000001E-2</c:v>
                </c:pt>
                <c:pt idx="178">
                  <c:v>4.2018858490999997E-2</c:v>
                </c:pt>
                <c:pt idx="179">
                  <c:v>4.1622519879000001E-2</c:v>
                </c:pt>
                <c:pt idx="180">
                  <c:v>4.0821826255999998E-2</c:v>
                </c:pt>
                <c:pt idx="181">
                  <c:v>4.0970302127000001E-2</c:v>
                </c:pt>
                <c:pt idx="182">
                  <c:v>4.1594473957999999E-2</c:v>
                </c:pt>
                <c:pt idx="183">
                  <c:v>4.2233304695000001E-2</c:v>
                </c:pt>
                <c:pt idx="184">
                  <c:v>4.0422176151000001E-2</c:v>
                </c:pt>
                <c:pt idx="185">
                  <c:v>4.0175230264000002E-2</c:v>
                </c:pt>
                <c:pt idx="186">
                  <c:v>3.9274087414E-2</c:v>
                </c:pt>
                <c:pt idx="187">
                  <c:v>3.8509790538999999E-2</c:v>
                </c:pt>
                <c:pt idx="188">
                  <c:v>3.9609124681000002E-2</c:v>
                </c:pt>
                <c:pt idx="189">
                  <c:v>4.0964042673000002E-2</c:v>
                </c:pt>
                <c:pt idx="190">
                  <c:v>4.1235612763000001E-2</c:v>
                </c:pt>
                <c:pt idx="191">
                  <c:v>3.8230877002000001E-2</c:v>
                </c:pt>
                <c:pt idx="192">
                  <c:v>3.7614064029999998E-2</c:v>
                </c:pt>
                <c:pt idx="193">
                  <c:v>3.8127392369999999E-2</c:v>
                </c:pt>
                <c:pt idx="194">
                  <c:v>3.9573086442999998E-2</c:v>
                </c:pt>
                <c:pt idx="195">
                  <c:v>4.0914878240999999E-2</c:v>
                </c:pt>
                <c:pt idx="196">
                  <c:v>4.2323947122000001E-2</c:v>
                </c:pt>
                <c:pt idx="197">
                  <c:v>4.2246323320000001E-2</c:v>
                </c:pt>
                <c:pt idx="198">
                  <c:v>4.0355213367999999E-2</c:v>
                </c:pt>
                <c:pt idx="199">
                  <c:v>4.2000499330000003E-2</c:v>
                </c:pt>
                <c:pt idx="200">
                  <c:v>4.2788809628000003E-2</c:v>
                </c:pt>
                <c:pt idx="201">
                  <c:v>4.2881667392E-2</c:v>
                </c:pt>
                <c:pt idx="202">
                  <c:v>4.3719279081999997E-2</c:v>
                </c:pt>
                <c:pt idx="203">
                  <c:v>4.4833569043000003E-2</c:v>
                </c:pt>
                <c:pt idx="204">
                  <c:v>4.5006190390999998E-2</c:v>
                </c:pt>
                <c:pt idx="205">
                  <c:v>4.3309272625999998E-2</c:v>
                </c:pt>
                <c:pt idx="206">
                  <c:v>4.4493006993000003E-2</c:v>
                </c:pt>
                <c:pt idx="207">
                  <c:v>4.5451022336999998E-2</c:v>
                </c:pt>
                <c:pt idx="208">
                  <c:v>4.7045631825000003E-2</c:v>
                </c:pt>
                <c:pt idx="209">
                  <c:v>4.9511342239E-2</c:v>
                </c:pt>
                <c:pt idx="210">
                  <c:v>5.0910699517000002E-2</c:v>
                </c:pt>
                <c:pt idx="211">
                  <c:v>5.1210411839999997E-2</c:v>
                </c:pt>
                <c:pt idx="212">
                  <c:v>4.8998946258999997E-2</c:v>
                </c:pt>
                <c:pt idx="213">
                  <c:v>5.0040400622999998E-2</c:v>
                </c:pt>
                <c:pt idx="214">
                  <c:v>5.1114800758999997E-2</c:v>
                </c:pt>
                <c:pt idx="215">
                  <c:v>5.1234621010000002E-2</c:v>
                </c:pt>
                <c:pt idx="216">
                  <c:v>5.3959560890000001E-2</c:v>
                </c:pt>
                <c:pt idx="217">
                  <c:v>5.5442588350000002E-2</c:v>
                </c:pt>
                <c:pt idx="218">
                  <c:v>5.6615033341000001E-2</c:v>
                </c:pt>
                <c:pt idx="219">
                  <c:v>5.7281161758E-2</c:v>
                </c:pt>
                <c:pt idx="220">
                  <c:v>5.8297979939000003E-2</c:v>
                </c:pt>
                <c:pt idx="221">
                  <c:v>5.8125353243E-2</c:v>
                </c:pt>
                <c:pt idx="222">
                  <c:v>5.8430873357999999E-2</c:v>
                </c:pt>
                <c:pt idx="223">
                  <c:v>6.0308738879999997E-2</c:v>
                </c:pt>
                <c:pt idx="224">
                  <c:v>6.0338083738000002E-2</c:v>
                </c:pt>
                <c:pt idx="225">
                  <c:v>5.7922939525000001E-2</c:v>
                </c:pt>
                <c:pt idx="226">
                  <c:v>5.2843554514000003E-2</c:v>
                </c:pt>
                <c:pt idx="227">
                  <c:v>5.1214727628999999E-2</c:v>
                </c:pt>
                <c:pt idx="228">
                  <c:v>5.2800109005999997E-2</c:v>
                </c:pt>
                <c:pt idx="229">
                  <c:v>5.4912023460000001E-2</c:v>
                </c:pt>
                <c:pt idx="230">
                  <c:v>5.7351407716000002E-2</c:v>
                </c:pt>
                <c:pt idx="231">
                  <c:v>5.7969731833999998E-2</c:v>
                </c:pt>
                <c:pt idx="232">
                  <c:v>5.6120813972E-2</c:v>
                </c:pt>
                <c:pt idx="233">
                  <c:v>5.5017870768E-2</c:v>
                </c:pt>
                <c:pt idx="234">
                  <c:v>5.8002195388999998E-2</c:v>
                </c:pt>
                <c:pt idx="235">
                  <c:v>5.7318085400000003E-2</c:v>
                </c:pt>
                <c:pt idx="236">
                  <c:v>5.5817273376000003E-2</c:v>
                </c:pt>
                <c:pt idx="237">
                  <c:v>5.6372677309000002E-2</c:v>
                </c:pt>
                <c:pt idx="238">
                  <c:v>5.6331901472999997E-2</c:v>
                </c:pt>
                <c:pt idx="239">
                  <c:v>5.5379118696999997E-2</c:v>
                </c:pt>
                <c:pt idx="240">
                  <c:v>5.2996310698000003E-2</c:v>
                </c:pt>
                <c:pt idx="241">
                  <c:v>5.3266438940999999E-2</c:v>
                </c:pt>
                <c:pt idx="242">
                  <c:v>5.2260357658000002E-2</c:v>
                </c:pt>
                <c:pt idx="243">
                  <c:v>5.1618049224999997E-2</c:v>
                </c:pt>
                <c:pt idx="244">
                  <c:v>5.4790270538000001E-2</c:v>
                </c:pt>
                <c:pt idx="245">
                  <c:v>5.7148455357999998E-2</c:v>
                </c:pt>
                <c:pt idx="246">
                  <c:v>5.6330439987999997E-2</c:v>
                </c:pt>
                <c:pt idx="247">
                  <c:v>5.3363988383000001E-2</c:v>
                </c:pt>
                <c:pt idx="248">
                  <c:v>5.5225653206000001E-2</c:v>
                </c:pt>
                <c:pt idx="249">
                  <c:v>5.7307395182000002E-2</c:v>
                </c:pt>
                <c:pt idx="250">
                  <c:v>5.5673577027000001E-2</c:v>
                </c:pt>
                <c:pt idx="251">
                  <c:v>5.7063212265000003E-2</c:v>
                </c:pt>
                <c:pt idx="252">
                  <c:v>5.7425916184000003E-2</c:v>
                </c:pt>
                <c:pt idx="253">
                  <c:v>5.6952365651000002E-2</c:v>
                </c:pt>
                <c:pt idx="254">
                  <c:v>5.5686011404999999E-2</c:v>
                </c:pt>
                <c:pt idx="255">
                  <c:v>5.8031569173000001E-2</c:v>
                </c:pt>
                <c:pt idx="256">
                  <c:v>5.7928034795999998E-2</c:v>
                </c:pt>
                <c:pt idx="257">
                  <c:v>5.4316096746999998E-2</c:v>
                </c:pt>
                <c:pt idx="258">
                  <c:v>5.7955742886999999E-2</c:v>
                </c:pt>
                <c:pt idx="259">
                  <c:v>5.9107806690999999E-2</c:v>
                </c:pt>
                <c:pt idx="260">
                  <c:v>5.5517788351999997E-2</c:v>
                </c:pt>
                <c:pt idx="261">
                  <c:v>5.1886792452000001E-2</c:v>
                </c:pt>
                <c:pt idx="262">
                  <c:v>5.3543098889000003E-2</c:v>
                </c:pt>
                <c:pt idx="263">
                  <c:v>5.3589339446000001E-2</c:v>
                </c:pt>
                <c:pt idx="264">
                  <c:v>5.1984435797000003E-2</c:v>
                </c:pt>
                <c:pt idx="265">
                  <c:v>5.4883394703999999E-2</c:v>
                </c:pt>
                <c:pt idx="266">
                  <c:v>5.5063171788999998E-2</c:v>
                </c:pt>
                <c:pt idx="267">
                  <c:v>5.2732335536999998E-2</c:v>
                </c:pt>
                <c:pt idx="268">
                  <c:v>5.3889943074000003E-2</c:v>
                </c:pt>
                <c:pt idx="269">
                  <c:v>5.5374592833000003E-2</c:v>
                </c:pt>
                <c:pt idx="270">
                  <c:v>5.1891143910999998E-2</c:v>
                </c:pt>
                <c:pt idx="271">
                  <c:v>5.0913520097000002E-2</c:v>
                </c:pt>
                <c:pt idx="272">
                  <c:v>5.1535087718999999E-2</c:v>
                </c:pt>
                <c:pt idx="273">
                  <c:v>5.1094890509999998E-2</c:v>
                </c:pt>
                <c:pt idx="274">
                  <c:v>5.0960512272999997E-2</c:v>
                </c:pt>
                <c:pt idx="275">
                  <c:v>4.9872485123E-2</c:v>
                </c:pt>
                <c:pt idx="276">
                  <c:v>4.6302050962999997E-2</c:v>
                </c:pt>
                <c:pt idx="277">
                  <c:v>4.0849147634999999E-2</c:v>
                </c:pt>
                <c:pt idx="278">
                  <c:v>4.2422169003999997E-2</c:v>
                </c:pt>
                <c:pt idx="279">
                  <c:v>4.1634835751999999E-2</c:v>
                </c:pt>
                <c:pt idx="280">
                  <c:v>4.1683366733E-2</c:v>
                </c:pt>
                <c:pt idx="281">
                  <c:v>4.0283476313999998E-2</c:v>
                </c:pt>
                <c:pt idx="282">
                  <c:v>3.3778476039999998E-2</c:v>
                </c:pt>
                <c:pt idx="283">
                  <c:v>3.3591731265999999E-2</c:v>
                </c:pt>
                <c:pt idx="284">
                  <c:v>3.5185185185000002E-2</c:v>
                </c:pt>
                <c:pt idx="285">
                  <c:v>3.5695538057000001E-2</c:v>
                </c:pt>
                <c:pt idx="286">
                  <c:v>3.5714285714000003E-2</c:v>
                </c:pt>
                <c:pt idx="287">
                  <c:v>3.4393251134999997E-2</c:v>
                </c:pt>
                <c:pt idx="288">
                  <c:v>3.4567901233999998E-2</c:v>
                </c:pt>
                <c:pt idx="289">
                  <c:v>3.3289817232000002E-2</c:v>
                </c:pt>
                <c:pt idx="290">
                  <c:v>4.5383411579999998E-2</c:v>
                </c:pt>
                <c:pt idx="291">
                  <c:v>4.5685279187000001E-2</c:v>
                </c:pt>
                <c:pt idx="292">
                  <c:v>4.4894366196999998E-2</c:v>
                </c:pt>
                <c:pt idx="293">
                  <c:v>4.5186640471000003E-2</c:v>
                </c:pt>
                <c:pt idx="294">
                  <c:v>4.2999999999999997E-2</c:v>
                </c:pt>
                <c:pt idx="295">
                  <c:v>4.2553191488999997E-2</c:v>
                </c:pt>
                <c:pt idx="296">
                  <c:v>4.1379310343999998E-2</c:v>
                </c:pt>
                <c:pt idx="297">
                  <c:v>4.5851528384000001E-2</c:v>
                </c:pt>
                <c:pt idx="298">
                  <c:v>3.2917139614000002E-2</c:v>
                </c:pt>
                <c:pt idx="299">
                  <c:v>2.9411764704999999E-2</c:v>
                </c:pt>
                <c:pt idx="300">
                  <c:v>2.8645833333000002E-2</c:v>
                </c:pt>
                <c:pt idx="301">
                  <c:v>2.7522935778999998E-2</c:v>
                </c:pt>
                <c:pt idx="302">
                  <c:v>2.9069767441E-2</c:v>
                </c:pt>
                <c:pt idx="303">
                  <c:v>2.4444444443999999E-2</c:v>
                </c:pt>
                <c:pt idx="304">
                  <c:v>2.4838012957999998E-2</c:v>
                </c:pt>
                <c:pt idx="305">
                  <c:v>1.9308943089E-2</c:v>
                </c:pt>
                <c:pt idx="306">
                  <c:v>1.8993352325999999E-2</c:v>
                </c:pt>
                <c:pt idx="307">
                  <c:v>1.8181818180999999E-2</c:v>
                </c:pt>
                <c:pt idx="308">
                  <c:v>1.6559337625999999E-2</c:v>
                </c:pt>
                <c:pt idx="309">
                  <c:v>1.6407599309000001E-2</c:v>
                </c:pt>
                <c:pt idx="310">
                  <c:v>1.2578616351999999E-2</c:v>
                </c:pt>
                <c:pt idx="311">
                  <c:v>1.4634146341E-2</c:v>
                </c:pt>
                <c:pt idx="312">
                  <c:v>1.18430792E-2</c:v>
                </c:pt>
                <c:pt idx="313">
                  <c:v>1.1588275391E-2</c:v>
                </c:pt>
                <c:pt idx="314">
                  <c:v>1.2978142075999999E-2</c:v>
                </c:pt>
                <c:pt idx="315">
                  <c:v>1.4028056112E-2</c:v>
                </c:pt>
                <c:pt idx="316">
                  <c:v>1.4110429447E-2</c:v>
                </c:pt>
                <c:pt idx="317">
                  <c:v>1.2616566099E-2</c:v>
                </c:pt>
                <c:pt idx="318">
                  <c:v>1.4213197969E-2</c:v>
                </c:pt>
                <c:pt idx="319">
                  <c:v>1.3612565445E-2</c:v>
                </c:pt>
                <c:pt idx="320">
                  <c:v>1.4767932488999999E-2</c:v>
                </c:pt>
                <c:pt idx="321">
                  <c:v>1.4941892639000001E-2</c:v>
                </c:pt>
                <c:pt idx="322">
                  <c:v>1.4204545454E-2</c:v>
                </c:pt>
                <c:pt idx="323">
                  <c:v>1.5899122807E-2</c:v>
                </c:pt>
                <c:pt idx="324">
                  <c:v>1.5409139213E-2</c:v>
                </c:pt>
                <c:pt idx="325">
                  <c:v>1.7857142857000002E-2</c:v>
                </c:pt>
                <c:pt idx="326">
                  <c:v>1.7754868270000002E-2</c:v>
                </c:pt>
                <c:pt idx="327">
                  <c:v>1.9825072886000002E-2</c:v>
                </c:pt>
                <c:pt idx="328">
                  <c:v>2.0037570444000001E-2</c:v>
                </c:pt>
                <c:pt idx="329">
                  <c:v>2.1607022282E-2</c:v>
                </c:pt>
                <c:pt idx="330">
                  <c:v>2.4296675191000001E-2</c:v>
                </c:pt>
                <c:pt idx="331">
                  <c:v>2.2528160200000001E-2</c:v>
                </c:pt>
                <c:pt idx="332">
                  <c:v>2.4666666665999998E-2</c:v>
                </c:pt>
                <c:pt idx="333">
                  <c:v>2.5101763906999999E-2</c:v>
                </c:pt>
                <c:pt idx="334">
                  <c:v>2.7104136947E-2</c:v>
                </c:pt>
                <c:pt idx="335">
                  <c:v>2.7067669172E-2</c:v>
                </c:pt>
                <c:pt idx="336">
                  <c:v>2.734375E-2</c:v>
                </c:pt>
                <c:pt idx="337">
                  <c:v>3.0325443786000002E-2</c:v>
                </c:pt>
                <c:pt idx="338">
                  <c:v>2.5824964131000001E-2</c:v>
                </c:pt>
                <c:pt idx="339">
                  <c:v>2.5983667408999999E-2</c:v>
                </c:pt>
                <c:pt idx="340">
                  <c:v>2.5954198473000002E-2</c:v>
                </c:pt>
                <c:pt idx="341">
                  <c:v>2.6521060842E-2</c:v>
                </c:pt>
                <c:pt idx="342">
                  <c:v>2.4653312787999999E-2</c:v>
                </c:pt>
                <c:pt idx="343">
                  <c:v>2.3291925464999998E-2</c:v>
                </c:pt>
                <c:pt idx="344">
                  <c:v>2.4513338139000002E-2</c:v>
                </c:pt>
                <c:pt idx="345">
                  <c:v>2.0066889631999998E-2</c:v>
                </c:pt>
                <c:pt idx="346">
                  <c:v>1.9687712151999999E-2</c:v>
                </c:pt>
                <c:pt idx="347">
                  <c:v>1.9257221458E-2</c:v>
                </c:pt>
                <c:pt idx="348">
                  <c:v>1.8518518518000002E-2</c:v>
                </c:pt>
                <c:pt idx="349">
                  <c:v>1.8305084744999998E-2</c:v>
                </c:pt>
                <c:pt idx="350">
                  <c:v>2.0773638968E-2</c:v>
                </c:pt>
                <c:pt idx="351">
                  <c:v>2.2591362125999999E-2</c:v>
                </c:pt>
                <c:pt idx="352">
                  <c:v>1.9643953345E-2</c:v>
                </c:pt>
                <c:pt idx="353">
                  <c:v>2.1559923905999999E-2</c:v>
                </c:pt>
                <c:pt idx="354">
                  <c:v>2.1667760998E-2</c:v>
                </c:pt>
                <c:pt idx="355">
                  <c:v>2.3271276595000001E-2</c:v>
                </c:pt>
                <c:pt idx="356">
                  <c:v>2.4717514124000001E-2</c:v>
                </c:pt>
                <c:pt idx="357">
                  <c:v>2.4619840694999999E-2</c:v>
                </c:pt>
                <c:pt idx="358">
                  <c:v>2.2397891962999999E-2</c:v>
                </c:pt>
                <c:pt idx="359">
                  <c:v>1.9935691318E-2</c:v>
                </c:pt>
                <c:pt idx="360">
                  <c:v>2.0598006644000001E-2</c:v>
                </c:pt>
                <c:pt idx="361">
                  <c:v>1.9205298013E-2</c:v>
                </c:pt>
                <c:pt idx="362">
                  <c:v>2.0301244268999999E-2</c:v>
                </c:pt>
                <c:pt idx="363">
                  <c:v>1.9476158495E-2</c:v>
                </c:pt>
                <c:pt idx="364">
                  <c:v>1.9512195121000001E-2</c:v>
                </c:pt>
                <c:pt idx="365">
                  <c:v>1.8483110261E-2</c:v>
                </c:pt>
                <c:pt idx="366">
                  <c:v>1.6393442622000001E-2</c:v>
                </c:pt>
                <c:pt idx="367">
                  <c:v>1.9323671497000001E-2</c:v>
                </c:pt>
                <c:pt idx="368">
                  <c:v>1.9859813083999998E-2</c:v>
                </c:pt>
                <c:pt idx="369">
                  <c:v>2.3783185839999998E-2</c:v>
                </c:pt>
                <c:pt idx="370">
                  <c:v>2.6200873361999999E-2</c:v>
                </c:pt>
                <c:pt idx="371">
                  <c:v>2.7173913043E-2</c:v>
                </c:pt>
                <c:pt idx="372">
                  <c:v>2.5092936802000001E-2</c:v>
                </c:pt>
                <c:pt idx="373">
                  <c:v>2.4859663191000001E-2</c:v>
                </c:pt>
                <c:pt idx="374">
                  <c:v>2.6315789472999999E-2</c:v>
                </c:pt>
                <c:pt idx="375">
                  <c:v>2.6987600290999999E-2</c:v>
                </c:pt>
                <c:pt idx="376">
                  <c:v>2.7073932661999998E-2</c:v>
                </c:pt>
                <c:pt idx="377">
                  <c:v>2.5513819984999998E-2</c:v>
                </c:pt>
                <c:pt idx="378">
                  <c:v>2.5799418604E-2</c:v>
                </c:pt>
                <c:pt idx="379">
                  <c:v>2.8010302640000002E-2</c:v>
                </c:pt>
                <c:pt idx="380">
                  <c:v>3.0581039755000001E-2</c:v>
                </c:pt>
                <c:pt idx="381">
                  <c:v>3.1765805044999998E-2</c:v>
                </c:pt>
                <c:pt idx="382">
                  <c:v>3.0079622529999999E-2</c:v>
                </c:pt>
                <c:pt idx="383">
                  <c:v>3.1588183679000001E-2</c:v>
                </c:pt>
                <c:pt idx="384">
                  <c:v>3.1440781440000003E-2</c:v>
                </c:pt>
                <c:pt idx="385">
                  <c:v>3.1434796139999999E-2</c:v>
                </c:pt>
                <c:pt idx="386">
                  <c:v>3.3174023052999997E-2</c:v>
                </c:pt>
                <c:pt idx="387">
                  <c:v>2.8969663842000001E-2</c:v>
                </c:pt>
                <c:pt idx="388">
                  <c:v>2.5931034482000001E-2</c:v>
                </c:pt>
                <c:pt idx="389">
                  <c:v>2.5662482566000001E-2</c:v>
                </c:pt>
                <c:pt idx="390">
                  <c:v>2.8956986224E-2</c:v>
                </c:pt>
                <c:pt idx="391">
                  <c:v>2.5793650793E-2</c:v>
                </c:pt>
                <c:pt idx="392">
                  <c:v>2.9318769761000001E-2</c:v>
                </c:pt>
                <c:pt idx="393">
                  <c:v>3.2006048386999997E-2</c:v>
                </c:pt>
                <c:pt idx="394">
                  <c:v>2.9537995455E-2</c:v>
                </c:pt>
                <c:pt idx="395">
                  <c:v>3.2446938277000001E-2</c:v>
                </c:pt>
                <c:pt idx="396">
                  <c:v>3.3125833702999999E-2</c:v>
                </c:pt>
                <c:pt idx="397">
                  <c:v>3.2830889943999998E-2</c:v>
                </c:pt>
                <c:pt idx="398">
                  <c:v>3.2092162106000001E-2</c:v>
                </c:pt>
                <c:pt idx="399">
                  <c:v>3.3193277309999998E-2</c:v>
                </c:pt>
                <c:pt idx="400">
                  <c:v>3.1519699812E-2</c:v>
                </c:pt>
                <c:pt idx="401">
                  <c:v>3.0407740151999998E-2</c:v>
                </c:pt>
                <c:pt idx="402">
                  <c:v>3.2536938069000002E-2</c:v>
                </c:pt>
                <c:pt idx="403">
                  <c:v>3.2029007402000001E-2</c:v>
                </c:pt>
                <c:pt idx="404">
                  <c:v>3.2608695652000003E-2</c:v>
                </c:pt>
                <c:pt idx="405">
                  <c:v>3.2951945080000003E-2</c:v>
                </c:pt>
                <c:pt idx="406">
                  <c:v>3.4694843083999997E-2</c:v>
                </c:pt>
                <c:pt idx="407">
                  <c:v>3.7182792780000001E-2</c:v>
                </c:pt>
                <c:pt idx="408">
                  <c:v>3.7124410230000002E-2</c:v>
                </c:pt>
                <c:pt idx="409">
                  <c:v>3.6227580471999997E-2</c:v>
                </c:pt>
                <c:pt idx="410">
                  <c:v>3.4335727109E-2</c:v>
                </c:pt>
                <c:pt idx="411">
                  <c:v>3.4735106162999997E-2</c:v>
                </c:pt>
                <c:pt idx="412">
                  <c:v>3.4955797174999997E-2</c:v>
                </c:pt>
                <c:pt idx="413">
                  <c:v>3.6312568963000003E-2</c:v>
                </c:pt>
                <c:pt idx="414">
                  <c:v>3.7140509448999999E-2</c:v>
                </c:pt>
                <c:pt idx="415">
                  <c:v>3.5244794996999999E-2</c:v>
                </c:pt>
                <c:pt idx="416">
                  <c:v>3.4645967436E-2</c:v>
                </c:pt>
                <c:pt idx="417">
                  <c:v>3.3292574477E-2</c:v>
                </c:pt>
                <c:pt idx="418">
                  <c:v>3.2721121313999998E-2</c:v>
                </c:pt>
                <c:pt idx="419">
                  <c:v>3.1342319053999999E-2</c:v>
                </c:pt>
                <c:pt idx="420">
                  <c:v>3.1728273516000001E-2</c:v>
                </c:pt>
                <c:pt idx="421">
                  <c:v>3.3517823276000003E-2</c:v>
                </c:pt>
                <c:pt idx="422">
                  <c:v>3.2478285848999998E-2</c:v>
                </c:pt>
                <c:pt idx="423">
                  <c:v>3.2074768676000003E-2</c:v>
                </c:pt>
                <c:pt idx="424">
                  <c:v>3.1548584820000003E-2</c:v>
                </c:pt>
                <c:pt idx="425">
                  <c:v>3.2913323538999999E-2</c:v>
                </c:pt>
                <c:pt idx="426">
                  <c:v>3.2552874261000002E-2</c:v>
                </c:pt>
                <c:pt idx="427">
                  <c:v>3.4727202515E-2</c:v>
                </c:pt>
                <c:pt idx="428">
                  <c:v>3.6662542824E-2</c:v>
                </c:pt>
                <c:pt idx="429">
                  <c:v>3.4433586377000003E-2</c:v>
                </c:pt>
                <c:pt idx="430">
                  <c:v>3.4297731828999999E-2</c:v>
                </c:pt>
                <c:pt idx="431">
                  <c:v>3.4088997700999997E-2</c:v>
                </c:pt>
                <c:pt idx="432">
                  <c:v>3.3813861113999998E-2</c:v>
                </c:pt>
                <c:pt idx="433">
                  <c:v>3.3034781566000003E-2</c:v>
                </c:pt>
                <c:pt idx="434">
                  <c:v>3.4821190877000002E-2</c:v>
                </c:pt>
                <c:pt idx="435">
                  <c:v>3.5963209317999997E-2</c:v>
                </c:pt>
                <c:pt idx="436">
                  <c:v>3.3105562478999997E-2</c:v>
                </c:pt>
                <c:pt idx="437">
                  <c:v>3.3075969878000003E-2</c:v>
                </c:pt>
                <c:pt idx="438">
                  <c:v>3.2845930544999999E-2</c:v>
                </c:pt>
                <c:pt idx="439">
                  <c:v>3.1469447320000003E-2</c:v>
                </c:pt>
                <c:pt idx="440">
                  <c:v>3.1636245599000003E-2</c:v>
                </c:pt>
                <c:pt idx="441">
                  <c:v>3.2403937440000002E-2</c:v>
                </c:pt>
                <c:pt idx="442">
                  <c:v>3.3802848694E-2</c:v>
                </c:pt>
                <c:pt idx="443">
                  <c:v>3.0465175643000001E-2</c:v>
                </c:pt>
                <c:pt idx="444">
                  <c:v>2.9683065279000002E-2</c:v>
                </c:pt>
                <c:pt idx="445">
                  <c:v>3.0161406413999999E-2</c:v>
                </c:pt>
                <c:pt idx="446">
                  <c:v>2.8945312841999998E-2</c:v>
                </c:pt>
                <c:pt idx="447">
                  <c:v>2.8800813363999998E-2</c:v>
                </c:pt>
                <c:pt idx="448">
                  <c:v>2.8872063539000001E-2</c:v>
                </c:pt>
                <c:pt idx="449">
                  <c:v>3.0260310799E-2</c:v>
                </c:pt>
                <c:pt idx="450">
                  <c:v>2.7494004708000001E-2</c:v>
                </c:pt>
                <c:pt idx="451">
                  <c:v>2.7778831059E-2</c:v>
                </c:pt>
                <c:pt idx="452">
                  <c:v>2.7280407145000001E-2</c:v>
                </c:pt>
                <c:pt idx="453">
                  <c:v>2.6111253221999999E-2</c:v>
                </c:pt>
                <c:pt idx="454">
                  <c:v>2.6475330764999999E-2</c:v>
                </c:pt>
                <c:pt idx="455">
                  <c:v>2.7338928208000001E-2</c:v>
                </c:pt>
                <c:pt idx="456">
                  <c:v>2.7740170939999999E-2</c:v>
                </c:pt>
                <c:pt idx="457">
                  <c:v>2.5676879751000001E-2</c:v>
                </c:pt>
                <c:pt idx="458">
                  <c:v>2.5376009234000001E-2</c:v>
                </c:pt>
                <c:pt idx="459">
                  <c:v>2.5665367464E-2</c:v>
                </c:pt>
                <c:pt idx="460">
                  <c:v>2.5938978086999999E-2</c:v>
                </c:pt>
                <c:pt idx="461">
                  <c:v>2.6399846065E-2</c:v>
                </c:pt>
                <c:pt idx="462">
                  <c:v>2.6783693789000002E-2</c:v>
                </c:pt>
                <c:pt idx="463">
                  <c:v>2.7775641124000001E-2</c:v>
                </c:pt>
                <c:pt idx="464">
                  <c:v>2.6257144156000001E-2</c:v>
                </c:pt>
                <c:pt idx="465">
                  <c:v>2.6690984061000001E-2</c:v>
                </c:pt>
                <c:pt idx="466">
                  <c:v>2.7713238439000001E-2</c:v>
                </c:pt>
                <c:pt idx="467">
                  <c:v>2.7956989246999998E-2</c:v>
                </c:pt>
                <c:pt idx="468">
                  <c:v>2.8727154296999999E-2</c:v>
                </c:pt>
                <c:pt idx="469">
                  <c:v>2.9699722173000001E-2</c:v>
                </c:pt>
                <c:pt idx="470">
                  <c:v>3.0500518848000001E-2</c:v>
                </c:pt>
                <c:pt idx="471">
                  <c:v>2.8204414854E-2</c:v>
                </c:pt>
                <c:pt idx="472">
                  <c:v>2.9412375415000001E-2</c:v>
                </c:pt>
                <c:pt idx="473">
                  <c:v>3.0408873810999999E-2</c:v>
                </c:pt>
                <c:pt idx="474">
                  <c:v>3.044752043E-2</c:v>
                </c:pt>
                <c:pt idx="475">
                  <c:v>3.0118239121999998E-2</c:v>
                </c:pt>
                <c:pt idx="476">
                  <c:v>3.1094938802E-2</c:v>
                </c:pt>
                <c:pt idx="477">
                  <c:v>3.1406203341E-2</c:v>
                </c:pt>
                <c:pt idx="478">
                  <c:v>2.9091523309E-2</c:v>
                </c:pt>
                <c:pt idx="479">
                  <c:v>3.0521095463000001E-2</c:v>
                </c:pt>
                <c:pt idx="480">
                  <c:v>2.9844888218999999E-2</c:v>
                </c:pt>
                <c:pt idx="481">
                  <c:v>2.9373588663000001E-2</c:v>
                </c:pt>
                <c:pt idx="482">
                  <c:v>3.1755876697000002E-2</c:v>
                </c:pt>
                <c:pt idx="483">
                  <c:v>3.4077344083999997E-2</c:v>
                </c:pt>
                <c:pt idx="484">
                  <c:v>3.5565469927E-2</c:v>
                </c:pt>
                <c:pt idx="485">
                  <c:v>3.3794482872999999E-2</c:v>
                </c:pt>
                <c:pt idx="486">
                  <c:v>3.7036161663E-2</c:v>
                </c:pt>
                <c:pt idx="487">
                  <c:v>3.7106762447000001E-2</c:v>
                </c:pt>
                <c:pt idx="488">
                  <c:v>3.8913884284E-2</c:v>
                </c:pt>
                <c:pt idx="489">
                  <c:v>4.0049657256000001E-2</c:v>
                </c:pt>
                <c:pt idx="490">
                  <c:v>3.8580287636E-2</c:v>
                </c:pt>
                <c:pt idx="491">
                  <c:v>3.4219775846999999E-2</c:v>
                </c:pt>
                <c:pt idx="492">
                  <c:v>2.9390562889999999E-2</c:v>
                </c:pt>
                <c:pt idx="493">
                  <c:v>2.8252565989999999E-2</c:v>
                </c:pt>
                <c:pt idx="494">
                  <c:v>2.5430888812999999E-2</c:v>
                </c:pt>
                <c:pt idx="495">
                  <c:v>2.3786830217999998E-2</c:v>
                </c:pt>
                <c:pt idx="496">
                  <c:v>2.3355284053000001E-2</c:v>
                </c:pt>
                <c:pt idx="497">
                  <c:v>2.2311750990999999E-2</c:v>
                </c:pt>
                <c:pt idx="498">
                  <c:v>2.0560300396999999E-2</c:v>
                </c:pt>
                <c:pt idx="499">
                  <c:v>1.7855585973E-2</c:v>
                </c:pt>
                <c:pt idx="500">
                  <c:v>1.5672965412999999E-2</c:v>
                </c:pt>
                <c:pt idx="501">
                  <c:v>1.3155177069999999E-2</c:v>
                </c:pt>
                <c:pt idx="502">
                  <c:v>1.1391094235E-2</c:v>
                </c:pt>
                <c:pt idx="503">
                  <c:v>1.0229115555E-2</c:v>
                </c:pt>
                <c:pt idx="504">
                  <c:v>9.3066419190000003E-3</c:v>
                </c:pt>
                <c:pt idx="505">
                  <c:v>8.5291745090000006E-3</c:v>
                </c:pt>
                <c:pt idx="506">
                  <c:v>7.0629266450000002E-3</c:v>
                </c:pt>
                <c:pt idx="507">
                  <c:v>6.6766333479999999E-3</c:v>
                </c:pt>
                <c:pt idx="508">
                  <c:v>6.4930077979999997E-3</c:v>
                </c:pt>
                <c:pt idx="509">
                  <c:v>6.4933833239999997E-3</c:v>
                </c:pt>
                <c:pt idx="510">
                  <c:v>6.4915181569999997E-3</c:v>
                </c:pt>
                <c:pt idx="511">
                  <c:v>6.7585785410000003E-3</c:v>
                </c:pt>
                <c:pt idx="512">
                  <c:v>7.2297524830000001E-3</c:v>
                </c:pt>
                <c:pt idx="513">
                  <c:v>7.1402303019999997E-3</c:v>
                </c:pt>
                <c:pt idx="514">
                  <c:v>7.1824259779999997E-3</c:v>
                </c:pt>
                <c:pt idx="515">
                  <c:v>7.3372945719999997E-3</c:v>
                </c:pt>
                <c:pt idx="516">
                  <c:v>7.3819697080000002E-3</c:v>
                </c:pt>
                <c:pt idx="517">
                  <c:v>7.5674537070000002E-3</c:v>
                </c:pt>
                <c:pt idx="518">
                  <c:v>7.9787437099999997E-3</c:v>
                </c:pt>
                <c:pt idx="519">
                  <c:v>8.7114454820000006E-3</c:v>
                </c:pt>
                <c:pt idx="520">
                  <c:v>8.6498449770000003E-3</c:v>
                </c:pt>
                <c:pt idx="521">
                  <c:v>9.0510325549999996E-3</c:v>
                </c:pt>
                <c:pt idx="522">
                  <c:v>9.8246286660000001E-3</c:v>
                </c:pt>
                <c:pt idx="523">
                  <c:v>1.0425698541999999E-2</c:v>
                </c:pt>
                <c:pt idx="524">
                  <c:v>1.12117095E-2</c:v>
                </c:pt>
                <c:pt idx="525">
                  <c:v>1.19031655E-2</c:v>
                </c:pt>
                <c:pt idx="526">
                  <c:v>1.3058103739E-2</c:v>
                </c:pt>
                <c:pt idx="527">
                  <c:v>1.2807424941E-2</c:v>
                </c:pt>
                <c:pt idx="528">
                  <c:v>1.4370566671E-2</c:v>
                </c:pt>
                <c:pt idx="529">
                  <c:v>1.5660743370000001E-2</c:v>
                </c:pt>
                <c:pt idx="530">
                  <c:v>1.6899896067999999E-2</c:v>
                </c:pt>
                <c:pt idx="531">
                  <c:v>1.7753523444999999E-2</c:v>
                </c:pt>
                <c:pt idx="532">
                  <c:v>1.9104045213E-2</c:v>
                </c:pt>
                <c:pt idx="533">
                  <c:v>2.0005814992999998E-2</c:v>
                </c:pt>
                <c:pt idx="534">
                  <c:v>1.9328270764E-2</c:v>
                </c:pt>
                <c:pt idx="535">
                  <c:v>2.1473410227E-2</c:v>
                </c:pt>
                <c:pt idx="536">
                  <c:v>2.2475440397000002E-2</c:v>
                </c:pt>
                <c:pt idx="537">
                  <c:v>2.2959753427999999E-2</c:v>
                </c:pt>
                <c:pt idx="538">
                  <c:v>2.3827518333000001E-2</c:v>
                </c:pt>
                <c:pt idx="539">
                  <c:v>2.4875796878000001E-2</c:v>
                </c:pt>
                <c:pt idx="540">
                  <c:v>2.5611321320000002E-2</c:v>
                </c:pt>
                <c:pt idx="541">
                  <c:v>2.4747642043E-2</c:v>
                </c:pt>
                <c:pt idx="542">
                  <c:v>2.7325426574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do_3_dne_7dni_shift3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-0.13881366858999999</c:v>
                </c:pt>
                <c:pt idx="1">
                  <c:v>-5.4732697000000002E-4</c:v>
                </c:pt>
                <c:pt idx="2">
                  <c:v>-3.4559060999999999E-3</c:v>
                </c:pt>
                <c:pt idx="3">
                  <c:v>3.6471887670000001E-2</c:v>
                </c:pt>
                <c:pt idx="4">
                  <c:v>0.11462600166</c:v>
                </c:pt>
                <c:pt idx="5">
                  <c:v>0.12929426046</c:v>
                </c:pt>
                <c:pt idx="6">
                  <c:v>0.15297270059000001</c:v>
                </c:pt>
                <c:pt idx="7">
                  <c:v>-1.160135195E-2</c:v>
                </c:pt>
                <c:pt idx="8">
                  <c:v>0.11275686338</c:v>
                </c:pt>
                <c:pt idx="9">
                  <c:v>-5.652640691E-2</c:v>
                </c:pt>
                <c:pt idx="10">
                  <c:v>-0.14719972274000001</c:v>
                </c:pt>
                <c:pt idx="11">
                  <c:v>-0.14601819825000001</c:v>
                </c:pt>
                <c:pt idx="12">
                  <c:v>-0.22376417402000001</c:v>
                </c:pt>
                <c:pt idx="13">
                  <c:v>-0.24218366848</c:v>
                </c:pt>
                <c:pt idx="14">
                  <c:v>-0.33194318054999999</c:v>
                </c:pt>
                <c:pt idx="15">
                  <c:v>-0.19088831841000001</c:v>
                </c:pt>
                <c:pt idx="16">
                  <c:v>-8.1099207600000001E-2</c:v>
                </c:pt>
                <c:pt idx="17">
                  <c:v>3.0786376210000001E-2</c:v>
                </c:pt>
                <c:pt idx="18">
                  <c:v>0.16663202041</c:v>
                </c:pt>
                <c:pt idx="19">
                  <c:v>0.20793144109</c:v>
                </c:pt>
                <c:pt idx="20">
                  <c:v>0.1943207203</c:v>
                </c:pt>
                <c:pt idx="21">
                  <c:v>0.21622676963000001</c:v>
                </c:pt>
                <c:pt idx="22">
                  <c:v>0.1768543202</c:v>
                </c:pt>
                <c:pt idx="23">
                  <c:v>0.15058699549999999</c:v>
                </c:pt>
                <c:pt idx="24">
                  <c:v>7.2535132739999994E-2</c:v>
                </c:pt>
                <c:pt idx="25">
                  <c:v>0.14899891412999999</c:v>
                </c:pt>
                <c:pt idx="26">
                  <c:v>0.17301928093999999</c:v>
                </c:pt>
                <c:pt idx="27">
                  <c:v>0.13630625100999999</c:v>
                </c:pt>
                <c:pt idx="28">
                  <c:v>0.20757665616000001</c:v>
                </c:pt>
                <c:pt idx="29">
                  <c:v>0.27456932868</c:v>
                </c:pt>
                <c:pt idx="30">
                  <c:v>0.41035125304999998</c:v>
                </c:pt>
                <c:pt idx="31">
                  <c:v>0.38602925234000002</c:v>
                </c:pt>
                <c:pt idx="32">
                  <c:v>0.39800054410000002</c:v>
                </c:pt>
                <c:pt idx="33">
                  <c:v>0.35804522981999998</c:v>
                </c:pt>
                <c:pt idx="34">
                  <c:v>0.27937834603</c:v>
                </c:pt>
                <c:pt idx="35">
                  <c:v>0.27324857933000002</c:v>
                </c:pt>
                <c:pt idx="36">
                  <c:v>0.25553547954</c:v>
                </c:pt>
                <c:pt idx="37">
                  <c:v>0.15443975224000001</c:v>
                </c:pt>
                <c:pt idx="38">
                  <c:v>0.10739113712999999</c:v>
                </c:pt>
                <c:pt idx="39">
                  <c:v>9.3153527659999999E-2</c:v>
                </c:pt>
                <c:pt idx="40">
                  <c:v>7.6841530000000004E-4</c:v>
                </c:pt>
                <c:pt idx="41">
                  <c:v>-6.0610750919999998E-2</c:v>
                </c:pt>
                <c:pt idx="42">
                  <c:v>-7.5874726330000003E-2</c:v>
                </c:pt>
                <c:pt idx="43">
                  <c:v>-7.4442841000000003E-3</c:v>
                </c:pt>
                <c:pt idx="44">
                  <c:v>-4.2525789539999997E-2</c:v>
                </c:pt>
                <c:pt idx="45">
                  <c:v>-7.6168689070000004E-2</c:v>
                </c:pt>
                <c:pt idx="46">
                  <c:v>-5.6656719279999997E-2</c:v>
                </c:pt>
                <c:pt idx="47">
                  <c:v>-9.499939499E-2</c:v>
                </c:pt>
                <c:pt idx="48">
                  <c:v>-0.11542984462</c:v>
                </c:pt>
                <c:pt idx="49">
                  <c:v>-0.10783832893</c:v>
                </c:pt>
                <c:pt idx="50">
                  <c:v>-1.9740874790000001E-2</c:v>
                </c:pt>
                <c:pt idx="51">
                  <c:v>-2.2514148210000001E-2</c:v>
                </c:pt>
                <c:pt idx="52">
                  <c:v>2.5510582149999999E-2</c:v>
                </c:pt>
                <c:pt idx="53">
                  <c:v>7.0573829490000003E-2</c:v>
                </c:pt>
                <c:pt idx="54">
                  <c:v>3.7746959050000001E-2</c:v>
                </c:pt>
                <c:pt idx="55">
                  <c:v>1.001266225E-2</c:v>
                </c:pt>
                <c:pt idx="56">
                  <c:v>6.5588610399999999E-3</c:v>
                </c:pt>
                <c:pt idx="57">
                  <c:v>8.2784652919999993E-2</c:v>
                </c:pt>
                <c:pt idx="58">
                  <c:v>3.3147073749999999E-2</c:v>
                </c:pt>
                <c:pt idx="59">
                  <c:v>2.812078883E-2</c:v>
                </c:pt>
                <c:pt idx="60">
                  <c:v>5.2400690710000003E-2</c:v>
                </c:pt>
                <c:pt idx="61">
                  <c:v>6.0703356579999999E-2</c:v>
                </c:pt>
                <c:pt idx="62">
                  <c:v>3.9611882500000001E-2</c:v>
                </c:pt>
                <c:pt idx="63">
                  <c:v>3.3268687399999997E-2</c:v>
                </c:pt>
                <c:pt idx="64">
                  <c:v>0.11252944754999999</c:v>
                </c:pt>
                <c:pt idx="65">
                  <c:v>0.10150884773</c:v>
                </c:pt>
                <c:pt idx="66">
                  <c:v>6.4697868239999998E-2</c:v>
                </c:pt>
                <c:pt idx="67">
                  <c:v>4.9756234339999997E-2</c:v>
                </c:pt>
                <c:pt idx="68">
                  <c:v>1.435156407E-2</c:v>
                </c:pt>
                <c:pt idx="69">
                  <c:v>-1.1666341780000001E-2</c:v>
                </c:pt>
                <c:pt idx="70">
                  <c:v>-1.19756507E-3</c:v>
                </c:pt>
                <c:pt idx="71">
                  <c:v>4.6871360889999998E-2</c:v>
                </c:pt>
                <c:pt idx="72">
                  <c:v>2.6604392630000001E-2</c:v>
                </c:pt>
                <c:pt idx="73">
                  <c:v>9.6780716199999992E-3</c:v>
                </c:pt>
                <c:pt idx="74">
                  <c:v>9.6256866029999999E-2</c:v>
                </c:pt>
                <c:pt idx="75">
                  <c:v>0.14617507124000001</c:v>
                </c:pt>
                <c:pt idx="76">
                  <c:v>0.15813914096000001</c:v>
                </c:pt>
                <c:pt idx="77">
                  <c:v>0.17503784261999999</c:v>
                </c:pt>
                <c:pt idx="78">
                  <c:v>0.25886602267999997</c:v>
                </c:pt>
                <c:pt idx="79">
                  <c:v>0.23247173652</c:v>
                </c:pt>
                <c:pt idx="80">
                  <c:v>0.18837581523999999</c:v>
                </c:pt>
                <c:pt idx="81">
                  <c:v>0.12705524281</c:v>
                </c:pt>
                <c:pt idx="82">
                  <c:v>5.3772821460000002E-2</c:v>
                </c:pt>
                <c:pt idx="83">
                  <c:v>1.081973982E-2</c:v>
                </c:pt>
                <c:pt idx="84">
                  <c:v>9.4738953599999998E-3</c:v>
                </c:pt>
                <c:pt idx="85">
                  <c:v>5.2721638199999997E-2</c:v>
                </c:pt>
                <c:pt idx="86">
                  <c:v>-9.1900166599999996E-3</c:v>
                </c:pt>
                <c:pt idx="87">
                  <c:v>9.6612444399999994E-3</c:v>
                </c:pt>
                <c:pt idx="88">
                  <c:v>2.91878702E-2</c:v>
                </c:pt>
                <c:pt idx="89">
                  <c:v>3.048174415E-2</c:v>
                </c:pt>
                <c:pt idx="90">
                  <c:v>3.6814032650000002E-2</c:v>
                </c:pt>
                <c:pt idx="91">
                  <c:v>7.0335084019999994E-2</c:v>
                </c:pt>
                <c:pt idx="92">
                  <c:v>0.12803926484</c:v>
                </c:pt>
                <c:pt idx="93">
                  <c:v>8.8131804159999994E-2</c:v>
                </c:pt>
                <c:pt idx="94">
                  <c:v>6.7585361479999995E-2</c:v>
                </c:pt>
                <c:pt idx="95">
                  <c:v>5.1836456420000003E-2</c:v>
                </c:pt>
                <c:pt idx="96">
                  <c:v>-2.1530562869999999E-2</c:v>
                </c:pt>
                <c:pt idx="97">
                  <c:v>-3.9114212490000001E-2</c:v>
                </c:pt>
                <c:pt idx="98">
                  <c:v>-1.279065307E-2</c:v>
                </c:pt>
                <c:pt idx="99">
                  <c:v>1.6849564639999998E-2</c:v>
                </c:pt>
                <c:pt idx="100">
                  <c:v>-2.6139519520000001E-2</c:v>
                </c:pt>
                <c:pt idx="101">
                  <c:v>-3.9442983430000002E-2</c:v>
                </c:pt>
                <c:pt idx="102">
                  <c:v>-2.8954452360000001E-2</c:v>
                </c:pt>
                <c:pt idx="103">
                  <c:v>-0.10577922884</c:v>
                </c:pt>
                <c:pt idx="104">
                  <c:v>-0.14991844137999999</c:v>
                </c:pt>
                <c:pt idx="105">
                  <c:v>-0.14537982132999999</c:v>
                </c:pt>
                <c:pt idx="106">
                  <c:v>-6.5995400460000006E-2</c:v>
                </c:pt>
                <c:pt idx="107">
                  <c:v>-0.12718213310000001</c:v>
                </c:pt>
                <c:pt idx="108">
                  <c:v>-0.14898283608999999</c:v>
                </c:pt>
                <c:pt idx="109">
                  <c:v>-0.14495136063</c:v>
                </c:pt>
                <c:pt idx="110">
                  <c:v>-0.19213102568000001</c:v>
                </c:pt>
                <c:pt idx="111">
                  <c:v>-0.20359619936000001</c:v>
                </c:pt>
                <c:pt idx="112">
                  <c:v>-0.22075571543</c:v>
                </c:pt>
                <c:pt idx="113">
                  <c:v>-0.15985653476</c:v>
                </c:pt>
                <c:pt idx="114">
                  <c:v>-0.22188789615000001</c:v>
                </c:pt>
                <c:pt idx="115">
                  <c:v>-0.25583922091</c:v>
                </c:pt>
                <c:pt idx="116">
                  <c:v>-0.22311034788</c:v>
                </c:pt>
                <c:pt idx="117">
                  <c:v>-0.17984476759000001</c:v>
                </c:pt>
                <c:pt idx="118">
                  <c:v>-9.8669266689999993E-2</c:v>
                </c:pt>
                <c:pt idx="119">
                  <c:v>1.60999374E-3</c:v>
                </c:pt>
                <c:pt idx="120">
                  <c:v>0.15396180246999999</c:v>
                </c:pt>
                <c:pt idx="121">
                  <c:v>0.18330996401999999</c:v>
                </c:pt>
                <c:pt idx="122">
                  <c:v>0.17781438509</c:v>
                </c:pt>
                <c:pt idx="123">
                  <c:v>0.16913380244000001</c:v>
                </c:pt>
                <c:pt idx="124">
                  <c:v>9.8584658049999996E-2</c:v>
                </c:pt>
                <c:pt idx="125">
                  <c:v>2.7944112439999998E-2</c:v>
                </c:pt>
                <c:pt idx="126">
                  <c:v>-7.3921805099999996E-3</c:v>
                </c:pt>
                <c:pt idx="127">
                  <c:v>1.4476056669999999E-2</c:v>
                </c:pt>
                <c:pt idx="128">
                  <c:v>-4.2575018199999997E-3</c:v>
                </c:pt>
                <c:pt idx="129">
                  <c:v>-6.163725271E-2</c:v>
                </c:pt>
                <c:pt idx="130">
                  <c:v>-9.603552873E-2</c:v>
                </c:pt>
                <c:pt idx="131">
                  <c:v>-0.12050019468000001</c:v>
                </c:pt>
                <c:pt idx="132">
                  <c:v>-0.12864790666000001</c:v>
                </c:pt>
                <c:pt idx="133">
                  <c:v>-0.12182642281</c:v>
                </c:pt>
                <c:pt idx="134">
                  <c:v>-9.1103651549999998E-2</c:v>
                </c:pt>
                <c:pt idx="135">
                  <c:v>-7.5854499620000002E-2</c:v>
                </c:pt>
                <c:pt idx="136">
                  <c:v>-9.2340400049999993E-2</c:v>
                </c:pt>
                <c:pt idx="137">
                  <c:v>-5.6490236829999999E-2</c:v>
                </c:pt>
                <c:pt idx="138">
                  <c:v>-7.2780655799999996E-3</c:v>
                </c:pt>
                <c:pt idx="139">
                  <c:v>6.9351951039999998E-2</c:v>
                </c:pt>
                <c:pt idx="140">
                  <c:v>0.10677270832000001</c:v>
                </c:pt>
                <c:pt idx="141">
                  <c:v>0.11988724129</c:v>
                </c:pt>
                <c:pt idx="142">
                  <c:v>9.9368173389999995E-2</c:v>
                </c:pt>
                <c:pt idx="143">
                  <c:v>5.437152151E-2</c:v>
                </c:pt>
                <c:pt idx="144">
                  <c:v>6.4887867890000006E-2</c:v>
                </c:pt>
                <c:pt idx="145">
                  <c:v>2.394431633E-2</c:v>
                </c:pt>
                <c:pt idx="146">
                  <c:v>3.6873983919999999E-2</c:v>
                </c:pt>
                <c:pt idx="147">
                  <c:v>6.9412934029999998E-2</c:v>
                </c:pt>
                <c:pt idx="148">
                  <c:v>9.2107411819999999E-2</c:v>
                </c:pt>
                <c:pt idx="149">
                  <c:v>4.7784937899999998E-2</c:v>
                </c:pt>
                <c:pt idx="150">
                  <c:v>9.2086995499999994E-3</c:v>
                </c:pt>
                <c:pt idx="151">
                  <c:v>6.6999967500000002E-3</c:v>
                </c:pt>
                <c:pt idx="152">
                  <c:v>-5.6321330560000001E-2</c:v>
                </c:pt>
                <c:pt idx="153">
                  <c:v>-7.2839221379999999E-2</c:v>
                </c:pt>
                <c:pt idx="154">
                  <c:v>-4.0905217049999998E-2</c:v>
                </c:pt>
                <c:pt idx="155">
                  <c:v>2.4885569390000001E-2</c:v>
                </c:pt>
                <c:pt idx="156">
                  <c:v>9.5775457E-4</c:v>
                </c:pt>
                <c:pt idx="157">
                  <c:v>-1.607939094E-2</c:v>
                </c:pt>
                <c:pt idx="158">
                  <c:v>9.3907035199999999E-3</c:v>
                </c:pt>
                <c:pt idx="159">
                  <c:v>-2.3641867029999999E-2</c:v>
                </c:pt>
                <c:pt idx="160">
                  <c:v>-2.3860509929999999E-2</c:v>
                </c:pt>
                <c:pt idx="161">
                  <c:v>-8.2143039800000005E-3</c:v>
                </c:pt>
                <c:pt idx="162">
                  <c:v>-1.0344580480000001E-2</c:v>
                </c:pt>
                <c:pt idx="163">
                  <c:v>-5.0529681989999999E-2</c:v>
                </c:pt>
                <c:pt idx="164">
                  <c:v>-6.7161003400000002E-2</c:v>
                </c:pt>
                <c:pt idx="165">
                  <c:v>-4.6372062659999998E-2</c:v>
                </c:pt>
                <c:pt idx="166">
                  <c:v>-8.7629812439999996E-2</c:v>
                </c:pt>
                <c:pt idx="167">
                  <c:v>-0.10841938421</c:v>
                </c:pt>
                <c:pt idx="168">
                  <c:v>-5.2908674459999999E-2</c:v>
                </c:pt>
                <c:pt idx="169">
                  <c:v>1.183819109E-2</c:v>
                </c:pt>
                <c:pt idx="170">
                  <c:v>1.7506050580000002E-2</c:v>
                </c:pt>
                <c:pt idx="171">
                  <c:v>-3.3180134299999999E-3</c:v>
                </c:pt>
                <c:pt idx="172">
                  <c:v>3.4853100200000001E-3</c:v>
                </c:pt>
                <c:pt idx="173">
                  <c:v>-9.9592235500000001E-3</c:v>
                </c:pt>
                <c:pt idx="174">
                  <c:v>-1.6395896810000001E-2</c:v>
                </c:pt>
                <c:pt idx="175">
                  <c:v>1.0017760860000001E-2</c:v>
                </c:pt>
                <c:pt idx="176">
                  <c:v>1.4886887519999999E-2</c:v>
                </c:pt>
                <c:pt idx="177">
                  <c:v>-4.3156204429999998E-2</c:v>
                </c:pt>
                <c:pt idx="178">
                  <c:v>-4.9067568499999999E-2</c:v>
                </c:pt>
                <c:pt idx="179">
                  <c:v>-5.6964152349999998E-2</c:v>
                </c:pt>
                <c:pt idx="180">
                  <c:v>-9.5285472019999998E-2</c:v>
                </c:pt>
                <c:pt idx="181">
                  <c:v>-0.11616649915</c:v>
                </c:pt>
                <c:pt idx="182">
                  <c:v>-9.6628357920000005E-2</c:v>
                </c:pt>
                <c:pt idx="183">
                  <c:v>-1.711371074E-2</c:v>
                </c:pt>
                <c:pt idx="184">
                  <c:v>-3.7999184110000001E-2</c:v>
                </c:pt>
                <c:pt idx="185">
                  <c:v>-3.4771792269999997E-2</c:v>
                </c:pt>
                <c:pt idx="186">
                  <c:v>-3.7914492899999999E-2</c:v>
                </c:pt>
                <c:pt idx="187">
                  <c:v>-6.0055978599999997E-2</c:v>
                </c:pt>
                <c:pt idx="188">
                  <c:v>-4.7731082709999997E-2</c:v>
                </c:pt>
                <c:pt idx="189">
                  <c:v>-3.0053580480000001E-2</c:v>
                </c:pt>
                <c:pt idx="190">
                  <c:v>2.0123523500000001E-2</c:v>
                </c:pt>
                <c:pt idx="191">
                  <c:v>-4.8396816869999998E-2</c:v>
                </c:pt>
                <c:pt idx="192">
                  <c:v>-4.2267650070000003E-2</c:v>
                </c:pt>
                <c:pt idx="193">
                  <c:v>-9.9298948000000001E-3</c:v>
                </c:pt>
                <c:pt idx="194">
                  <c:v>-9.0984686E-4</c:v>
                </c:pt>
                <c:pt idx="195">
                  <c:v>-1.2001850499999999E-3</c:v>
                </c:pt>
                <c:pt idx="196">
                  <c:v>2.6393068660000001E-2</c:v>
                </c:pt>
                <c:pt idx="197">
                  <c:v>0.10503149895</c:v>
                </c:pt>
                <c:pt idx="198">
                  <c:v>7.2875649269999995E-2</c:v>
                </c:pt>
                <c:pt idx="199">
                  <c:v>0.10158331633000001</c:v>
                </c:pt>
                <c:pt idx="200">
                  <c:v>8.1260358340000005E-2</c:v>
                </c:pt>
                <c:pt idx="201">
                  <c:v>4.8070267719999997E-2</c:v>
                </c:pt>
                <c:pt idx="202">
                  <c:v>3.2967907169999998E-2</c:v>
                </c:pt>
                <c:pt idx="203">
                  <c:v>6.1241914549999998E-2</c:v>
                </c:pt>
                <c:pt idx="204">
                  <c:v>0.11525095854</c:v>
                </c:pt>
                <c:pt idx="205">
                  <c:v>3.1160898480000001E-2</c:v>
                </c:pt>
                <c:pt idx="206">
                  <c:v>3.9828108789999997E-2</c:v>
                </c:pt>
                <c:pt idx="207">
                  <c:v>5.9917328339999999E-2</c:v>
                </c:pt>
                <c:pt idx="208">
                  <c:v>7.6084345689999999E-2</c:v>
                </c:pt>
                <c:pt idx="209">
                  <c:v>0.10433640006</c:v>
                </c:pt>
                <c:pt idx="210">
                  <c:v>0.13119326640000001</c:v>
                </c:pt>
                <c:pt idx="211">
                  <c:v>0.18243527850999999</c:v>
                </c:pt>
                <c:pt idx="212">
                  <c:v>0.10127297682</c:v>
                </c:pt>
                <c:pt idx="213">
                  <c:v>0.10097414865</c:v>
                </c:pt>
                <c:pt idx="214">
                  <c:v>8.649408619E-2</c:v>
                </c:pt>
                <c:pt idx="215">
                  <c:v>3.4805737289999999E-2</c:v>
                </c:pt>
                <c:pt idx="216">
                  <c:v>5.9886456120000001E-2</c:v>
                </c:pt>
                <c:pt idx="217">
                  <c:v>8.2642891509999997E-2</c:v>
                </c:pt>
                <c:pt idx="218">
                  <c:v>0.1554336912</c:v>
                </c:pt>
                <c:pt idx="219">
                  <c:v>0.14469830466</c:v>
                </c:pt>
                <c:pt idx="220">
                  <c:v>0.1405303175</c:v>
                </c:pt>
                <c:pt idx="221">
                  <c:v>0.13449367042999999</c:v>
                </c:pt>
                <c:pt idx="222">
                  <c:v>8.2864137399999996E-2</c:v>
                </c:pt>
                <c:pt idx="223">
                  <c:v>8.7769180239999994E-2</c:v>
                </c:pt>
                <c:pt idx="224">
                  <c:v>6.5760809049999994E-2</c:v>
                </c:pt>
                <c:pt idx="225">
                  <c:v>1.1203993549999999E-2</c:v>
                </c:pt>
                <c:pt idx="226">
                  <c:v>-9.3561139350000003E-2</c:v>
                </c:pt>
                <c:pt idx="227">
                  <c:v>-0.11889176114</c:v>
                </c:pt>
                <c:pt idx="228">
                  <c:v>-9.6366253459999995E-2</c:v>
                </c:pt>
                <c:pt idx="229">
                  <c:v>-8.9484799709999993E-2</c:v>
                </c:pt>
                <c:pt idx="230">
                  <c:v>-4.9499020130000002E-2</c:v>
                </c:pt>
                <c:pt idx="231">
                  <c:v>8.0783725999999999E-4</c:v>
                </c:pt>
                <c:pt idx="232">
                  <c:v>6.2018149379999998E-2</c:v>
                </c:pt>
                <c:pt idx="233">
                  <c:v>7.4258778959999994E-2</c:v>
                </c:pt>
                <c:pt idx="234">
                  <c:v>9.8524159910000006E-2</c:v>
                </c:pt>
                <c:pt idx="235">
                  <c:v>4.3816668699999999E-2</c:v>
                </c:pt>
                <c:pt idx="236">
                  <c:v>-2.6749724209999999E-2</c:v>
                </c:pt>
                <c:pt idx="237">
                  <c:v>-2.7549800110000001E-2</c:v>
                </c:pt>
                <c:pt idx="238">
                  <c:v>3.7613050399999998E-3</c:v>
                </c:pt>
                <c:pt idx="239">
                  <c:v>6.5660107100000004E-3</c:v>
                </c:pt>
                <c:pt idx="240">
                  <c:v>-8.6305089959999998E-2</c:v>
                </c:pt>
                <c:pt idx="241">
                  <c:v>-7.0687051570000006E-2</c:v>
                </c:pt>
                <c:pt idx="242">
                  <c:v>-6.3724282869999996E-2</c:v>
                </c:pt>
                <c:pt idx="243">
                  <c:v>-8.4342775800000006E-2</c:v>
                </c:pt>
                <c:pt idx="244">
                  <c:v>-2.736692521E-2</c:v>
                </c:pt>
                <c:pt idx="245">
                  <c:v>3.1949527229999997E-2</c:v>
                </c:pt>
                <c:pt idx="246">
                  <c:v>6.2912479110000002E-2</c:v>
                </c:pt>
                <c:pt idx="247">
                  <c:v>1.83134904E-3</c:v>
                </c:pt>
                <c:pt idx="248">
                  <c:v>5.6740820009999998E-2</c:v>
                </c:pt>
                <c:pt idx="249">
                  <c:v>0.11022008856</c:v>
                </c:pt>
                <c:pt idx="250">
                  <c:v>1.6121593850000001E-2</c:v>
                </c:pt>
                <c:pt idx="251">
                  <c:v>-1.49160799E-3</c:v>
                </c:pt>
                <c:pt idx="252">
                  <c:v>1.944732184E-2</c:v>
                </c:pt>
                <c:pt idx="253">
                  <c:v>6.7243423450000006E-2</c:v>
                </c:pt>
                <c:pt idx="254">
                  <c:v>8.3359484599999992E-3</c:v>
                </c:pt>
                <c:pt idx="255">
                  <c:v>1.2636658639999999E-2</c:v>
                </c:pt>
                <c:pt idx="256">
                  <c:v>4.0494214469999998E-2</c:v>
                </c:pt>
                <c:pt idx="257">
                  <c:v>-4.8141620650000001E-2</c:v>
                </c:pt>
                <c:pt idx="258">
                  <c:v>9.2262646899999995E-3</c:v>
                </c:pt>
                <c:pt idx="259">
                  <c:v>3.7846382939999999E-2</c:v>
                </c:pt>
                <c:pt idx="260">
                  <c:v>-3.0209212099999998E-3</c:v>
                </c:pt>
                <c:pt idx="261">
                  <c:v>-0.10588679245</c:v>
                </c:pt>
                <c:pt idx="262">
                  <c:v>-7.5696265580000005E-2</c:v>
                </c:pt>
                <c:pt idx="263">
                  <c:v>-1.338014593E-2</c:v>
                </c:pt>
                <c:pt idx="264">
                  <c:v>-0.1030321896</c:v>
                </c:pt>
                <c:pt idx="265">
                  <c:v>-7.1469611599999996E-2</c:v>
                </c:pt>
                <c:pt idx="266">
                  <c:v>-8.18866486E-3</c:v>
                </c:pt>
                <c:pt idx="267">
                  <c:v>1.6295921269999999E-2</c:v>
                </c:pt>
                <c:pt idx="268">
                  <c:v>6.4778504000000004E-3</c:v>
                </c:pt>
                <c:pt idx="269">
                  <c:v>3.3313591939999998E-2</c:v>
                </c:pt>
                <c:pt idx="270">
                  <c:v>-1.79461187E-3</c:v>
                </c:pt>
                <c:pt idx="271">
                  <c:v>-7.2332890999999996E-2</c:v>
                </c:pt>
                <c:pt idx="272">
                  <c:v>-6.4073389800000005E-2</c:v>
                </c:pt>
                <c:pt idx="273">
                  <c:v>-3.1052010309999999E-2</c:v>
                </c:pt>
                <c:pt idx="274">
                  <c:v>-5.4359508170000001E-2</c:v>
                </c:pt>
                <c:pt idx="275">
                  <c:v>-9.9361592169999999E-2</c:v>
                </c:pt>
                <c:pt idx="276">
                  <c:v>-0.10770803121</c:v>
                </c:pt>
                <c:pt idx="277">
                  <c:v>-0.19767583231999999</c:v>
                </c:pt>
                <c:pt idx="278">
                  <c:v>-0.17682940144000001</c:v>
                </c:pt>
                <c:pt idx="279">
                  <c:v>-0.18514678598000001</c:v>
                </c:pt>
                <c:pt idx="280">
                  <c:v>-0.18204576692999999</c:v>
                </c:pt>
                <c:pt idx="281">
                  <c:v>-0.19227052321999999</c:v>
                </c:pt>
                <c:pt idx="282">
                  <c:v>-0.27047559799999998</c:v>
                </c:pt>
                <c:pt idx="283">
                  <c:v>-0.17766383851000001</c:v>
                </c:pt>
                <c:pt idx="284">
                  <c:v>-0.17059438469999999</c:v>
                </c:pt>
                <c:pt idx="285">
                  <c:v>-0.14265212261999999</c:v>
                </c:pt>
                <c:pt idx="286">
                  <c:v>-0.14320054943999999</c:v>
                </c:pt>
                <c:pt idx="287">
                  <c:v>-0.14621938614999999</c:v>
                </c:pt>
                <c:pt idx="288">
                  <c:v>2.3370657480000001E-2</c:v>
                </c:pt>
                <c:pt idx="289">
                  <c:v>-8.9877485500000007E-3</c:v>
                </c:pt>
                <c:pt idx="290">
                  <c:v>0.28984432912000002</c:v>
                </c:pt>
                <c:pt idx="291">
                  <c:v>0.27985965959999998</c:v>
                </c:pt>
                <c:pt idx="292">
                  <c:v>0.25704225351999999</c:v>
                </c:pt>
                <c:pt idx="293">
                  <c:v>0.31382288616999998</c:v>
                </c:pt>
                <c:pt idx="294">
                  <c:v>0.24392857143999999</c:v>
                </c:pt>
                <c:pt idx="295">
                  <c:v>0.27826449729000002</c:v>
                </c:pt>
                <c:pt idx="296">
                  <c:v>-8.8228299639999994E-2</c:v>
                </c:pt>
                <c:pt idx="297">
                  <c:v>3.6390101999999999E-3</c:v>
                </c:pt>
                <c:pt idx="298">
                  <c:v>-0.26678685093999999</c:v>
                </c:pt>
                <c:pt idx="299">
                  <c:v>-0.34910485934000002</c:v>
                </c:pt>
                <c:pt idx="300">
                  <c:v>-0.33381782945999999</c:v>
                </c:pt>
                <c:pt idx="301">
                  <c:v>-0.35321100917999998</c:v>
                </c:pt>
                <c:pt idx="302">
                  <c:v>-0.29748062015999999</c:v>
                </c:pt>
                <c:pt idx="303">
                  <c:v>-0.46687830687999998</c:v>
                </c:pt>
                <c:pt idx="304">
                  <c:v>-0.24543829599</c:v>
                </c:pt>
                <c:pt idx="305">
                  <c:v>-0.34349593495000003</c:v>
                </c:pt>
                <c:pt idx="306">
                  <c:v>-0.33695933697000002</c:v>
                </c:pt>
                <c:pt idx="307">
                  <c:v>-0.33939393940000001</c:v>
                </c:pt>
                <c:pt idx="308">
                  <c:v>-0.43035878564000002</c:v>
                </c:pt>
                <c:pt idx="309">
                  <c:v>-0.32878002825000002</c:v>
                </c:pt>
                <c:pt idx="310">
                  <c:v>-0.49357396772000001</c:v>
                </c:pt>
                <c:pt idx="311">
                  <c:v>-0.24210526316</c:v>
                </c:pt>
                <c:pt idx="312">
                  <c:v>-0.37646188008999998</c:v>
                </c:pt>
                <c:pt idx="313">
                  <c:v>-0.36264485346000003</c:v>
                </c:pt>
                <c:pt idx="314">
                  <c:v>-0.21626442016</c:v>
                </c:pt>
                <c:pt idx="315">
                  <c:v>-0.14502689590000001</c:v>
                </c:pt>
                <c:pt idx="316">
                  <c:v>0.12177914105</c:v>
                </c:pt>
                <c:pt idx="317">
                  <c:v>-0.13786798319999999</c:v>
                </c:pt>
                <c:pt idx="318">
                  <c:v>0.20012690356000001</c:v>
                </c:pt>
                <c:pt idx="319">
                  <c:v>0.17468432408000001</c:v>
                </c:pt>
                <c:pt idx="320">
                  <c:v>0.1379080613</c:v>
                </c:pt>
                <c:pt idx="321">
                  <c:v>6.5143489560000004E-2</c:v>
                </c:pt>
                <c:pt idx="322">
                  <c:v>6.6699604899999997E-3</c:v>
                </c:pt>
                <c:pt idx="323">
                  <c:v>0.26017829909000001</c:v>
                </c:pt>
                <c:pt idx="324">
                  <c:v>8.4143008950000001E-2</c:v>
                </c:pt>
                <c:pt idx="325">
                  <c:v>0.31181318679999998</c:v>
                </c:pt>
                <c:pt idx="326">
                  <c:v>0.20225822289000001</c:v>
                </c:pt>
                <c:pt idx="327">
                  <c:v>0.32681135950000001</c:v>
                </c:pt>
                <c:pt idx="328">
                  <c:v>0.41064495931</c:v>
                </c:pt>
                <c:pt idx="329">
                  <c:v>0.35900719456000002</c:v>
                </c:pt>
                <c:pt idx="330">
                  <c:v>0.57677043830999997</c:v>
                </c:pt>
                <c:pt idx="331">
                  <c:v>0.26157697121000001</c:v>
                </c:pt>
                <c:pt idx="332">
                  <c:v>0.38929032256000001</c:v>
                </c:pt>
                <c:pt idx="333">
                  <c:v>0.26616250296999999</c:v>
                </c:pt>
                <c:pt idx="334">
                  <c:v>0.35266583455</c:v>
                </c:pt>
                <c:pt idx="335">
                  <c:v>0.25272556388</c:v>
                </c:pt>
                <c:pt idx="336">
                  <c:v>0.12541118424</c:v>
                </c:pt>
                <c:pt idx="337">
                  <c:v>0.34611275473000003</c:v>
                </c:pt>
                <c:pt idx="338">
                  <c:v>4.6958005329999997E-2</c:v>
                </c:pt>
                <c:pt idx="339">
                  <c:v>3.5133128700000002E-2</c:v>
                </c:pt>
                <c:pt idx="340">
                  <c:v>-4.242667738E-2</c:v>
                </c:pt>
                <c:pt idx="341">
                  <c:v>-2.0194141079999998E-2</c:v>
                </c:pt>
                <c:pt idx="342">
                  <c:v>-9.8393132320000007E-2</c:v>
                </c:pt>
                <c:pt idx="343">
                  <c:v>-0.23193455536999999</c:v>
                </c:pt>
                <c:pt idx="344">
                  <c:v>-5.0789073130000001E-2</c:v>
                </c:pt>
                <c:pt idx="345">
                  <c:v>-0.22771141901</c:v>
                </c:pt>
                <c:pt idx="346">
                  <c:v>-0.24144403178000001</c:v>
                </c:pt>
                <c:pt idx="347">
                  <c:v>-0.27388947324000001</c:v>
                </c:pt>
                <c:pt idx="348">
                  <c:v>-0.24884259257999999</c:v>
                </c:pt>
                <c:pt idx="349">
                  <c:v>-0.21410169491</c:v>
                </c:pt>
                <c:pt idx="350">
                  <c:v>-0.15255772795</c:v>
                </c:pt>
                <c:pt idx="351">
                  <c:v>0.12580287928</c:v>
                </c:pt>
                <c:pt idx="352">
                  <c:v>-2.2226456099999998E-3</c:v>
                </c:pt>
                <c:pt idx="353">
                  <c:v>0.11957604854999999</c:v>
                </c:pt>
                <c:pt idx="354">
                  <c:v>0.17005909391999999</c:v>
                </c:pt>
                <c:pt idx="355">
                  <c:v>0.27130122144000002</c:v>
                </c:pt>
                <c:pt idx="356">
                  <c:v>0.18984999026999999</c:v>
                </c:pt>
                <c:pt idx="357">
                  <c:v>8.9790007239999997E-2</c:v>
                </c:pt>
                <c:pt idx="358">
                  <c:v>0.14019268776999999</c:v>
                </c:pt>
                <c:pt idx="359">
                  <c:v>-7.5335729150000003E-2</c:v>
                </c:pt>
                <c:pt idx="360">
                  <c:v>-4.9370784270000002E-2</c:v>
                </c:pt>
                <c:pt idx="361">
                  <c:v>-0.17472090821</c:v>
                </c:pt>
                <c:pt idx="362">
                  <c:v>-0.17866966041999999</c:v>
                </c:pt>
                <c:pt idx="363">
                  <c:v>-0.20892426818000001</c:v>
                </c:pt>
                <c:pt idx="364">
                  <c:v>-0.12883787664999999</c:v>
                </c:pt>
                <c:pt idx="365">
                  <c:v>-7.2863340109999994E-2</c:v>
                </c:pt>
                <c:pt idx="366">
                  <c:v>-0.20412480171</c:v>
                </c:pt>
                <c:pt idx="367">
                  <c:v>6.1635848499999998E-3</c:v>
                </c:pt>
                <c:pt idx="368">
                  <c:v>-2.1744045789999999E-2</c:v>
                </c:pt>
                <c:pt idx="369">
                  <c:v>0.22114357643999999</c:v>
                </c:pt>
                <c:pt idx="370">
                  <c:v>0.34279475986000002</c:v>
                </c:pt>
                <c:pt idx="371">
                  <c:v>0.47020239878999998</c:v>
                </c:pt>
                <c:pt idx="372">
                  <c:v>0.53066914500999995</c:v>
                </c:pt>
                <c:pt idx="373">
                  <c:v>0.28648757016999998</c:v>
                </c:pt>
                <c:pt idx="374">
                  <c:v>0.32507739935000002</c:v>
                </c:pt>
                <c:pt idx="375">
                  <c:v>0.13473444946999999</c:v>
                </c:pt>
                <c:pt idx="376">
                  <c:v>3.332176328E-2</c:v>
                </c:pt>
                <c:pt idx="377">
                  <c:v>-6.1091424530000001E-2</c:v>
                </c:pt>
                <c:pt idx="378">
                  <c:v>2.815460811E-2</c:v>
                </c:pt>
                <c:pt idx="379">
                  <c:v>0.12673701267000001</c:v>
                </c:pt>
                <c:pt idx="380">
                  <c:v>0.16207951071999999</c:v>
                </c:pt>
                <c:pt idx="381">
                  <c:v>0.17705185724</c:v>
                </c:pt>
                <c:pt idx="382">
                  <c:v>0.11101785268</c:v>
                </c:pt>
                <c:pt idx="383">
                  <c:v>0.23808131033999999</c:v>
                </c:pt>
                <c:pt idx="384">
                  <c:v>0.21866240176000001</c:v>
                </c:pt>
                <c:pt idx="385">
                  <c:v>0.12225835414</c:v>
                </c:pt>
                <c:pt idx="386">
                  <c:v>8.4790553840000005E-2</c:v>
                </c:pt>
                <c:pt idx="387">
                  <c:v>-8.8023621590000004E-2</c:v>
                </c:pt>
                <c:pt idx="388">
                  <c:v>-0.13792021637999999</c:v>
                </c:pt>
                <c:pt idx="389">
                  <c:v>-0.18759233431</c:v>
                </c:pt>
                <c:pt idx="390">
                  <c:v>-7.8999156579999993E-2</c:v>
                </c:pt>
                <c:pt idx="391">
                  <c:v>-0.17945544554000001</c:v>
                </c:pt>
                <c:pt idx="392">
                  <c:v>-0.1162130166</c:v>
                </c:pt>
                <c:pt idx="393">
                  <c:v>0.10481255707000001</c:v>
                </c:pt>
                <c:pt idx="394">
                  <c:v>0.13909822900999999</c:v>
                </c:pt>
                <c:pt idx="395">
                  <c:v>0.26437254047999997</c:v>
                </c:pt>
                <c:pt idx="396">
                  <c:v>0.14396689789</c:v>
                </c:pt>
                <c:pt idx="397">
                  <c:v>0.27282834862999999</c:v>
                </c:pt>
                <c:pt idx="398">
                  <c:v>9.4594431059999998E-2</c:v>
                </c:pt>
                <c:pt idx="399">
                  <c:v>3.7093892640000001E-2</c:v>
                </c:pt>
                <c:pt idx="400">
                  <c:v>6.7090008189999994E-2</c:v>
                </c:pt>
                <c:pt idx="401">
                  <c:v>-6.2847166270000004E-2</c:v>
                </c:pt>
                <c:pt idx="402">
                  <c:v>-1.7777533969999999E-2</c:v>
                </c:pt>
                <c:pt idx="403">
                  <c:v>-2.4424636159999999E-2</c:v>
                </c:pt>
                <c:pt idx="404">
                  <c:v>1.6095317729999999E-2</c:v>
                </c:pt>
                <c:pt idx="405">
                  <c:v>-7.2705152799999997E-3</c:v>
                </c:pt>
                <c:pt idx="406">
                  <c:v>0.10073520023</c:v>
                </c:pt>
                <c:pt idx="407">
                  <c:v>0.22280684438000001</c:v>
                </c:pt>
                <c:pt idx="408">
                  <c:v>0.14099274342000001</c:v>
                </c:pt>
                <c:pt idx="409">
                  <c:v>0.1310865809</c:v>
                </c:pt>
                <c:pt idx="410">
                  <c:v>5.2962298009999999E-2</c:v>
                </c:pt>
                <c:pt idx="411">
                  <c:v>5.4113985640000001E-2</c:v>
                </c:pt>
                <c:pt idx="412">
                  <c:v>7.5214085899999996E-3</c:v>
                </c:pt>
                <c:pt idx="413">
                  <c:v>-2.3403939070000001E-2</c:v>
                </c:pt>
                <c:pt idx="414">
                  <c:v>4.3365587999999997E-4</c:v>
                </c:pt>
                <c:pt idx="415">
                  <c:v>-2.7128101349999999E-2</c:v>
                </c:pt>
                <c:pt idx="416">
                  <c:v>9.0354960499999994E-3</c:v>
                </c:pt>
                <c:pt idx="417">
                  <c:v>-4.152950272E-2</c:v>
                </c:pt>
                <c:pt idx="418">
                  <c:v>-6.3928619610000001E-2</c:v>
                </c:pt>
                <c:pt idx="419">
                  <c:v>-0.13687409211000001</c:v>
                </c:pt>
                <c:pt idx="420">
                  <c:v>-0.1457232551</c:v>
                </c:pt>
                <c:pt idx="421">
                  <c:v>-4.8999340779999997E-2</c:v>
                </c:pt>
                <c:pt idx="422">
                  <c:v>-6.2566634649999994E-2</c:v>
                </c:pt>
                <c:pt idx="423">
                  <c:v>-3.657890145E-2</c:v>
                </c:pt>
                <c:pt idx="424">
                  <c:v>-3.5834239380000001E-2</c:v>
                </c:pt>
                <c:pt idx="425">
                  <c:v>5.0124066510000002E-2</c:v>
                </c:pt>
                <c:pt idx="426">
                  <c:v>2.598946156E-2</c:v>
                </c:pt>
                <c:pt idx="427">
                  <c:v>3.6081675979999998E-2</c:v>
                </c:pt>
                <c:pt idx="428">
                  <c:v>0.12883244497999999</c:v>
                </c:pt>
                <c:pt idx="429">
                  <c:v>7.3541222530000006E-2</c:v>
                </c:pt>
                <c:pt idx="430">
                  <c:v>8.7140105479999994E-2</c:v>
                </c:pt>
                <c:pt idx="431">
                  <c:v>3.5720311269999999E-2</c:v>
                </c:pt>
                <c:pt idx="432">
                  <c:v>3.8736574930000003E-2</c:v>
                </c:pt>
                <c:pt idx="433">
                  <c:v>-4.8734733180000003E-2</c:v>
                </c:pt>
                <c:pt idx="434">
                  <c:v>-5.0224338110000002E-2</c:v>
                </c:pt>
                <c:pt idx="435">
                  <c:v>4.4422411420000002E-2</c:v>
                </c:pt>
                <c:pt idx="436">
                  <c:v>-3.4759422450000001E-2</c:v>
                </c:pt>
                <c:pt idx="437">
                  <c:v>-2.9717148969999999E-2</c:v>
                </c:pt>
                <c:pt idx="438">
                  <c:v>-2.8625260079999999E-2</c:v>
                </c:pt>
                <c:pt idx="439">
                  <c:v>-4.7384428520000001E-2</c:v>
                </c:pt>
                <c:pt idx="440">
                  <c:v>-9.1465719510000001E-2</c:v>
                </c:pt>
                <c:pt idx="441">
                  <c:v>-9.8969806790000003E-2</c:v>
                </c:pt>
                <c:pt idx="442">
                  <c:v>2.1062509220000001E-2</c:v>
                </c:pt>
                <c:pt idx="443">
                  <c:v>-7.8933263170000004E-2</c:v>
                </c:pt>
                <c:pt idx="444">
                  <c:v>-9.6293976559999994E-2</c:v>
                </c:pt>
                <c:pt idx="445">
                  <c:v>-4.1565423519999999E-2</c:v>
                </c:pt>
                <c:pt idx="446">
                  <c:v>-8.5058536680000005E-2</c:v>
                </c:pt>
                <c:pt idx="447">
                  <c:v>-0.11119402025</c:v>
                </c:pt>
                <c:pt idx="448">
                  <c:v>-0.14586892364000001</c:v>
                </c:pt>
                <c:pt idx="449">
                  <c:v>-6.7245581099999998E-3</c:v>
                </c:pt>
                <c:pt idx="450">
                  <c:v>-7.3747793569999998E-2</c:v>
                </c:pt>
                <c:pt idx="451">
                  <c:v>-7.8994172959999998E-2</c:v>
                </c:pt>
                <c:pt idx="452">
                  <c:v>-5.751900855E-2</c:v>
                </c:pt>
                <c:pt idx="453">
                  <c:v>-9.3384867570000002E-2</c:v>
                </c:pt>
                <c:pt idx="454">
                  <c:v>-8.3012174399999999E-2</c:v>
                </c:pt>
                <c:pt idx="455">
                  <c:v>-9.6541724580000002E-2</c:v>
                </c:pt>
                <c:pt idx="456">
                  <c:v>8.9534512900000009E-3</c:v>
                </c:pt>
                <c:pt idx="457">
                  <c:v>-7.5667377920000001E-2</c:v>
                </c:pt>
                <c:pt idx="458">
                  <c:v>-6.9808265719999998E-2</c:v>
                </c:pt>
                <c:pt idx="459">
                  <c:v>-1.7076382889999998E-2</c:v>
                </c:pt>
                <c:pt idx="460">
                  <c:v>-2.02585827E-2</c:v>
                </c:pt>
                <c:pt idx="461">
                  <c:v>-3.4349632720000002E-2</c:v>
                </c:pt>
                <c:pt idx="462">
                  <c:v>-3.4479857849999997E-2</c:v>
                </c:pt>
                <c:pt idx="463">
                  <c:v>8.1737399299999999E-2</c:v>
                </c:pt>
                <c:pt idx="464">
                  <c:v>3.4723147910000002E-2</c:v>
                </c:pt>
                <c:pt idx="465">
                  <c:v>3.9961110950000003E-2</c:v>
                </c:pt>
                <c:pt idx="466">
                  <c:v>6.8401320429999996E-2</c:v>
                </c:pt>
                <c:pt idx="467">
                  <c:v>5.8983040209999997E-2</c:v>
                </c:pt>
                <c:pt idx="468">
                  <c:v>7.2561332399999998E-2</c:v>
                </c:pt>
                <c:pt idx="469">
                  <c:v>6.9272246149999994E-2</c:v>
                </c:pt>
                <c:pt idx="470">
                  <c:v>0.16160838615000001</c:v>
                </c:pt>
                <c:pt idx="471">
                  <c:v>5.6701948100000003E-2</c:v>
                </c:pt>
                <c:pt idx="472">
                  <c:v>6.1311382990000003E-2</c:v>
                </c:pt>
                <c:pt idx="473">
                  <c:v>8.7702024789999999E-2</c:v>
                </c:pt>
                <c:pt idx="474">
                  <c:v>5.988640974E-2</c:v>
                </c:pt>
                <c:pt idx="475">
                  <c:v>1.409161158E-2</c:v>
                </c:pt>
                <c:pt idx="476">
                  <c:v>1.9488847279999999E-2</c:v>
                </c:pt>
                <c:pt idx="477">
                  <c:v>0.11352082656</c:v>
                </c:pt>
                <c:pt idx="478">
                  <c:v>-1.090874509E-2</c:v>
                </c:pt>
                <c:pt idx="479">
                  <c:v>3.6904244600000002E-3</c:v>
                </c:pt>
                <c:pt idx="480">
                  <c:v>-1.979248892E-2</c:v>
                </c:pt>
                <c:pt idx="481">
                  <c:v>-2.4724236229999998E-2</c:v>
                </c:pt>
                <c:pt idx="482">
                  <c:v>2.1255481449999999E-2</c:v>
                </c:pt>
                <c:pt idx="483">
                  <c:v>8.5051373890000004E-2</c:v>
                </c:pt>
                <c:pt idx="484">
                  <c:v>0.22253721638999999</c:v>
                </c:pt>
                <c:pt idx="485">
                  <c:v>0.10724999742999999</c:v>
                </c:pt>
                <c:pt idx="486">
                  <c:v>0.24095494648999999</c:v>
                </c:pt>
                <c:pt idx="487">
                  <c:v>0.26326962879999999</c:v>
                </c:pt>
                <c:pt idx="488">
                  <c:v>0.22540733657000001</c:v>
                </c:pt>
                <c:pt idx="489">
                  <c:v>0.17525758924000001</c:v>
                </c:pt>
                <c:pt idx="490">
                  <c:v>8.4768111179999994E-2</c:v>
                </c:pt>
                <c:pt idx="491">
                  <c:v>1.2584686540000001E-2</c:v>
                </c:pt>
                <c:pt idx="492">
                  <c:v>-0.20643604600000001</c:v>
                </c:pt>
                <c:pt idx="493">
                  <c:v>-0.23861409277000001</c:v>
                </c:pt>
                <c:pt idx="494">
                  <c:v>-0.34648289984000002</c:v>
                </c:pt>
                <c:pt idx="495">
                  <c:v>-0.40606657215000003</c:v>
                </c:pt>
                <c:pt idx="496">
                  <c:v>-0.39463167632000001</c:v>
                </c:pt>
                <c:pt idx="497">
                  <c:v>-0.34798664108999999</c:v>
                </c:pt>
                <c:pt idx="498">
                  <c:v>-0.30044550443000001</c:v>
                </c:pt>
                <c:pt idx="499">
                  <c:v>-0.36800126475</c:v>
                </c:pt>
                <c:pt idx="500">
                  <c:v>-0.38370359256999997</c:v>
                </c:pt>
                <c:pt idx="501">
                  <c:v>-0.44695543922999997</c:v>
                </c:pt>
                <c:pt idx="502">
                  <c:v>-0.51226907755999995</c:v>
                </c:pt>
                <c:pt idx="503">
                  <c:v>-0.54153685386999995</c:v>
                </c:pt>
                <c:pt idx="504">
                  <c:v>-0.54734893267999996</c:v>
                </c:pt>
                <c:pt idx="505">
                  <c:v>-0.52232458112000002</c:v>
                </c:pt>
                <c:pt idx="506">
                  <c:v>-0.54935607531999997</c:v>
                </c:pt>
                <c:pt idx="507">
                  <c:v>-0.49247103916000001</c:v>
                </c:pt>
                <c:pt idx="508">
                  <c:v>-0.42999261842999997</c:v>
                </c:pt>
                <c:pt idx="509">
                  <c:v>-0.36520579036</c:v>
                </c:pt>
                <c:pt idx="510">
                  <c:v>-0.30248544925999998</c:v>
                </c:pt>
                <c:pt idx="511">
                  <c:v>-0.20759288793</c:v>
                </c:pt>
                <c:pt idx="512">
                  <c:v>2.3619930710000001E-2</c:v>
                </c:pt>
                <c:pt idx="513">
                  <c:v>6.9435736519999999E-2</c:v>
                </c:pt>
                <c:pt idx="514">
                  <c:v>0.10617855413000001</c:v>
                </c:pt>
                <c:pt idx="515">
                  <c:v>0.12996479737</c:v>
                </c:pt>
                <c:pt idx="516">
                  <c:v>0.13717154130000001</c:v>
                </c:pt>
                <c:pt idx="517">
                  <c:v>0.11968125562</c:v>
                </c:pt>
                <c:pt idx="518">
                  <c:v>0.10359846049</c:v>
                </c:pt>
                <c:pt idx="519">
                  <c:v>0.22005105067</c:v>
                </c:pt>
                <c:pt idx="520">
                  <c:v>0.20430687395</c:v>
                </c:pt>
                <c:pt idx="521">
                  <c:v>0.23356537837999999</c:v>
                </c:pt>
                <c:pt idx="522">
                  <c:v>0.33089528332000001</c:v>
                </c:pt>
                <c:pt idx="523">
                  <c:v>0.37770232176000001</c:v>
                </c:pt>
                <c:pt idx="524">
                  <c:v>0.40519734779</c:v>
                </c:pt>
                <c:pt idx="525">
                  <c:v>0.36638236726000001</c:v>
                </c:pt>
                <c:pt idx="526">
                  <c:v>0.50963442393000002</c:v>
                </c:pt>
                <c:pt idx="527">
                  <c:v>0.41502362996999997</c:v>
                </c:pt>
                <c:pt idx="528">
                  <c:v>0.46270837906000001</c:v>
                </c:pt>
                <c:pt idx="529">
                  <c:v>0.50212892756000005</c:v>
                </c:pt>
                <c:pt idx="530">
                  <c:v>0.50734337774000005</c:v>
                </c:pt>
                <c:pt idx="531">
                  <c:v>0.491495976</c:v>
                </c:pt>
                <c:pt idx="532">
                  <c:v>0.46300302055999998</c:v>
                </c:pt>
                <c:pt idx="533">
                  <c:v>0.56204819354000002</c:v>
                </c:pt>
                <c:pt idx="534">
                  <c:v>0.34499015984999998</c:v>
                </c:pt>
                <c:pt idx="535">
                  <c:v>0.37116161855000002</c:v>
                </c:pt>
                <c:pt idx="536">
                  <c:v>0.32991589453999998</c:v>
                </c:pt>
                <c:pt idx="537">
                  <c:v>0.29325052005000002</c:v>
                </c:pt>
                <c:pt idx="538">
                  <c:v>0.24724989221999999</c:v>
                </c:pt>
                <c:pt idx="539">
                  <c:v>0.24342831755</c:v>
                </c:pt>
                <c:pt idx="540">
                  <c:v>0.32507049558000001</c:v>
                </c:pt>
                <c:pt idx="541">
                  <c:v>0.15247842710000001</c:v>
                </c:pt>
                <c:pt idx="542">
                  <c:v>0.21579048473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do_3_dne_7dni_shift3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3.8684719530000002E-3</c:v>
                </c:pt>
                <c:pt idx="1">
                  <c:v>4.4362292050000003E-3</c:v>
                </c:pt>
                <c:pt idx="2">
                  <c:v>5.4366292890000003E-3</c:v>
                </c:pt>
                <c:pt idx="3">
                  <c:v>4.9627791559999999E-3</c:v>
                </c:pt>
                <c:pt idx="4">
                  <c:v>5.1384527540000004E-3</c:v>
                </c:pt>
                <c:pt idx="5">
                  <c:v>5.5696202530000002E-3</c:v>
                </c:pt>
                <c:pt idx="6">
                  <c:v>6.0468631890000001E-3</c:v>
                </c:pt>
                <c:pt idx="7">
                  <c:v>5.9127863999999999E-3</c:v>
                </c:pt>
                <c:pt idx="8">
                  <c:v>6.9044879170000002E-3</c:v>
                </c:pt>
                <c:pt idx="9">
                  <c:v>5.333333333E-3</c:v>
                </c:pt>
                <c:pt idx="10">
                  <c:v>4.39857892E-3</c:v>
                </c:pt>
                <c:pt idx="11">
                  <c:v>4.5119566850000004E-3</c:v>
                </c:pt>
                <c:pt idx="12">
                  <c:v>4.4498381869999999E-3</c:v>
                </c:pt>
                <c:pt idx="13">
                  <c:v>3.8008827850000001E-3</c:v>
                </c:pt>
                <c:pt idx="14">
                  <c:v>3.790121994E-3</c:v>
                </c:pt>
                <c:pt idx="15">
                  <c:v>3.6419821210000002E-3</c:v>
                </c:pt>
                <c:pt idx="16">
                  <c:v>3.8325471690000001E-3</c:v>
                </c:pt>
                <c:pt idx="17">
                  <c:v>3.857194115E-3</c:v>
                </c:pt>
                <c:pt idx="18">
                  <c:v>4.5749142200000002E-3</c:v>
                </c:pt>
                <c:pt idx="19">
                  <c:v>4.5520231209999996E-3</c:v>
                </c:pt>
                <c:pt idx="20">
                  <c:v>4.5696877379999999E-3</c:v>
                </c:pt>
                <c:pt idx="21">
                  <c:v>5.4715622750000003E-3</c:v>
                </c:pt>
                <c:pt idx="22">
                  <c:v>5.6256860589999997E-3</c:v>
                </c:pt>
                <c:pt idx="23">
                  <c:v>5.5851898329999997E-3</c:v>
                </c:pt>
                <c:pt idx="24">
                  <c:v>5.6145858480000001E-3</c:v>
                </c:pt>
                <c:pt idx="25">
                  <c:v>6.5755320979999999E-3</c:v>
                </c:pt>
                <c:pt idx="26">
                  <c:v>6.1199510400000001E-3</c:v>
                </c:pt>
                <c:pt idx="27">
                  <c:v>6.1068702289999999E-3</c:v>
                </c:pt>
                <c:pt idx="28">
                  <c:v>6.691221608E-3</c:v>
                </c:pt>
                <c:pt idx="29">
                  <c:v>6.7510548520000003E-3</c:v>
                </c:pt>
                <c:pt idx="30">
                  <c:v>7.3206442160000003E-3</c:v>
                </c:pt>
                <c:pt idx="31">
                  <c:v>7.7215692950000003E-3</c:v>
                </c:pt>
                <c:pt idx="32">
                  <c:v>7.6550954219999998E-3</c:v>
                </c:pt>
                <c:pt idx="33">
                  <c:v>7.5126903549999997E-3</c:v>
                </c:pt>
                <c:pt idx="34">
                  <c:v>7.9237661189999996E-3</c:v>
                </c:pt>
                <c:pt idx="35">
                  <c:v>8.1381397039999998E-3</c:v>
                </c:pt>
                <c:pt idx="36">
                  <c:v>9.4371097649999999E-3</c:v>
                </c:pt>
                <c:pt idx="37">
                  <c:v>9.0664458700000002E-3</c:v>
                </c:pt>
                <c:pt idx="38">
                  <c:v>8.6454284570000005E-3</c:v>
                </c:pt>
                <c:pt idx="39">
                  <c:v>8.6339089270000002E-3</c:v>
                </c:pt>
                <c:pt idx="40">
                  <c:v>8.3160083160000002E-3</c:v>
                </c:pt>
                <c:pt idx="41">
                  <c:v>8.1490752319999995E-3</c:v>
                </c:pt>
                <c:pt idx="42">
                  <c:v>8.5467744139999993E-3</c:v>
                </c:pt>
                <c:pt idx="43">
                  <c:v>8.9810371810000005E-3</c:v>
                </c:pt>
                <c:pt idx="44">
                  <c:v>7.9677667610000003E-3</c:v>
                </c:pt>
                <c:pt idx="45">
                  <c:v>7.4699577779999997E-3</c:v>
                </c:pt>
                <c:pt idx="46">
                  <c:v>6.9708491759999996E-3</c:v>
                </c:pt>
                <c:pt idx="47">
                  <c:v>6.5867052990000001E-3</c:v>
                </c:pt>
                <c:pt idx="48">
                  <c:v>6.1557091670000003E-3</c:v>
                </c:pt>
                <c:pt idx="49">
                  <c:v>6.4964344760000004E-3</c:v>
                </c:pt>
                <c:pt idx="50">
                  <c:v>6.7691548569999999E-3</c:v>
                </c:pt>
                <c:pt idx="51">
                  <c:v>6.2456053270000004E-3</c:v>
                </c:pt>
                <c:pt idx="52">
                  <c:v>5.9359923210000002E-3</c:v>
                </c:pt>
                <c:pt idx="53">
                  <c:v>6.0029597089999998E-3</c:v>
                </c:pt>
                <c:pt idx="54">
                  <c:v>5.7772403599999998E-3</c:v>
                </c:pt>
                <c:pt idx="55">
                  <c:v>5.8664608250000002E-3</c:v>
                </c:pt>
                <c:pt idx="56">
                  <c:v>6.3289721299999999E-3</c:v>
                </c:pt>
                <c:pt idx="57">
                  <c:v>6.5934298530000001E-3</c:v>
                </c:pt>
                <c:pt idx="58">
                  <c:v>6.2501836840000002E-3</c:v>
                </c:pt>
                <c:pt idx="59">
                  <c:v>6.1415168470000002E-3</c:v>
                </c:pt>
                <c:pt idx="60">
                  <c:v>6.3075888789999998E-3</c:v>
                </c:pt>
                <c:pt idx="61">
                  <c:v>6.1832099009999997E-3</c:v>
                </c:pt>
                <c:pt idx="62">
                  <c:v>6.5719452330000004E-3</c:v>
                </c:pt>
                <c:pt idx="63">
                  <c:v>6.7581697899999999E-3</c:v>
                </c:pt>
                <c:pt idx="64">
                  <c:v>7.1664116209999998E-3</c:v>
                </c:pt>
                <c:pt idx="65">
                  <c:v>6.6061368360000004E-3</c:v>
                </c:pt>
                <c:pt idx="66">
                  <c:v>6.1266742720000001E-3</c:v>
                </c:pt>
                <c:pt idx="67">
                  <c:v>6.3311141069999997E-3</c:v>
                </c:pt>
                <c:pt idx="68">
                  <c:v>6.3795170400000002E-3</c:v>
                </c:pt>
                <c:pt idx="69">
                  <c:v>6.6483893070000003E-3</c:v>
                </c:pt>
                <c:pt idx="70">
                  <c:v>6.823626807E-3</c:v>
                </c:pt>
                <c:pt idx="71">
                  <c:v>7.0310527639999999E-3</c:v>
                </c:pt>
                <c:pt idx="72">
                  <c:v>6.4147983190000002E-3</c:v>
                </c:pt>
                <c:pt idx="73">
                  <c:v>6.4852039799999997E-3</c:v>
                </c:pt>
                <c:pt idx="74">
                  <c:v>7.1898019490000001E-3</c:v>
                </c:pt>
                <c:pt idx="75">
                  <c:v>7.1458460739999997E-3</c:v>
                </c:pt>
                <c:pt idx="76">
                  <c:v>7.5569509340000004E-3</c:v>
                </c:pt>
                <c:pt idx="77">
                  <c:v>7.905380561E-3</c:v>
                </c:pt>
                <c:pt idx="78">
                  <c:v>7.9777804040000004E-3</c:v>
                </c:pt>
                <c:pt idx="79">
                  <c:v>7.5769953430000004E-3</c:v>
                </c:pt>
                <c:pt idx="80">
                  <c:v>7.9478655239999998E-3</c:v>
                </c:pt>
                <c:pt idx="81">
                  <c:v>8.2379223680000002E-3</c:v>
                </c:pt>
                <c:pt idx="82">
                  <c:v>8.1893074530000002E-3</c:v>
                </c:pt>
                <c:pt idx="83">
                  <c:v>9.1725639620000004E-3</c:v>
                </c:pt>
                <c:pt idx="84">
                  <c:v>9.1624574179999998E-3</c:v>
                </c:pt>
                <c:pt idx="85">
                  <c:v>8.6206896549999995E-3</c:v>
                </c:pt>
                <c:pt idx="86">
                  <c:v>8.1670182270000002E-3</c:v>
                </c:pt>
                <c:pt idx="87">
                  <c:v>8.2047741689999995E-3</c:v>
                </c:pt>
                <c:pt idx="88">
                  <c:v>7.9290529339999995E-3</c:v>
                </c:pt>
                <c:pt idx="89">
                  <c:v>7.8680277280000002E-3</c:v>
                </c:pt>
                <c:pt idx="90">
                  <c:v>8.1808812160000001E-3</c:v>
                </c:pt>
                <c:pt idx="91">
                  <c:v>8.1227748780000001E-3</c:v>
                </c:pt>
                <c:pt idx="92">
                  <c:v>8.1946057550000007E-3</c:v>
                </c:pt>
                <c:pt idx="93">
                  <c:v>7.9250267310000001E-3</c:v>
                </c:pt>
                <c:pt idx="94">
                  <c:v>8.1644698009999996E-3</c:v>
                </c:pt>
                <c:pt idx="95">
                  <c:v>8.246944656E-3</c:v>
                </c:pt>
                <c:pt idx="96">
                  <c:v>8.0929720629999997E-3</c:v>
                </c:pt>
                <c:pt idx="97">
                  <c:v>8.3050334549999993E-3</c:v>
                </c:pt>
                <c:pt idx="98">
                  <c:v>9.0473656199999992E-3</c:v>
                </c:pt>
                <c:pt idx="99">
                  <c:v>8.8004591540000003E-3</c:v>
                </c:pt>
                <c:pt idx="100">
                  <c:v>8.3224349060000008E-3</c:v>
                </c:pt>
                <c:pt idx="101">
                  <c:v>8.2855504579999999E-3</c:v>
                </c:pt>
                <c:pt idx="102">
                  <c:v>8.0119350199999995E-3</c:v>
                </c:pt>
                <c:pt idx="103">
                  <c:v>7.3844687940000002E-3</c:v>
                </c:pt>
                <c:pt idx="104">
                  <c:v>7.4134641589999996E-3</c:v>
                </c:pt>
                <c:pt idx="105">
                  <c:v>7.4628975260000001E-3</c:v>
                </c:pt>
                <c:pt idx="106">
                  <c:v>7.5046904310000001E-3</c:v>
                </c:pt>
                <c:pt idx="107">
                  <c:v>7.2843687650000002E-3</c:v>
                </c:pt>
                <c:pt idx="108">
                  <c:v>6.7450291109999996E-3</c:v>
                </c:pt>
                <c:pt idx="109">
                  <c:v>6.7000599360000001E-3</c:v>
                </c:pt>
                <c:pt idx="110">
                  <c:v>6.2580489369999997E-3</c:v>
                </c:pt>
                <c:pt idx="111">
                  <c:v>6.264714914E-3</c:v>
                </c:pt>
                <c:pt idx="112">
                  <c:v>6.4184324209999996E-3</c:v>
                </c:pt>
                <c:pt idx="113">
                  <c:v>6.1001300620000002E-3</c:v>
                </c:pt>
                <c:pt idx="114">
                  <c:v>5.2180827269999999E-3</c:v>
                </c:pt>
                <c:pt idx="115">
                  <c:v>4.7726249429999998E-3</c:v>
                </c:pt>
                <c:pt idx="116">
                  <c:v>4.9881272999999999E-3</c:v>
                </c:pt>
                <c:pt idx="117">
                  <c:v>5.2412170690000004E-3</c:v>
                </c:pt>
                <c:pt idx="118">
                  <c:v>5.826923076E-3</c:v>
                </c:pt>
                <c:pt idx="119">
                  <c:v>6.7010309270000004E-3</c:v>
                </c:pt>
                <c:pt idx="120">
                  <c:v>6.8411710979999997E-3</c:v>
                </c:pt>
                <c:pt idx="121">
                  <c:v>6.4411512990000001E-3</c:v>
                </c:pt>
                <c:pt idx="122">
                  <c:v>6.4172151750000002E-3</c:v>
                </c:pt>
                <c:pt idx="123">
                  <c:v>6.3392323410000001E-3</c:v>
                </c:pt>
                <c:pt idx="124">
                  <c:v>6.4216307559999998E-3</c:v>
                </c:pt>
                <c:pt idx="125">
                  <c:v>6.5045750200000002E-3</c:v>
                </c:pt>
                <c:pt idx="126">
                  <c:v>6.3983703739999998E-3</c:v>
                </c:pt>
                <c:pt idx="127">
                  <c:v>5.8865355689999999E-3</c:v>
                </c:pt>
                <c:pt idx="128">
                  <c:v>5.3767520509999996E-3</c:v>
                </c:pt>
                <c:pt idx="129">
                  <c:v>5.1506732199999997E-3</c:v>
                </c:pt>
                <c:pt idx="130">
                  <c:v>4.975450797E-3</c:v>
                </c:pt>
                <c:pt idx="131">
                  <c:v>5.1159020200000002E-3</c:v>
                </c:pt>
                <c:pt idx="132">
                  <c:v>5.0253865080000003E-3</c:v>
                </c:pt>
                <c:pt idx="133">
                  <c:v>4.8511714949999998E-3</c:v>
                </c:pt>
                <c:pt idx="134">
                  <c:v>4.7066206459999999E-3</c:v>
                </c:pt>
                <c:pt idx="135">
                  <c:v>4.5950365319999999E-3</c:v>
                </c:pt>
                <c:pt idx="136">
                  <c:v>4.661021651E-3</c:v>
                </c:pt>
                <c:pt idx="137">
                  <c:v>5.214361271E-3</c:v>
                </c:pt>
                <c:pt idx="138">
                  <c:v>5.5817315410000004E-3</c:v>
                </c:pt>
                <c:pt idx="139">
                  <c:v>5.7642496739999998E-3</c:v>
                </c:pt>
                <c:pt idx="140">
                  <c:v>5.922207457E-3</c:v>
                </c:pt>
                <c:pt idx="141">
                  <c:v>5.9237837579999997E-3</c:v>
                </c:pt>
                <c:pt idx="142">
                  <c:v>5.9217461399999997E-3</c:v>
                </c:pt>
                <c:pt idx="143">
                  <c:v>6.0885996220000002E-3</c:v>
                </c:pt>
                <c:pt idx="144">
                  <c:v>6.0967279180000004E-3</c:v>
                </c:pt>
                <c:pt idx="145">
                  <c:v>5.7020669990000003E-3</c:v>
                </c:pt>
                <c:pt idx="146">
                  <c:v>5.8149255939999997E-3</c:v>
                </c:pt>
                <c:pt idx="147">
                  <c:v>6.0607249330000001E-3</c:v>
                </c:pt>
                <c:pt idx="148">
                  <c:v>6.1073667850000003E-3</c:v>
                </c:pt>
                <c:pt idx="149">
                  <c:v>5.8565926230000004E-3</c:v>
                </c:pt>
                <c:pt idx="150">
                  <c:v>5.7914365630000004E-3</c:v>
                </c:pt>
                <c:pt idx="151">
                  <c:v>5.6687302040000003E-3</c:v>
                </c:pt>
                <c:pt idx="152">
                  <c:v>5.7808624900000001E-3</c:v>
                </c:pt>
                <c:pt idx="153">
                  <c:v>6.1021677220000001E-3</c:v>
                </c:pt>
                <c:pt idx="154">
                  <c:v>6.405508737E-3</c:v>
                </c:pt>
                <c:pt idx="155">
                  <c:v>6.4958762129999998E-3</c:v>
                </c:pt>
                <c:pt idx="156">
                  <c:v>6.0387957509999996E-3</c:v>
                </c:pt>
                <c:pt idx="157">
                  <c:v>5.9541426550000004E-3</c:v>
                </c:pt>
                <c:pt idx="158">
                  <c:v>6.2444089729999999E-3</c:v>
                </c:pt>
                <c:pt idx="159">
                  <c:v>6.4222731369999999E-3</c:v>
                </c:pt>
                <c:pt idx="160">
                  <c:v>6.5294561230000003E-3</c:v>
                </c:pt>
                <c:pt idx="161">
                  <c:v>6.6340649750000003E-3</c:v>
                </c:pt>
                <c:pt idx="162">
                  <c:v>6.3627271779999996E-3</c:v>
                </c:pt>
                <c:pt idx="163">
                  <c:v>6.1428079999999996E-3</c:v>
                </c:pt>
                <c:pt idx="164">
                  <c:v>6.2650523980000003E-3</c:v>
                </c:pt>
                <c:pt idx="165">
                  <c:v>6.2979954939999996E-3</c:v>
                </c:pt>
                <c:pt idx="166">
                  <c:v>5.8819706220000004E-3</c:v>
                </c:pt>
                <c:pt idx="167">
                  <c:v>5.7534624129999996E-3</c:v>
                </c:pt>
                <c:pt idx="168">
                  <c:v>6.095061574E-3</c:v>
                </c:pt>
                <c:pt idx="169">
                  <c:v>6.0405580320000004E-3</c:v>
                </c:pt>
                <c:pt idx="170">
                  <c:v>5.9659849809999997E-3</c:v>
                </c:pt>
                <c:pt idx="171">
                  <c:v>5.8062619430000002E-3</c:v>
                </c:pt>
                <c:pt idx="172">
                  <c:v>5.7709571230000001E-3</c:v>
                </c:pt>
                <c:pt idx="173">
                  <c:v>5.4532401910000004E-3</c:v>
                </c:pt>
                <c:pt idx="174">
                  <c:v>5.8835232919999996E-3</c:v>
                </c:pt>
                <c:pt idx="175">
                  <c:v>6.2634396959999998E-3</c:v>
                </c:pt>
                <c:pt idx="176">
                  <c:v>6.0492415970000001E-3</c:v>
                </c:pt>
                <c:pt idx="177">
                  <c:v>5.6835601249999998E-3</c:v>
                </c:pt>
                <c:pt idx="178">
                  <c:v>5.5808113100000003E-3</c:v>
                </c:pt>
                <c:pt idx="179">
                  <c:v>5.4760603590000003E-3</c:v>
                </c:pt>
                <c:pt idx="180">
                  <c:v>5.2495984649999997E-3</c:v>
                </c:pt>
                <c:pt idx="181">
                  <c:v>5.46270695E-3</c:v>
                </c:pt>
                <c:pt idx="182">
                  <c:v>5.553579419E-3</c:v>
                </c:pt>
                <c:pt idx="183">
                  <c:v>5.552878067E-3</c:v>
                </c:pt>
                <c:pt idx="184">
                  <c:v>5.3069605490000003E-3</c:v>
                </c:pt>
                <c:pt idx="185">
                  <c:v>5.1890511019999997E-3</c:v>
                </c:pt>
                <c:pt idx="186">
                  <c:v>5.036661752E-3</c:v>
                </c:pt>
                <c:pt idx="187">
                  <c:v>5.0583618530000004E-3</c:v>
                </c:pt>
                <c:pt idx="188">
                  <c:v>5.3436658389999997E-3</c:v>
                </c:pt>
                <c:pt idx="189">
                  <c:v>5.5395819219999998E-3</c:v>
                </c:pt>
                <c:pt idx="190">
                  <c:v>5.7185040390000004E-3</c:v>
                </c:pt>
                <c:pt idx="191">
                  <c:v>5.1908520049999997E-3</c:v>
                </c:pt>
                <c:pt idx="192">
                  <c:v>5.103882043E-3</c:v>
                </c:pt>
                <c:pt idx="193">
                  <c:v>5.472882886E-3</c:v>
                </c:pt>
                <c:pt idx="194">
                  <c:v>5.8936359440000001E-3</c:v>
                </c:pt>
                <c:pt idx="195">
                  <c:v>6.1022470490000001E-3</c:v>
                </c:pt>
                <c:pt idx="196">
                  <c:v>6.3516634720000003E-3</c:v>
                </c:pt>
                <c:pt idx="197">
                  <c:v>6.336948498E-3</c:v>
                </c:pt>
                <c:pt idx="198">
                  <c:v>5.5447406980000001E-3</c:v>
                </c:pt>
                <c:pt idx="199">
                  <c:v>5.7876937740000004E-3</c:v>
                </c:pt>
                <c:pt idx="200">
                  <c:v>5.8278240019999997E-3</c:v>
                </c:pt>
                <c:pt idx="201">
                  <c:v>5.6700033849999996E-3</c:v>
                </c:pt>
                <c:pt idx="202">
                  <c:v>5.5297651549999997E-3</c:v>
                </c:pt>
                <c:pt idx="203">
                  <c:v>5.5258285090000001E-3</c:v>
                </c:pt>
                <c:pt idx="204">
                  <c:v>5.6733921980000003E-3</c:v>
                </c:pt>
                <c:pt idx="205">
                  <c:v>5.6066412959999996E-3</c:v>
                </c:pt>
                <c:pt idx="206">
                  <c:v>5.90034965E-3</c:v>
                </c:pt>
                <c:pt idx="207">
                  <c:v>6.1076748980000003E-3</c:v>
                </c:pt>
                <c:pt idx="208">
                  <c:v>6.3215028599999997E-3</c:v>
                </c:pt>
                <c:pt idx="209">
                  <c:v>6.5632565219999996E-3</c:v>
                </c:pt>
                <c:pt idx="210">
                  <c:v>6.731675417E-3</c:v>
                </c:pt>
                <c:pt idx="211">
                  <c:v>6.7549645449999996E-3</c:v>
                </c:pt>
                <c:pt idx="212">
                  <c:v>6.059009483E-3</c:v>
                </c:pt>
                <c:pt idx="213">
                  <c:v>5.7688332670000004E-3</c:v>
                </c:pt>
                <c:pt idx="214">
                  <c:v>6.12745098E-3</c:v>
                </c:pt>
                <c:pt idx="215">
                  <c:v>6.2161232030000001E-3</c:v>
                </c:pt>
                <c:pt idx="216">
                  <c:v>6.7724505510000001E-3</c:v>
                </c:pt>
                <c:pt idx="217">
                  <c:v>7.155542971E-3</c:v>
                </c:pt>
                <c:pt idx="218">
                  <c:v>7.3947225030000004E-3</c:v>
                </c:pt>
                <c:pt idx="219">
                  <c:v>7.4761328490000004E-3</c:v>
                </c:pt>
                <c:pt idx="220">
                  <c:v>7.6419520689999998E-3</c:v>
                </c:pt>
                <c:pt idx="221">
                  <c:v>7.9424100899999992E-3</c:v>
                </c:pt>
                <c:pt idx="222">
                  <c:v>7.9170418199999999E-3</c:v>
                </c:pt>
                <c:pt idx="223">
                  <c:v>8.3398744110000003E-3</c:v>
                </c:pt>
                <c:pt idx="224">
                  <c:v>8.4010747930000004E-3</c:v>
                </c:pt>
                <c:pt idx="225">
                  <c:v>8.4524113290000008E-3</c:v>
                </c:pt>
                <c:pt idx="226">
                  <c:v>7.5694821329999997E-3</c:v>
                </c:pt>
                <c:pt idx="227">
                  <c:v>7.4241738340000002E-3</c:v>
                </c:pt>
                <c:pt idx="228">
                  <c:v>8.039242403E-3</c:v>
                </c:pt>
                <c:pt idx="229">
                  <c:v>8.3577712600000006E-3</c:v>
                </c:pt>
                <c:pt idx="230">
                  <c:v>9.1762252339999996E-3</c:v>
                </c:pt>
                <c:pt idx="231">
                  <c:v>9.1601026630000002E-3</c:v>
                </c:pt>
                <c:pt idx="232">
                  <c:v>8.6524595409999995E-3</c:v>
                </c:pt>
                <c:pt idx="233">
                  <c:v>7.8711698319999992E-3</c:v>
                </c:pt>
                <c:pt idx="234">
                  <c:v>8.1668496149999992E-3</c:v>
                </c:pt>
                <c:pt idx="235">
                  <c:v>8.3463985979999999E-3</c:v>
                </c:pt>
                <c:pt idx="236">
                  <c:v>8.4225553169999991E-3</c:v>
                </c:pt>
                <c:pt idx="237">
                  <c:v>8.7935095519999992E-3</c:v>
                </c:pt>
                <c:pt idx="238">
                  <c:v>8.6999075630000006E-3</c:v>
                </c:pt>
                <c:pt idx="239">
                  <c:v>8.4358872560000003E-3</c:v>
                </c:pt>
                <c:pt idx="240">
                  <c:v>7.9270116659999994E-3</c:v>
                </c:pt>
                <c:pt idx="241">
                  <c:v>8.4863364640000005E-3</c:v>
                </c:pt>
                <c:pt idx="242">
                  <c:v>8.719315783E-3</c:v>
                </c:pt>
                <c:pt idx="243">
                  <c:v>8.3181403819999992E-3</c:v>
                </c:pt>
                <c:pt idx="244">
                  <c:v>8.1285678820000005E-3</c:v>
                </c:pt>
                <c:pt idx="245">
                  <c:v>8.294690092E-3</c:v>
                </c:pt>
                <c:pt idx="246">
                  <c:v>7.8419634829999998E-3</c:v>
                </c:pt>
                <c:pt idx="247">
                  <c:v>7.5629235230000001E-3</c:v>
                </c:pt>
                <c:pt idx="248">
                  <c:v>7.7856954339999996E-3</c:v>
                </c:pt>
                <c:pt idx="249">
                  <c:v>7.1634243970000004E-3</c:v>
                </c:pt>
                <c:pt idx="250">
                  <c:v>6.8859424210000004E-3</c:v>
                </c:pt>
                <c:pt idx="251">
                  <c:v>7.3788636540000003E-3</c:v>
                </c:pt>
                <c:pt idx="252">
                  <c:v>8.2412765210000006E-3</c:v>
                </c:pt>
                <c:pt idx="253">
                  <c:v>8.1131014529999997E-3</c:v>
                </c:pt>
                <c:pt idx="254">
                  <c:v>7.463938275E-3</c:v>
                </c:pt>
                <c:pt idx="255">
                  <c:v>7.7065923860000001E-3</c:v>
                </c:pt>
                <c:pt idx="256">
                  <c:v>8.2048240409999997E-3</c:v>
                </c:pt>
                <c:pt idx="257">
                  <c:v>8.3402835690000003E-3</c:v>
                </c:pt>
                <c:pt idx="258">
                  <c:v>8.7811731640000008E-3</c:v>
                </c:pt>
                <c:pt idx="259">
                  <c:v>8.6741016100000002E-3</c:v>
                </c:pt>
                <c:pt idx="260">
                  <c:v>8.1577158390000008E-3</c:v>
                </c:pt>
                <c:pt idx="261">
                  <c:v>7.4292452830000003E-3</c:v>
                </c:pt>
                <c:pt idx="262">
                  <c:v>8.1967213110000006E-3</c:v>
                </c:pt>
                <c:pt idx="263">
                  <c:v>7.7374982079999998E-3</c:v>
                </c:pt>
                <c:pt idx="264">
                  <c:v>7.6264591430000002E-3</c:v>
                </c:pt>
                <c:pt idx="265">
                  <c:v>8.9426617559999998E-3</c:v>
                </c:pt>
                <c:pt idx="266">
                  <c:v>9.2400528000000006E-3</c:v>
                </c:pt>
                <c:pt idx="267">
                  <c:v>8.5276714230000002E-3</c:v>
                </c:pt>
                <c:pt idx="268">
                  <c:v>7.779886148E-3</c:v>
                </c:pt>
                <c:pt idx="269">
                  <c:v>8.4690553740000007E-3</c:v>
                </c:pt>
                <c:pt idx="270">
                  <c:v>7.8413284130000004E-3</c:v>
                </c:pt>
                <c:pt idx="271">
                  <c:v>8.2825822159999993E-3</c:v>
                </c:pt>
                <c:pt idx="272">
                  <c:v>8.2236842100000002E-3</c:v>
                </c:pt>
                <c:pt idx="273">
                  <c:v>7.2992700719999998E-3</c:v>
                </c:pt>
                <c:pt idx="274">
                  <c:v>7.7374599779999999E-3</c:v>
                </c:pt>
                <c:pt idx="275">
                  <c:v>8.2176253889999998E-3</c:v>
                </c:pt>
                <c:pt idx="276">
                  <c:v>8.3903045360000008E-3</c:v>
                </c:pt>
                <c:pt idx="277">
                  <c:v>8.0411707939999997E-3</c:v>
                </c:pt>
                <c:pt idx="278">
                  <c:v>7.8686281210000007E-3</c:v>
                </c:pt>
                <c:pt idx="279">
                  <c:v>7.6394194039999998E-3</c:v>
                </c:pt>
                <c:pt idx="280">
                  <c:v>7.6152304599999996E-3</c:v>
                </c:pt>
                <c:pt idx="281">
                  <c:v>5.9679224170000001E-3</c:v>
                </c:pt>
                <c:pt idx="282">
                  <c:v>3.927729772E-3</c:v>
                </c:pt>
                <c:pt idx="283">
                  <c:v>3.44530577E-3</c:v>
                </c:pt>
                <c:pt idx="284">
                  <c:v>3.7037037029999998E-3</c:v>
                </c:pt>
                <c:pt idx="285">
                  <c:v>3.1496062990000002E-3</c:v>
                </c:pt>
                <c:pt idx="286">
                  <c:v>3.026634382E-3</c:v>
                </c:pt>
                <c:pt idx="287">
                  <c:v>2.5957170660000002E-3</c:v>
                </c:pt>
                <c:pt idx="288">
                  <c:v>2.4691358020000002E-3</c:v>
                </c:pt>
                <c:pt idx="289">
                  <c:v>3.2637075710000001E-3</c:v>
                </c:pt>
                <c:pt idx="290">
                  <c:v>5.4773082939999999E-3</c:v>
                </c:pt>
                <c:pt idx="291">
                  <c:v>5.0761421310000004E-3</c:v>
                </c:pt>
                <c:pt idx="292">
                  <c:v>6.1619718299999997E-3</c:v>
                </c:pt>
                <c:pt idx="293">
                  <c:v>6.8762278969999998E-3</c:v>
                </c:pt>
                <c:pt idx="294">
                  <c:v>8.0000000000000002E-3</c:v>
                </c:pt>
                <c:pt idx="295">
                  <c:v>7.4005550409999999E-3</c:v>
                </c:pt>
                <c:pt idx="296">
                  <c:v>6.8965517239999996E-3</c:v>
                </c:pt>
                <c:pt idx="297">
                  <c:v>6.5502183400000004E-3</c:v>
                </c:pt>
                <c:pt idx="298">
                  <c:v>5.675368898E-3</c:v>
                </c:pt>
                <c:pt idx="299">
                  <c:v>5.8823529409999997E-3</c:v>
                </c:pt>
                <c:pt idx="300">
                  <c:v>3.90625E-3</c:v>
                </c:pt>
                <c:pt idx="301">
                  <c:v>2.6212319789999999E-3</c:v>
                </c:pt>
                <c:pt idx="302">
                  <c:v>3.4883720930000001E-3</c:v>
                </c:pt>
                <c:pt idx="303">
                  <c:v>3.3333333329999999E-3</c:v>
                </c:pt>
                <c:pt idx="304">
                  <c:v>4.3196544269999996E-3</c:v>
                </c:pt>
                <c:pt idx="305">
                  <c:v>5.0813008130000002E-3</c:v>
                </c:pt>
                <c:pt idx="306">
                  <c:v>5.6980056979999997E-3</c:v>
                </c:pt>
                <c:pt idx="307">
                  <c:v>5.741626794E-3</c:v>
                </c:pt>
                <c:pt idx="308">
                  <c:v>5.5197792079999999E-3</c:v>
                </c:pt>
                <c:pt idx="309">
                  <c:v>5.1813471499999996E-3</c:v>
                </c:pt>
                <c:pt idx="310">
                  <c:v>3.593890386E-3</c:v>
                </c:pt>
                <c:pt idx="311">
                  <c:v>4.8780487799999998E-3</c:v>
                </c:pt>
                <c:pt idx="312">
                  <c:v>3.7009622499999998E-3</c:v>
                </c:pt>
                <c:pt idx="313">
                  <c:v>2.7266530330000002E-3</c:v>
                </c:pt>
                <c:pt idx="314">
                  <c:v>2.7322404369999999E-3</c:v>
                </c:pt>
                <c:pt idx="315">
                  <c:v>2.6720106880000001E-3</c:v>
                </c:pt>
                <c:pt idx="316">
                  <c:v>3.0674846620000001E-3</c:v>
                </c:pt>
                <c:pt idx="317">
                  <c:v>3.2912781129999999E-3</c:v>
                </c:pt>
                <c:pt idx="318">
                  <c:v>4.0609137050000004E-3</c:v>
                </c:pt>
                <c:pt idx="319">
                  <c:v>3.6649214650000001E-3</c:v>
                </c:pt>
                <c:pt idx="320">
                  <c:v>3.6919831220000002E-3</c:v>
                </c:pt>
                <c:pt idx="321">
                  <c:v>3.873824017E-3</c:v>
                </c:pt>
                <c:pt idx="322">
                  <c:v>3.4090909089999999E-3</c:v>
                </c:pt>
                <c:pt idx="323">
                  <c:v>3.837719298E-3</c:v>
                </c:pt>
                <c:pt idx="324">
                  <c:v>3.1880977679999999E-3</c:v>
                </c:pt>
                <c:pt idx="325">
                  <c:v>3.90625E-3</c:v>
                </c:pt>
                <c:pt idx="326">
                  <c:v>3.4364261160000002E-3</c:v>
                </c:pt>
                <c:pt idx="327">
                  <c:v>3.4985422740000001E-3</c:v>
                </c:pt>
                <c:pt idx="328">
                  <c:v>3.7570444580000001E-3</c:v>
                </c:pt>
                <c:pt idx="329">
                  <c:v>4.0513166769999996E-3</c:v>
                </c:pt>
                <c:pt idx="330">
                  <c:v>3.836317135E-3</c:v>
                </c:pt>
                <c:pt idx="331">
                  <c:v>3.7546933660000002E-3</c:v>
                </c:pt>
                <c:pt idx="332">
                  <c:v>4.0000000000000001E-3</c:v>
                </c:pt>
                <c:pt idx="333">
                  <c:v>3.392130257E-3</c:v>
                </c:pt>
                <c:pt idx="334">
                  <c:v>4.9928673320000002E-3</c:v>
                </c:pt>
                <c:pt idx="335">
                  <c:v>5.263157894E-3</c:v>
                </c:pt>
                <c:pt idx="336">
                  <c:v>6.2500000000000003E-3</c:v>
                </c:pt>
                <c:pt idx="337">
                  <c:v>5.9171597629999999E-3</c:v>
                </c:pt>
                <c:pt idx="338">
                  <c:v>6.4562410319999996E-3</c:v>
                </c:pt>
                <c:pt idx="339">
                  <c:v>6.6815144760000002E-3</c:v>
                </c:pt>
                <c:pt idx="340">
                  <c:v>7.6335877860000002E-3</c:v>
                </c:pt>
                <c:pt idx="341">
                  <c:v>8.5803432130000003E-3</c:v>
                </c:pt>
                <c:pt idx="342">
                  <c:v>6.1633281969999997E-3</c:v>
                </c:pt>
                <c:pt idx="343">
                  <c:v>6.2111801239999997E-3</c:v>
                </c:pt>
                <c:pt idx="344">
                  <c:v>5.7678442680000001E-3</c:v>
                </c:pt>
                <c:pt idx="345">
                  <c:v>6.0200668889999996E-3</c:v>
                </c:pt>
                <c:pt idx="346">
                  <c:v>6.1099796330000003E-3</c:v>
                </c:pt>
                <c:pt idx="347">
                  <c:v>5.502063273E-3</c:v>
                </c:pt>
                <c:pt idx="348">
                  <c:v>5.2910052909999998E-3</c:v>
                </c:pt>
                <c:pt idx="349">
                  <c:v>4.0677966100000004E-3</c:v>
                </c:pt>
                <c:pt idx="350">
                  <c:v>5.014326647E-3</c:v>
                </c:pt>
                <c:pt idx="351">
                  <c:v>5.9800664450000004E-3</c:v>
                </c:pt>
                <c:pt idx="352">
                  <c:v>6.1387354200000003E-3</c:v>
                </c:pt>
                <c:pt idx="353">
                  <c:v>5.7070386809999997E-3</c:v>
                </c:pt>
                <c:pt idx="354">
                  <c:v>4.596191726E-3</c:v>
                </c:pt>
                <c:pt idx="355">
                  <c:v>6.6489361699999996E-3</c:v>
                </c:pt>
                <c:pt idx="356">
                  <c:v>7.062146892E-3</c:v>
                </c:pt>
                <c:pt idx="357">
                  <c:v>7.2411296159999999E-3</c:v>
                </c:pt>
                <c:pt idx="358">
                  <c:v>6.587615283E-3</c:v>
                </c:pt>
                <c:pt idx="359">
                  <c:v>5.144694533E-3</c:v>
                </c:pt>
                <c:pt idx="360">
                  <c:v>4.6511627899999998E-3</c:v>
                </c:pt>
                <c:pt idx="361">
                  <c:v>4.6357615890000002E-3</c:v>
                </c:pt>
                <c:pt idx="362">
                  <c:v>4.584151931E-3</c:v>
                </c:pt>
                <c:pt idx="363">
                  <c:v>2.6863666890000002E-3</c:v>
                </c:pt>
                <c:pt idx="364">
                  <c:v>2.090592334E-3</c:v>
                </c:pt>
                <c:pt idx="365">
                  <c:v>1.9120458889999999E-3</c:v>
                </c:pt>
                <c:pt idx="366">
                  <c:v>1.214329083E-3</c:v>
                </c:pt>
                <c:pt idx="367">
                  <c:v>1.2077294679999999E-3</c:v>
                </c:pt>
                <c:pt idx="368">
                  <c:v>5.8411214899999997E-4</c:v>
                </c:pt>
                <c:pt idx="369">
                  <c:v>2.7654867249999999E-3</c:v>
                </c:pt>
                <c:pt idx="370">
                  <c:v>2.7292576410000002E-3</c:v>
                </c:pt>
                <c:pt idx="371">
                  <c:v>3.2608695649999999E-3</c:v>
                </c:pt>
                <c:pt idx="372">
                  <c:v>3.7174721179999998E-3</c:v>
                </c:pt>
                <c:pt idx="373">
                  <c:v>4.0096230950000004E-3</c:v>
                </c:pt>
                <c:pt idx="374">
                  <c:v>4.2569659440000003E-3</c:v>
                </c:pt>
                <c:pt idx="375">
                  <c:v>3.6469730119999999E-3</c:v>
                </c:pt>
                <c:pt idx="376">
                  <c:v>4.5123221099999996E-3</c:v>
                </c:pt>
                <c:pt idx="377">
                  <c:v>3.543586109E-3</c:v>
                </c:pt>
                <c:pt idx="378">
                  <c:v>3.9970930229999996E-3</c:v>
                </c:pt>
                <c:pt idx="379">
                  <c:v>6.1171925300000001E-3</c:v>
                </c:pt>
                <c:pt idx="380">
                  <c:v>6.4220183480000002E-3</c:v>
                </c:pt>
                <c:pt idx="381">
                  <c:v>6.2285892239999996E-3</c:v>
                </c:pt>
                <c:pt idx="382">
                  <c:v>6.4877617219999996E-3</c:v>
                </c:pt>
                <c:pt idx="383">
                  <c:v>6.72711319E-3</c:v>
                </c:pt>
                <c:pt idx="384">
                  <c:v>6.4102564099999997E-3</c:v>
                </c:pt>
                <c:pt idx="385">
                  <c:v>6.8471833169999998E-3</c:v>
                </c:pt>
                <c:pt idx="386">
                  <c:v>6.7472589259999997E-3</c:v>
                </c:pt>
                <c:pt idx="387">
                  <c:v>4.0994807319999996E-3</c:v>
                </c:pt>
                <c:pt idx="388">
                  <c:v>3.310344827E-3</c:v>
                </c:pt>
                <c:pt idx="389">
                  <c:v>3.9051603900000001E-3</c:v>
                </c:pt>
                <c:pt idx="390">
                  <c:v>3.9359010400000002E-3</c:v>
                </c:pt>
                <c:pt idx="391">
                  <c:v>4.2517006799999996E-3</c:v>
                </c:pt>
                <c:pt idx="392">
                  <c:v>5.1739005459999999E-3</c:v>
                </c:pt>
                <c:pt idx="393">
                  <c:v>5.2923387089999999E-3</c:v>
                </c:pt>
                <c:pt idx="394">
                  <c:v>4.7967684919999996E-3</c:v>
                </c:pt>
                <c:pt idx="395">
                  <c:v>5.6111246640000003E-3</c:v>
                </c:pt>
                <c:pt idx="396">
                  <c:v>5.7803468199999998E-3</c:v>
                </c:pt>
                <c:pt idx="397">
                  <c:v>5.988023952E-3</c:v>
                </c:pt>
                <c:pt idx="398">
                  <c:v>5.3486936839999997E-3</c:v>
                </c:pt>
                <c:pt idx="399">
                  <c:v>5.8823529409999997E-3</c:v>
                </c:pt>
                <c:pt idx="400">
                  <c:v>5.8161350839999997E-3</c:v>
                </c:pt>
                <c:pt idx="401">
                  <c:v>7.0836212850000002E-3</c:v>
                </c:pt>
                <c:pt idx="402">
                  <c:v>8.1735303360000004E-3</c:v>
                </c:pt>
                <c:pt idx="403">
                  <c:v>8.1583320739999996E-3</c:v>
                </c:pt>
                <c:pt idx="404">
                  <c:v>8.189398451E-3</c:v>
                </c:pt>
                <c:pt idx="405">
                  <c:v>7.7803203659999997E-3</c:v>
                </c:pt>
                <c:pt idx="406">
                  <c:v>9.1468222670000009E-3</c:v>
                </c:pt>
                <c:pt idx="407">
                  <c:v>9.2278463829999994E-3</c:v>
                </c:pt>
                <c:pt idx="408">
                  <c:v>8.4430096840000003E-3</c:v>
                </c:pt>
                <c:pt idx="409">
                  <c:v>7.3642950459999997E-3</c:v>
                </c:pt>
                <c:pt idx="410">
                  <c:v>6.8447037700000001E-3</c:v>
                </c:pt>
                <c:pt idx="411">
                  <c:v>6.3904349609999996E-3</c:v>
                </c:pt>
                <c:pt idx="412">
                  <c:v>6.1985570569999997E-3</c:v>
                </c:pt>
                <c:pt idx="413">
                  <c:v>6.8211455509999998E-3</c:v>
                </c:pt>
                <c:pt idx="414">
                  <c:v>5.998356614E-3</c:v>
                </c:pt>
                <c:pt idx="415">
                  <c:v>5.0451218639999997E-3</c:v>
                </c:pt>
                <c:pt idx="416">
                  <c:v>4.6699482509999996E-3</c:v>
                </c:pt>
                <c:pt idx="417">
                  <c:v>4.224099599E-3</c:v>
                </c:pt>
                <c:pt idx="418">
                  <c:v>3.624939584E-3</c:v>
                </c:pt>
                <c:pt idx="419">
                  <c:v>3.3696454939999999E-3</c:v>
                </c:pt>
                <c:pt idx="420">
                  <c:v>3.6248098089999999E-3</c:v>
                </c:pt>
                <c:pt idx="421">
                  <c:v>4.1800518630000002E-3</c:v>
                </c:pt>
                <c:pt idx="422">
                  <c:v>3.5486160389999999E-3</c:v>
                </c:pt>
                <c:pt idx="423">
                  <c:v>3.3844625220000001E-3</c:v>
                </c:pt>
                <c:pt idx="424">
                  <c:v>3.5454600079999998E-3</c:v>
                </c:pt>
                <c:pt idx="425">
                  <c:v>3.6444796020000001E-3</c:v>
                </c:pt>
                <c:pt idx="426">
                  <c:v>3.72742835E-3</c:v>
                </c:pt>
                <c:pt idx="427">
                  <c:v>3.916809179E-3</c:v>
                </c:pt>
                <c:pt idx="428">
                  <c:v>3.9969547009999998E-3</c:v>
                </c:pt>
                <c:pt idx="429">
                  <c:v>3.4811055649999999E-3</c:v>
                </c:pt>
                <c:pt idx="430">
                  <c:v>3.65580408E-3</c:v>
                </c:pt>
                <c:pt idx="431">
                  <c:v>3.6070046899999999E-3</c:v>
                </c:pt>
                <c:pt idx="432">
                  <c:v>3.5782769480000001E-3</c:v>
                </c:pt>
                <c:pt idx="433">
                  <c:v>3.6990735189999999E-3</c:v>
                </c:pt>
                <c:pt idx="434">
                  <c:v>4.0819948529999999E-3</c:v>
                </c:pt>
                <c:pt idx="435">
                  <c:v>4.2805766840000002E-3</c:v>
                </c:pt>
                <c:pt idx="436">
                  <c:v>3.8534817419999998E-3</c:v>
                </c:pt>
                <c:pt idx="437">
                  <c:v>3.799174802E-3</c:v>
                </c:pt>
                <c:pt idx="438">
                  <c:v>3.8033544779999999E-3</c:v>
                </c:pt>
                <c:pt idx="439">
                  <c:v>3.6920160150000002E-3</c:v>
                </c:pt>
                <c:pt idx="440">
                  <c:v>3.6455342200000002E-3</c:v>
                </c:pt>
                <c:pt idx="441">
                  <c:v>3.660120921E-3</c:v>
                </c:pt>
                <c:pt idx="442">
                  <c:v>3.6116566210000001E-3</c:v>
                </c:pt>
                <c:pt idx="443">
                  <c:v>3.0926620450000002E-3</c:v>
                </c:pt>
                <c:pt idx="444">
                  <c:v>3.1831441180000001E-3</c:v>
                </c:pt>
                <c:pt idx="445">
                  <c:v>3.2833436860000001E-3</c:v>
                </c:pt>
                <c:pt idx="446">
                  <c:v>3.045489253E-3</c:v>
                </c:pt>
                <c:pt idx="447">
                  <c:v>3.058881273E-3</c:v>
                </c:pt>
                <c:pt idx="448">
                  <c:v>3.2070254170000001E-3</c:v>
                </c:pt>
                <c:pt idx="449">
                  <c:v>3.3194544620000002E-3</c:v>
                </c:pt>
                <c:pt idx="450">
                  <c:v>3.0948172809999999E-3</c:v>
                </c:pt>
                <c:pt idx="451">
                  <c:v>3.1699566970000001E-3</c:v>
                </c:pt>
                <c:pt idx="452">
                  <c:v>3.118153284E-3</c:v>
                </c:pt>
                <c:pt idx="453">
                  <c:v>2.925299908E-3</c:v>
                </c:pt>
                <c:pt idx="454">
                  <c:v>3.0911356929999999E-3</c:v>
                </c:pt>
                <c:pt idx="455">
                  <c:v>3.191854562E-3</c:v>
                </c:pt>
                <c:pt idx="456">
                  <c:v>3.0769230760000002E-3</c:v>
                </c:pt>
                <c:pt idx="457">
                  <c:v>2.764101796E-3</c:v>
                </c:pt>
                <c:pt idx="458">
                  <c:v>2.7248505020000002E-3</c:v>
                </c:pt>
                <c:pt idx="459">
                  <c:v>2.7543973409999999E-3</c:v>
                </c:pt>
                <c:pt idx="460">
                  <c:v>2.5623174250000002E-3</c:v>
                </c:pt>
                <c:pt idx="461">
                  <c:v>2.6553781019999999E-3</c:v>
                </c:pt>
                <c:pt idx="462">
                  <c:v>2.7317104709999999E-3</c:v>
                </c:pt>
                <c:pt idx="463">
                  <c:v>2.8460224909999999E-3</c:v>
                </c:pt>
                <c:pt idx="464">
                  <c:v>2.7515425310000001E-3</c:v>
                </c:pt>
                <c:pt idx="465">
                  <c:v>2.7991436039999998E-3</c:v>
                </c:pt>
                <c:pt idx="466">
                  <c:v>2.8015198660000002E-3</c:v>
                </c:pt>
                <c:pt idx="467">
                  <c:v>2.840833665E-3</c:v>
                </c:pt>
                <c:pt idx="468">
                  <c:v>3.0748304530000001E-3</c:v>
                </c:pt>
                <c:pt idx="469">
                  <c:v>3.1985893399999999E-3</c:v>
                </c:pt>
                <c:pt idx="470">
                  <c:v>3.0549009329999999E-3</c:v>
                </c:pt>
                <c:pt idx="471">
                  <c:v>2.753288116E-3</c:v>
                </c:pt>
                <c:pt idx="472">
                  <c:v>2.8654485040000002E-3</c:v>
                </c:pt>
                <c:pt idx="473">
                  <c:v>3.1022630890000001E-3</c:v>
                </c:pt>
                <c:pt idx="474">
                  <c:v>3.107616031E-3</c:v>
                </c:pt>
                <c:pt idx="475">
                  <c:v>3.1325022779999999E-3</c:v>
                </c:pt>
                <c:pt idx="476">
                  <c:v>3.2804057770000001E-3</c:v>
                </c:pt>
                <c:pt idx="477">
                  <c:v>3.3236825360000001E-3</c:v>
                </c:pt>
                <c:pt idx="478">
                  <c:v>3.3392235330000001E-3</c:v>
                </c:pt>
                <c:pt idx="479">
                  <c:v>3.5760010589999999E-3</c:v>
                </c:pt>
                <c:pt idx="480">
                  <c:v>3.5795026370000001E-3</c:v>
                </c:pt>
                <c:pt idx="481">
                  <c:v>3.6805888940000002E-3</c:v>
                </c:pt>
                <c:pt idx="482">
                  <c:v>4.3622981659999999E-3</c:v>
                </c:pt>
                <c:pt idx="483">
                  <c:v>4.8649744360000002E-3</c:v>
                </c:pt>
                <c:pt idx="484">
                  <c:v>4.9034050249999999E-3</c:v>
                </c:pt>
                <c:pt idx="485">
                  <c:v>4.8754062829999998E-3</c:v>
                </c:pt>
                <c:pt idx="486">
                  <c:v>5.388796974E-3</c:v>
                </c:pt>
                <c:pt idx="487">
                  <c:v>5.3752786719999997E-3</c:v>
                </c:pt>
                <c:pt idx="488">
                  <c:v>5.5779198559999998E-3</c:v>
                </c:pt>
                <c:pt idx="489">
                  <c:v>5.7483672470000002E-3</c:v>
                </c:pt>
                <c:pt idx="490">
                  <c:v>5.4888507709999999E-3</c:v>
                </c:pt>
                <c:pt idx="491">
                  <c:v>4.6864292499999996E-3</c:v>
                </c:pt>
                <c:pt idx="492">
                  <c:v>4.0368257359999996E-3</c:v>
                </c:pt>
                <c:pt idx="493">
                  <c:v>3.5849177380000001E-3</c:v>
                </c:pt>
                <c:pt idx="494">
                  <c:v>3.2316661029999998E-3</c:v>
                </c:pt>
                <c:pt idx="495">
                  <c:v>3.1909162480000001E-3</c:v>
                </c:pt>
                <c:pt idx="496">
                  <c:v>3.070277595E-3</c:v>
                </c:pt>
                <c:pt idx="497">
                  <c:v>2.8222013169999999E-3</c:v>
                </c:pt>
                <c:pt idx="498">
                  <c:v>2.5033132080000001E-3</c:v>
                </c:pt>
                <c:pt idx="499">
                  <c:v>2.231948246E-3</c:v>
                </c:pt>
                <c:pt idx="500">
                  <c:v>1.9953612110000002E-3</c:v>
                </c:pt>
                <c:pt idx="501">
                  <c:v>1.731780556E-3</c:v>
                </c:pt>
                <c:pt idx="502">
                  <c:v>1.538948337E-3</c:v>
                </c:pt>
                <c:pt idx="503">
                  <c:v>1.3444772470000001E-3</c:v>
                </c:pt>
                <c:pt idx="504">
                  <c:v>1.2064165450000001E-3</c:v>
                </c:pt>
                <c:pt idx="505">
                  <c:v>1.097069104E-3</c:v>
                </c:pt>
                <c:pt idx="506">
                  <c:v>8.41241883E-4</c:v>
                </c:pt>
                <c:pt idx="507">
                  <c:v>7.3576029800000002E-4</c:v>
                </c:pt>
                <c:pt idx="508">
                  <c:v>7.0515460999999999E-4</c:v>
                </c:pt>
                <c:pt idx="509">
                  <c:v>6.82848489E-4</c:v>
                </c:pt>
                <c:pt idx="510">
                  <c:v>6.9202033099999998E-4</c:v>
                </c:pt>
                <c:pt idx="511">
                  <c:v>7.3697265999999998E-4</c:v>
                </c:pt>
                <c:pt idx="512">
                  <c:v>7.8927428800000001E-4</c:v>
                </c:pt>
                <c:pt idx="513">
                  <c:v>7.06858919E-4</c:v>
                </c:pt>
                <c:pt idx="514">
                  <c:v>7.1739361100000003E-4</c:v>
                </c:pt>
                <c:pt idx="515">
                  <c:v>7.2840961100000001E-4</c:v>
                </c:pt>
                <c:pt idx="516">
                  <c:v>7.2535219199999995E-4</c:v>
                </c:pt>
                <c:pt idx="517">
                  <c:v>7.8405061600000004E-4</c:v>
                </c:pt>
                <c:pt idx="518">
                  <c:v>7.9023920900000001E-4</c:v>
                </c:pt>
                <c:pt idx="519">
                  <c:v>8.2196992799999995E-4</c:v>
                </c:pt>
                <c:pt idx="520">
                  <c:v>7.4974053699999996E-4</c:v>
                </c:pt>
                <c:pt idx="521">
                  <c:v>7.9253144200000004E-4</c:v>
                </c:pt>
                <c:pt idx="522">
                  <c:v>8.5238067500000003E-4</c:v>
                </c:pt>
                <c:pt idx="523">
                  <c:v>8.6706010600000002E-4</c:v>
                </c:pt>
                <c:pt idx="524">
                  <c:v>9.62852173E-4</c:v>
                </c:pt>
                <c:pt idx="525">
                  <c:v>9.89958429E-4</c:v>
                </c:pt>
                <c:pt idx="526">
                  <c:v>1.0222740000000001E-3</c:v>
                </c:pt>
                <c:pt idx="527">
                  <c:v>9.4606671800000002E-4</c:v>
                </c:pt>
                <c:pt idx="528">
                  <c:v>1.1243986129999999E-3</c:v>
                </c:pt>
                <c:pt idx="529">
                  <c:v>1.2307157359999999E-3</c:v>
                </c:pt>
                <c:pt idx="530">
                  <c:v>1.3102221950000001E-3</c:v>
                </c:pt>
                <c:pt idx="531">
                  <c:v>1.4088384359999999E-3</c:v>
                </c:pt>
                <c:pt idx="532">
                  <c:v>1.460408676E-3</c:v>
                </c:pt>
                <c:pt idx="533">
                  <c:v>1.5096618349999999E-3</c:v>
                </c:pt>
                <c:pt idx="534">
                  <c:v>1.4646897109999999E-3</c:v>
                </c:pt>
                <c:pt idx="535">
                  <c:v>1.7479840760000001E-3</c:v>
                </c:pt>
                <c:pt idx="536">
                  <c:v>1.7385475790000001E-3</c:v>
                </c:pt>
                <c:pt idx="537">
                  <c:v>1.786751239E-3</c:v>
                </c:pt>
                <c:pt idx="538">
                  <c:v>1.9600189350000002E-3</c:v>
                </c:pt>
                <c:pt idx="539">
                  <c:v>2.1279402060000001E-3</c:v>
                </c:pt>
                <c:pt idx="540">
                  <c:v>2.066907805E-3</c:v>
                </c:pt>
                <c:pt idx="541">
                  <c:v>2.0833696539999998E-3</c:v>
                </c:pt>
                <c:pt idx="542">
                  <c:v>2.43757553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.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do_3_dne_7dni_shift3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19701575024000001</c:v>
                </c:pt>
                <c:pt idx="1">
                  <c:v>0.15292667904999999</c:v>
                </c:pt>
                <c:pt idx="2">
                  <c:v>0.48238758637000001</c:v>
                </c:pt>
                <c:pt idx="3">
                  <c:v>0.23622828785</c:v>
                </c:pt>
                <c:pt idx="4">
                  <c:v>0.40279760184000002</c:v>
                </c:pt>
                <c:pt idx="5">
                  <c:v>0.41691139238000002</c:v>
                </c:pt>
                <c:pt idx="6">
                  <c:v>0.56311413459000004</c:v>
                </c:pt>
                <c:pt idx="7">
                  <c:v>0.33284060105000002</c:v>
                </c:pt>
                <c:pt idx="8">
                  <c:v>0.26999424641999997</c:v>
                </c:pt>
                <c:pt idx="9">
                  <c:v>7.4666666670000006E-2</c:v>
                </c:pt>
                <c:pt idx="10">
                  <c:v>-0.14398766893000001</c:v>
                </c:pt>
                <c:pt idx="11">
                  <c:v>-0.18989868606999999</c:v>
                </c:pt>
                <c:pt idx="12">
                  <c:v>-0.26410800972999998</c:v>
                </c:pt>
                <c:pt idx="13">
                  <c:v>-0.35717569892000001</c:v>
                </c:pt>
                <c:pt idx="14">
                  <c:v>-0.45106399785000001</c:v>
                </c:pt>
                <c:pt idx="15">
                  <c:v>-0.31712835226000002</c:v>
                </c:pt>
                <c:pt idx="16">
                  <c:v>-0.12868514155999999</c:v>
                </c:pt>
                <c:pt idx="17">
                  <c:v>-0.14511721092999999</c:v>
                </c:pt>
                <c:pt idx="18">
                  <c:v>2.8107995779999999E-2</c:v>
                </c:pt>
                <c:pt idx="19">
                  <c:v>0.19762259939999999</c:v>
                </c:pt>
                <c:pt idx="20">
                  <c:v>0.20568354928999999</c:v>
                </c:pt>
                <c:pt idx="21">
                  <c:v>0.50235835684999997</c:v>
                </c:pt>
                <c:pt idx="22">
                  <c:v>0.46787131661999998</c:v>
                </c:pt>
                <c:pt idx="23">
                  <c:v>0.44799293643999999</c:v>
                </c:pt>
                <c:pt idx="24">
                  <c:v>0.22725489002999999</c:v>
                </c:pt>
                <c:pt idx="25">
                  <c:v>0.44452959117000002</c:v>
                </c:pt>
                <c:pt idx="26">
                  <c:v>0.33924928591999998</c:v>
                </c:pt>
                <c:pt idx="27">
                  <c:v>0.1161108879</c:v>
                </c:pt>
                <c:pt idx="28">
                  <c:v>0.18940544101000001</c:v>
                </c:pt>
                <c:pt idx="29">
                  <c:v>0.20874223685000001</c:v>
                </c:pt>
                <c:pt idx="30">
                  <c:v>0.30386183668</c:v>
                </c:pt>
                <c:pt idx="31">
                  <c:v>0.17428813059000001</c:v>
                </c:pt>
                <c:pt idx="32">
                  <c:v>0.25084259202999998</c:v>
                </c:pt>
                <c:pt idx="33">
                  <c:v>0.23020304562999999</c:v>
                </c:pt>
                <c:pt idx="34">
                  <c:v>0.18420321178999999</c:v>
                </c:pt>
                <c:pt idx="35">
                  <c:v>0.20546194371000001</c:v>
                </c:pt>
                <c:pt idx="36">
                  <c:v>0.28910919402000002</c:v>
                </c:pt>
                <c:pt idx="37">
                  <c:v>0.17417140527</c:v>
                </c:pt>
                <c:pt idx="38">
                  <c:v>0.12936913002</c:v>
                </c:pt>
                <c:pt idx="39">
                  <c:v>0.1492432829</c:v>
                </c:pt>
                <c:pt idx="40">
                  <c:v>4.9501990730000001E-2</c:v>
                </c:pt>
                <c:pt idx="41">
                  <c:v>1.3437380499999999E-3</c:v>
                </c:pt>
                <c:pt idx="42">
                  <c:v>-9.4344070710000005E-2</c:v>
                </c:pt>
                <c:pt idx="43">
                  <c:v>-9.4203054000000005E-3</c:v>
                </c:pt>
                <c:pt idx="44">
                  <c:v>-7.8383818610000003E-2</c:v>
                </c:pt>
                <c:pt idx="45">
                  <c:v>-0.13481160837</c:v>
                </c:pt>
                <c:pt idx="46">
                  <c:v>-0.16175538657999999</c:v>
                </c:pt>
                <c:pt idx="47">
                  <c:v>-0.19172358684999999</c:v>
                </c:pt>
                <c:pt idx="48">
                  <c:v>-0.27976229757999999</c:v>
                </c:pt>
                <c:pt idx="49">
                  <c:v>-0.27664986290999999</c:v>
                </c:pt>
                <c:pt idx="50">
                  <c:v>-0.15043260425999999</c:v>
                </c:pt>
                <c:pt idx="51">
                  <c:v>-0.16390353028999999</c:v>
                </c:pt>
                <c:pt idx="52">
                  <c:v>-0.14845491974</c:v>
                </c:pt>
                <c:pt idx="53">
                  <c:v>-8.8624822800000003E-2</c:v>
                </c:pt>
                <c:pt idx="54">
                  <c:v>-6.1482567920000002E-2</c:v>
                </c:pt>
                <c:pt idx="55">
                  <c:v>-9.6972216570000005E-2</c:v>
                </c:pt>
                <c:pt idx="56">
                  <c:v>-6.5027722999999996E-2</c:v>
                </c:pt>
                <c:pt idx="57">
                  <c:v>5.5691083209999999E-2</c:v>
                </c:pt>
                <c:pt idx="58">
                  <c:v>5.2929880290000002E-2</c:v>
                </c:pt>
                <c:pt idx="59">
                  <c:v>2.308147059E-2</c:v>
                </c:pt>
                <c:pt idx="60">
                  <c:v>9.1799628529999996E-2</c:v>
                </c:pt>
                <c:pt idx="61">
                  <c:v>5.3993214210000001E-2</c:v>
                </c:pt>
                <c:pt idx="62">
                  <c:v>3.839061035E-2</c:v>
                </c:pt>
                <c:pt idx="63">
                  <c:v>2.4985468970000001E-2</c:v>
                </c:pt>
                <c:pt idx="64">
                  <c:v>0.14659216165</c:v>
                </c:pt>
                <c:pt idx="65">
                  <c:v>7.5652318560000001E-2</c:v>
                </c:pt>
                <c:pt idx="66">
                  <c:v>-2.8682054339999999E-2</c:v>
                </c:pt>
                <c:pt idx="67">
                  <c:v>2.3920295179999999E-2</c:v>
                </c:pt>
                <c:pt idx="68">
                  <c:v>-2.9280249019999999E-2</c:v>
                </c:pt>
                <c:pt idx="69">
                  <c:v>-1.6244114359999999E-2</c:v>
                </c:pt>
                <c:pt idx="70">
                  <c:v>-4.78321414E-2</c:v>
                </c:pt>
                <c:pt idx="71">
                  <c:v>6.4321393650000003E-2</c:v>
                </c:pt>
                <c:pt idx="72">
                  <c:v>4.7027805649999997E-2</c:v>
                </c:pt>
                <c:pt idx="73">
                  <c:v>2.4338508259999999E-2</c:v>
                </c:pt>
                <c:pt idx="74">
                  <c:v>0.12701351902999999</c:v>
                </c:pt>
                <c:pt idx="75">
                  <c:v>7.4823651860000007E-2</c:v>
                </c:pt>
                <c:pt idx="76">
                  <c:v>0.10746838122000001</c:v>
                </c:pt>
                <c:pt idx="77">
                  <c:v>0.12435233048</c:v>
                </c:pt>
                <c:pt idx="78">
                  <c:v>0.24365256821</c:v>
                </c:pt>
                <c:pt idx="79">
                  <c:v>0.16835112147</c:v>
                </c:pt>
                <c:pt idx="80">
                  <c:v>0.10543594668</c:v>
                </c:pt>
                <c:pt idx="81">
                  <c:v>0.15282673075</c:v>
                </c:pt>
                <c:pt idx="82">
                  <c:v>8.3678791150000001E-2</c:v>
                </c:pt>
                <c:pt idx="83">
                  <c:v>0.16029378865999999</c:v>
                </c:pt>
                <c:pt idx="84">
                  <c:v>0.14849706986</c:v>
                </c:pt>
                <c:pt idx="85">
                  <c:v>0.13774514365000001</c:v>
                </c:pt>
                <c:pt idx="86">
                  <c:v>2.7573780950000001E-2</c:v>
                </c:pt>
                <c:pt idx="87">
                  <c:v>-4.0238542500000002E-3</c:v>
                </c:pt>
                <c:pt idx="88">
                  <c:v>-3.177979584E-2</c:v>
                </c:pt>
                <c:pt idx="89">
                  <c:v>-0.14222154671000001</c:v>
                </c:pt>
                <c:pt idx="90">
                  <c:v>-0.10713023343</c:v>
                </c:pt>
                <c:pt idx="91">
                  <c:v>-5.7758114130000003E-2</c:v>
                </c:pt>
                <c:pt idx="92">
                  <c:v>3.37791923E-3</c:v>
                </c:pt>
                <c:pt idx="93">
                  <c:v>-3.4095690169999998E-2</c:v>
                </c:pt>
                <c:pt idx="94">
                  <c:v>2.9690414339999999E-2</c:v>
                </c:pt>
                <c:pt idx="95">
                  <c:v>4.815907379E-2</c:v>
                </c:pt>
                <c:pt idx="96">
                  <c:v>-1.0745682600000001E-2</c:v>
                </c:pt>
                <c:pt idx="97">
                  <c:v>2.2437969750000002E-2</c:v>
                </c:pt>
                <c:pt idx="98">
                  <c:v>0.10406356210999999</c:v>
                </c:pt>
                <c:pt idx="99">
                  <c:v>0.11046428645</c:v>
                </c:pt>
                <c:pt idx="100">
                  <c:v>1.9347870570000002E-2</c:v>
                </c:pt>
                <c:pt idx="101">
                  <c:v>4.6812248099999997E-3</c:v>
                </c:pt>
                <c:pt idx="102">
                  <c:v>-1.001326118E-2</c:v>
                </c:pt>
                <c:pt idx="103">
                  <c:v>-0.11084418455</c:v>
                </c:pt>
                <c:pt idx="104">
                  <c:v>-0.18059416736</c:v>
                </c:pt>
                <c:pt idx="105">
                  <c:v>-0.15198770934</c:v>
                </c:pt>
                <c:pt idx="106">
                  <c:v>-9.8257839710000003E-2</c:v>
                </c:pt>
                <c:pt idx="107">
                  <c:v>-0.12083466247000001</c:v>
                </c:pt>
                <c:pt idx="108">
                  <c:v>-0.15812733201000001</c:v>
                </c:pt>
                <c:pt idx="109">
                  <c:v>-9.2682206000000003E-2</c:v>
                </c:pt>
                <c:pt idx="110">
                  <c:v>-0.15585361947000001</c:v>
                </c:pt>
                <c:pt idx="111">
                  <c:v>-0.16055193143999999</c:v>
                </c:pt>
                <c:pt idx="112">
                  <c:v>-0.14474387984000001</c:v>
                </c:pt>
                <c:pt idx="113">
                  <c:v>-0.16257259087000001</c:v>
                </c:pt>
                <c:pt idx="114">
                  <c:v>-0.22638099241000001</c:v>
                </c:pt>
                <c:pt idx="115">
                  <c:v>-0.28767429117999999</c:v>
                </c:pt>
                <c:pt idx="116">
                  <c:v>-0.20292612758</c:v>
                </c:pt>
                <c:pt idx="117">
                  <c:v>-0.16337500732999999</c:v>
                </c:pt>
                <c:pt idx="118">
                  <c:v>-9.2157914300000005E-2</c:v>
                </c:pt>
                <c:pt idx="119">
                  <c:v>9.8506238209999999E-2</c:v>
                </c:pt>
                <c:pt idx="120">
                  <c:v>0.31105071649999999</c:v>
                </c:pt>
                <c:pt idx="121">
                  <c:v>0.34960349407000002</c:v>
                </c:pt>
                <c:pt idx="122">
                  <c:v>0.28649787566000001</c:v>
                </c:pt>
                <c:pt idx="123">
                  <c:v>0.20949624056999999</c:v>
                </c:pt>
                <c:pt idx="124">
                  <c:v>0.1020620441</c:v>
                </c:pt>
                <c:pt idx="125">
                  <c:v>-2.9317266120000001E-2</c:v>
                </c:pt>
                <c:pt idx="126">
                  <c:v>-6.4725866029999995E-2</c:v>
                </c:pt>
                <c:pt idx="127">
                  <c:v>-8.6105061689999998E-2</c:v>
                </c:pt>
                <c:pt idx="128">
                  <c:v>-0.16213623754000001</c:v>
                </c:pt>
                <c:pt idx="129">
                  <c:v>-0.18749259485</c:v>
                </c:pt>
                <c:pt idx="130">
                  <c:v>-0.22520447125000001</c:v>
                </c:pt>
                <c:pt idx="131">
                  <c:v>-0.21349173399999999</c:v>
                </c:pt>
                <c:pt idx="132">
                  <c:v>-0.21458336821999999</c:v>
                </c:pt>
                <c:pt idx="133">
                  <c:v>-0.17588682882000001</c:v>
                </c:pt>
                <c:pt idx="134">
                  <c:v>-0.12463498384</c:v>
                </c:pt>
                <c:pt idx="135">
                  <c:v>-0.10787651715</c:v>
                </c:pt>
                <c:pt idx="136">
                  <c:v>-6.3196112030000001E-2</c:v>
                </c:pt>
                <c:pt idx="137">
                  <c:v>1.9245726479999999E-2</c:v>
                </c:pt>
                <c:pt idx="138">
                  <c:v>0.11070691420000001</c:v>
                </c:pt>
                <c:pt idx="139">
                  <c:v>0.18821807885</c:v>
                </c:pt>
                <c:pt idx="140">
                  <c:v>0.25827167778999999</c:v>
                </c:pt>
                <c:pt idx="141">
                  <c:v>0.28917011142999999</c:v>
                </c:pt>
                <c:pt idx="142">
                  <c:v>0.27048243569000002</c:v>
                </c:pt>
                <c:pt idx="143">
                  <c:v>0.16765972005999999</c:v>
                </c:pt>
                <c:pt idx="144">
                  <c:v>9.2264626700000005E-2</c:v>
                </c:pt>
                <c:pt idx="145">
                  <c:v>-1.0787644270000001E-2</c:v>
                </c:pt>
                <c:pt idx="146">
                  <c:v>-1.8115181500000001E-2</c:v>
                </c:pt>
                <c:pt idx="147">
                  <c:v>2.3117179920000001E-2</c:v>
                </c:pt>
                <c:pt idx="148">
                  <c:v>3.1345593099999999E-2</c:v>
                </c:pt>
                <c:pt idx="149">
                  <c:v>-3.8105149519999999E-2</c:v>
                </c:pt>
                <c:pt idx="150">
                  <c:v>-5.0074623479999997E-2</c:v>
                </c:pt>
                <c:pt idx="151">
                  <c:v>-5.8464404199999997E-3</c:v>
                </c:pt>
                <c:pt idx="152">
                  <c:v>-5.8578744299999999E-3</c:v>
                </c:pt>
                <c:pt idx="153">
                  <c:v>6.83792606E-3</c:v>
                </c:pt>
                <c:pt idx="154">
                  <c:v>4.8816775290000003E-2</c:v>
                </c:pt>
                <c:pt idx="155">
                  <c:v>0.10915623318000001</c:v>
                </c:pt>
                <c:pt idx="156">
                  <c:v>4.2711196999999999E-2</c:v>
                </c:pt>
                <c:pt idx="157">
                  <c:v>5.0348568500000003E-2</c:v>
                </c:pt>
                <c:pt idx="158">
                  <c:v>8.0186388060000002E-2</c:v>
                </c:pt>
                <c:pt idx="159">
                  <c:v>5.2457655960000002E-2</c:v>
                </c:pt>
                <c:pt idx="160">
                  <c:v>1.935012363E-2</c:v>
                </c:pt>
                <c:pt idx="161">
                  <c:v>2.127330593E-2</c:v>
                </c:pt>
                <c:pt idx="162">
                  <c:v>5.364172599E-2</c:v>
                </c:pt>
                <c:pt idx="163">
                  <c:v>3.1686399859999999E-2</c:v>
                </c:pt>
                <c:pt idx="164">
                  <c:v>3.30590534E-3</c:v>
                </c:pt>
                <c:pt idx="165">
                  <c:v>-1.9351036669999998E-2</c:v>
                </c:pt>
                <c:pt idx="166">
                  <c:v>-9.9163772410000003E-2</c:v>
                </c:pt>
                <c:pt idx="167">
                  <c:v>-0.13273951419999999</c:v>
                </c:pt>
                <c:pt idx="168">
                  <c:v>-4.2067748070000001E-2</c:v>
                </c:pt>
                <c:pt idx="169">
                  <c:v>-1.6645476789999999E-2</c:v>
                </c:pt>
                <c:pt idx="170">
                  <c:v>-4.7735820540000001E-2</c:v>
                </c:pt>
                <c:pt idx="171">
                  <c:v>-7.8077787039999999E-2</c:v>
                </c:pt>
                <c:pt idx="172">
                  <c:v>-1.88735215E-2</c:v>
                </c:pt>
                <c:pt idx="173">
                  <c:v>-5.2181139010000002E-2</c:v>
                </c:pt>
                <c:pt idx="174">
                  <c:v>-3.4706504499999999E-2</c:v>
                </c:pt>
                <c:pt idx="175">
                  <c:v>3.6897528800000003E-2</c:v>
                </c:pt>
                <c:pt idx="176">
                  <c:v>1.395521716E-2</c:v>
                </c:pt>
                <c:pt idx="177">
                  <c:v>-2.1132670070000002E-2</c:v>
                </c:pt>
                <c:pt idx="178">
                  <c:v>-3.294874817E-2</c:v>
                </c:pt>
                <c:pt idx="179">
                  <c:v>4.1846988499999998E-3</c:v>
                </c:pt>
                <c:pt idx="180">
                  <c:v>-0.10774578352</c:v>
                </c:pt>
                <c:pt idx="181">
                  <c:v>-0.12784233342000001</c:v>
                </c:pt>
                <c:pt idx="182">
                  <c:v>-8.1937904120000002E-2</c:v>
                </c:pt>
                <c:pt idx="183">
                  <c:v>-2.2992992970000001E-2</c:v>
                </c:pt>
                <c:pt idx="184">
                  <c:v>-4.9070062710000001E-2</c:v>
                </c:pt>
                <c:pt idx="185">
                  <c:v>-5.2411631379999997E-2</c:v>
                </c:pt>
                <c:pt idx="186">
                  <c:v>-4.0562476229999998E-2</c:v>
                </c:pt>
                <c:pt idx="187">
                  <c:v>-7.401918146E-2</c:v>
                </c:pt>
                <c:pt idx="188">
                  <c:v>-3.7797889279999997E-2</c:v>
                </c:pt>
                <c:pt idx="189">
                  <c:v>-2.3944601000000002E-3</c:v>
                </c:pt>
                <c:pt idx="190">
                  <c:v>7.754787061E-2</c:v>
                </c:pt>
                <c:pt idx="191">
                  <c:v>3.4705825E-4</c:v>
                </c:pt>
                <c:pt idx="192">
                  <c:v>1.334619919E-2</c:v>
                </c:pt>
                <c:pt idx="193">
                  <c:v>8.1947682869999997E-2</c:v>
                </c:pt>
                <c:pt idx="194">
                  <c:v>0.10292000314999999</c:v>
                </c:pt>
                <c:pt idx="195">
                  <c:v>0.10157176749000001</c:v>
                </c:pt>
                <c:pt idx="196">
                  <c:v>0.11072116564999999</c:v>
                </c:pt>
                <c:pt idx="197">
                  <c:v>0.22079159488</c:v>
                </c:pt>
                <c:pt idx="198">
                  <c:v>8.6377124560000004E-2</c:v>
                </c:pt>
                <c:pt idx="199">
                  <c:v>5.7521948580000003E-2</c:v>
                </c:pt>
                <c:pt idx="200">
                  <c:v>-1.116661134E-2</c:v>
                </c:pt>
                <c:pt idx="201">
                  <c:v>-7.0833524189999997E-2</c:v>
                </c:pt>
                <c:pt idx="202">
                  <c:v>-0.12939890795</c:v>
                </c:pt>
                <c:pt idx="203">
                  <c:v>-0.12799851367000001</c:v>
                </c:pt>
                <c:pt idx="204">
                  <c:v>2.320243759E-2</c:v>
                </c:pt>
                <c:pt idx="205">
                  <c:v>-3.1282318150000002E-2</c:v>
                </c:pt>
                <c:pt idx="206">
                  <c:v>1.244472173E-2</c:v>
                </c:pt>
                <c:pt idx="207">
                  <c:v>7.7190696949999998E-2</c:v>
                </c:pt>
                <c:pt idx="208">
                  <c:v>0.1431774556</c:v>
                </c:pt>
                <c:pt idx="209">
                  <c:v>0.18774162305</c:v>
                </c:pt>
                <c:pt idx="210">
                  <c:v>0.18653447214999999</c:v>
                </c:pt>
                <c:pt idx="211">
                  <c:v>0.20481482376999999</c:v>
                </c:pt>
                <c:pt idx="212">
                  <c:v>2.688990355E-2</c:v>
                </c:pt>
                <c:pt idx="213">
                  <c:v>-5.5478007039999999E-2</c:v>
                </c:pt>
                <c:pt idx="214">
                  <c:v>-3.0697111789999999E-2</c:v>
                </c:pt>
                <c:pt idx="215">
                  <c:v>-5.2890408569999998E-2</c:v>
                </c:pt>
                <c:pt idx="216">
                  <c:v>6.0572044000000002E-3</c:v>
                </c:pt>
                <c:pt idx="217">
                  <c:v>5.9301336560000001E-2</c:v>
                </c:pt>
                <c:pt idx="218">
                  <c:v>0.2204507228</c:v>
                </c:pt>
                <c:pt idx="219">
                  <c:v>0.29595231877</c:v>
                </c:pt>
                <c:pt idx="220">
                  <c:v>0.24716657774</c:v>
                </c:pt>
                <c:pt idx="221">
                  <c:v>0.27771117633999998</c:v>
                </c:pt>
                <c:pt idx="222">
                  <c:v>0.16900695846</c:v>
                </c:pt>
                <c:pt idx="223">
                  <c:v>0.16551244884999999</c:v>
                </c:pt>
                <c:pt idx="224">
                  <c:v>0.13609060915000001</c:v>
                </c:pt>
                <c:pt idx="225">
                  <c:v>0.13058602618000001</c:v>
                </c:pt>
                <c:pt idx="226">
                  <c:v>-9.4831706999999998E-3</c:v>
                </c:pt>
                <c:pt idx="227">
                  <c:v>-6.5249244260000006E-2</c:v>
                </c:pt>
                <c:pt idx="228">
                  <c:v>1.5435131669999999E-2</c:v>
                </c:pt>
                <c:pt idx="229">
                  <c:v>2.14593747E-3</c:v>
                </c:pt>
                <c:pt idx="230">
                  <c:v>9.2268008570000004E-2</c:v>
                </c:pt>
                <c:pt idx="231">
                  <c:v>8.3726561140000003E-2</c:v>
                </c:pt>
                <c:pt idx="232">
                  <c:v>0.14307153236</c:v>
                </c:pt>
                <c:pt idx="233">
                  <c:v>6.0208180460000003E-2</c:v>
                </c:pt>
                <c:pt idx="234">
                  <c:v>1.5873039469999999E-2</c:v>
                </c:pt>
                <c:pt idx="235">
                  <c:v>-1.3607290300000001E-3</c:v>
                </c:pt>
                <c:pt idx="236">
                  <c:v>-8.2132892090000006E-2</c:v>
                </c:pt>
                <c:pt idx="237">
                  <c:v>-4.0020633440000002E-2</c:v>
                </c:pt>
                <c:pt idx="238">
                  <c:v>5.4837612000000003E-3</c:v>
                </c:pt>
                <c:pt idx="239">
                  <c:v>7.1745043750000001E-2</c:v>
                </c:pt>
                <c:pt idx="240">
                  <c:v>-2.9367254240000001E-2</c:v>
                </c:pt>
                <c:pt idx="241">
                  <c:v>1.6766257239999999E-2</c:v>
                </c:pt>
                <c:pt idx="242">
                  <c:v>3.5234018040000002E-2</c:v>
                </c:pt>
                <c:pt idx="243">
                  <c:v>-5.4059095190000003E-2</c:v>
                </c:pt>
                <c:pt idx="244">
                  <c:v>-6.5671925460000002E-2</c:v>
                </c:pt>
                <c:pt idx="245">
                  <c:v>-1.673767793E-2</c:v>
                </c:pt>
                <c:pt idx="246">
                  <c:v>-1.0728908509999999E-2</c:v>
                </c:pt>
                <c:pt idx="247">
                  <c:v>-0.1088117287</c:v>
                </c:pt>
                <c:pt idx="248">
                  <c:v>-0.10707495543999999</c:v>
                </c:pt>
                <c:pt idx="249">
                  <c:v>-0.13881900663999999</c:v>
                </c:pt>
                <c:pt idx="250">
                  <c:v>-0.15287138879000001</c:v>
                </c:pt>
                <c:pt idx="251">
                  <c:v>-0.11041117001</c:v>
                </c:pt>
                <c:pt idx="252">
                  <c:v>5.0920032820000002E-2</c:v>
                </c:pt>
                <c:pt idx="253">
                  <c:v>7.2746726619999993E-2</c:v>
                </c:pt>
                <c:pt idx="254">
                  <c:v>-4.1326707640000002E-2</c:v>
                </c:pt>
                <c:pt idx="255">
                  <c:v>7.5825186229999994E-2</c:v>
                </c:pt>
                <c:pt idx="256">
                  <c:v>0.19153247868000001</c:v>
                </c:pt>
                <c:pt idx="257">
                  <c:v>0.13029376338000001</c:v>
                </c:pt>
                <c:pt idx="258">
                  <c:v>6.5511288400000006E-2</c:v>
                </c:pt>
                <c:pt idx="259">
                  <c:v>6.9147435199999996E-2</c:v>
                </c:pt>
                <c:pt idx="260">
                  <c:v>9.2950603069999999E-2</c:v>
                </c:pt>
                <c:pt idx="261">
                  <c:v>-3.5988292759999999E-2</c:v>
                </c:pt>
                <c:pt idx="262">
                  <c:v>-9.8755682000000009E-4</c:v>
                </c:pt>
                <c:pt idx="263">
                  <c:v>-7.2273964780000005E-2</c:v>
                </c:pt>
                <c:pt idx="264">
                  <c:v>-0.13149883271999999</c:v>
                </c:pt>
                <c:pt idx="265">
                  <c:v>3.0961148260000002E-2</c:v>
                </c:pt>
                <c:pt idx="266">
                  <c:v>0.13267647247</c:v>
                </c:pt>
                <c:pt idx="267">
                  <c:v>0.14785164550999999</c:v>
                </c:pt>
                <c:pt idx="268">
                  <c:v>-5.0853889880000003E-2</c:v>
                </c:pt>
                <c:pt idx="269">
                  <c:v>9.454699003E-2</c:v>
                </c:pt>
                <c:pt idx="270">
                  <c:v>2.8174184889999999E-2</c:v>
                </c:pt>
                <c:pt idx="271">
                  <c:v>-7.3812423860000004E-2</c:v>
                </c:pt>
                <c:pt idx="272">
                  <c:v>-0.10999597210000001</c:v>
                </c:pt>
                <c:pt idx="273">
                  <c:v>-0.14404886047000001</c:v>
                </c:pt>
                <c:pt idx="274">
                  <c:v>-5.4533150200000002E-3</c:v>
                </c:pt>
                <c:pt idx="275">
                  <c:v>-2.9688078999999999E-2</c:v>
                </c:pt>
                <c:pt idx="276">
                  <c:v>7.0010602039999995E-2</c:v>
                </c:pt>
                <c:pt idx="277">
                  <c:v>-2.914687904E-2</c:v>
                </c:pt>
                <c:pt idx="278">
                  <c:v>-4.3174820420000003E-2</c:v>
                </c:pt>
                <c:pt idx="279">
                  <c:v>4.6600458490000003E-2</c:v>
                </c:pt>
                <c:pt idx="280">
                  <c:v>-1.5797111499999999E-2</c:v>
                </c:pt>
                <c:pt idx="281">
                  <c:v>-0.27376557891999997</c:v>
                </c:pt>
                <c:pt idx="282">
                  <c:v>-0.53187279971000001</c:v>
                </c:pt>
                <c:pt idx="283">
                  <c:v>-0.57154177440999998</c:v>
                </c:pt>
                <c:pt idx="284">
                  <c:v>-0.52930756848000005</c:v>
                </c:pt>
                <c:pt idx="285">
                  <c:v>-0.58771653545000002</c:v>
                </c:pt>
                <c:pt idx="286">
                  <c:v>-0.60255511663000005</c:v>
                </c:pt>
                <c:pt idx="287">
                  <c:v>-0.56505515912000004</c:v>
                </c:pt>
                <c:pt idx="288">
                  <c:v>-0.37135802478000002</c:v>
                </c:pt>
                <c:pt idx="289">
                  <c:v>-5.2708877270000003E-2</c:v>
                </c:pt>
                <c:pt idx="290">
                  <c:v>0.47887323966000001</c:v>
                </c:pt>
                <c:pt idx="291">
                  <c:v>0.61167512670000002</c:v>
                </c:pt>
                <c:pt idx="292">
                  <c:v>1.0359154930100001</c:v>
                </c:pt>
                <c:pt idx="293">
                  <c:v>1.64906679817</c:v>
                </c:pt>
                <c:pt idx="294">
                  <c:v>2.2400000006099998</c:v>
                </c:pt>
                <c:pt idx="295">
                  <c:v>1.2675300651100001</c:v>
                </c:pt>
                <c:pt idx="296">
                  <c:v>0.25911330050999998</c:v>
                </c:pt>
                <c:pt idx="297">
                  <c:v>0.29039301322</c:v>
                </c:pt>
                <c:pt idx="298">
                  <c:v>-7.8968704400000006E-2</c:v>
                </c:pt>
                <c:pt idx="299">
                  <c:v>-0.14453781503999999</c:v>
                </c:pt>
                <c:pt idx="300">
                  <c:v>-0.51171875</c:v>
                </c:pt>
                <c:pt idx="301">
                  <c:v>-0.64580602880000004</c:v>
                </c:pt>
                <c:pt idx="302">
                  <c:v>-0.49418604649999998</c:v>
                </c:pt>
                <c:pt idx="303">
                  <c:v>-0.49111111111</c:v>
                </c:pt>
                <c:pt idx="304">
                  <c:v>-0.23887688982999999</c:v>
                </c:pt>
                <c:pt idx="305">
                  <c:v>-0.13617886175999999</c:v>
                </c:pt>
                <c:pt idx="306">
                  <c:v>0.45868945868</c:v>
                </c:pt>
                <c:pt idx="307">
                  <c:v>1.19043062193</c:v>
                </c:pt>
                <c:pt idx="308">
                  <c:v>0.58233670630000001</c:v>
                </c:pt>
                <c:pt idx="309">
                  <c:v>0.55440414515000003</c:v>
                </c:pt>
                <c:pt idx="310">
                  <c:v>-0.16801437551000001</c:v>
                </c:pt>
                <c:pt idx="311">
                  <c:v>-4.0000000090000001E-2</c:v>
                </c:pt>
                <c:pt idx="312">
                  <c:v>-0.35048112512000001</c:v>
                </c:pt>
                <c:pt idx="313">
                  <c:v>-0.52510793006000001</c:v>
                </c:pt>
                <c:pt idx="314">
                  <c:v>-0.50500910742000005</c:v>
                </c:pt>
                <c:pt idx="315">
                  <c:v>-0.48430193718999998</c:v>
                </c:pt>
                <c:pt idx="316">
                  <c:v>-0.14647239271000001</c:v>
                </c:pt>
                <c:pt idx="317">
                  <c:v>-0.32528798675999998</c:v>
                </c:pt>
                <c:pt idx="318">
                  <c:v>9.7258883140000002E-2</c:v>
                </c:pt>
                <c:pt idx="319">
                  <c:v>0.34410994748000001</c:v>
                </c:pt>
                <c:pt idx="320">
                  <c:v>0.35126582273000001</c:v>
                </c:pt>
                <c:pt idx="321">
                  <c:v>0.44977863837999998</c:v>
                </c:pt>
                <c:pt idx="322">
                  <c:v>0.11136363654000001</c:v>
                </c:pt>
                <c:pt idx="323">
                  <c:v>0.16602704670000001</c:v>
                </c:pt>
                <c:pt idx="324">
                  <c:v>-0.21493092451000001</c:v>
                </c:pt>
                <c:pt idx="325">
                  <c:v>6.5848214560000007E-2</c:v>
                </c:pt>
                <c:pt idx="326">
                  <c:v>-6.9219440480000005E-2</c:v>
                </c:pt>
                <c:pt idx="327">
                  <c:v>-9.6876301380000002E-2</c:v>
                </c:pt>
                <c:pt idx="328">
                  <c:v>0.10206637437</c:v>
                </c:pt>
                <c:pt idx="329">
                  <c:v>5.5657374179999997E-2</c:v>
                </c:pt>
                <c:pt idx="330">
                  <c:v>0.20332480813000001</c:v>
                </c:pt>
                <c:pt idx="331">
                  <c:v>-3.8798498299999998E-2</c:v>
                </c:pt>
                <c:pt idx="332">
                  <c:v>0.16400000028</c:v>
                </c:pt>
                <c:pt idx="333">
                  <c:v>-3.0416101519999999E-2</c:v>
                </c:pt>
                <c:pt idx="334">
                  <c:v>0.32893485499000003</c:v>
                </c:pt>
                <c:pt idx="335">
                  <c:v>0.29912280713</c:v>
                </c:pt>
                <c:pt idx="336">
                  <c:v>0.6291666669</c:v>
                </c:pt>
                <c:pt idx="337">
                  <c:v>0.57593688383999997</c:v>
                </c:pt>
                <c:pt idx="338">
                  <c:v>0.61406025799999997</c:v>
                </c:pt>
                <c:pt idx="339">
                  <c:v>0.96971046799000005</c:v>
                </c:pt>
                <c:pt idx="340">
                  <c:v>0.52889858238999998</c:v>
                </c:pt>
                <c:pt idx="341">
                  <c:v>0.63026521068999997</c:v>
                </c:pt>
                <c:pt idx="342">
                  <c:v>-1.3867488480000001E-2</c:v>
                </c:pt>
                <c:pt idx="343">
                  <c:v>4.9689441010000002E-2</c:v>
                </c:pt>
                <c:pt idx="344">
                  <c:v>-0.1066250099</c:v>
                </c:pt>
                <c:pt idx="345">
                  <c:v>-9.8996655530000005E-2</c:v>
                </c:pt>
                <c:pt idx="346">
                  <c:v>-0.19959266804</c:v>
                </c:pt>
                <c:pt idx="347">
                  <c:v>-0.35875953485000001</c:v>
                </c:pt>
                <c:pt idx="348">
                  <c:v>-0.1415343915</c:v>
                </c:pt>
                <c:pt idx="349">
                  <c:v>-0.34508474575999998</c:v>
                </c:pt>
                <c:pt idx="350">
                  <c:v>-0.13064111753999999</c:v>
                </c:pt>
                <c:pt idx="351">
                  <c:v>-6.6445181900000004E-3</c:v>
                </c:pt>
                <c:pt idx="352">
                  <c:v>4.7063638000000001E-3</c:v>
                </c:pt>
                <c:pt idx="353">
                  <c:v>3.7254280399999999E-2</c:v>
                </c:pt>
                <c:pt idx="354">
                  <c:v>-0.13131976377999999</c:v>
                </c:pt>
                <c:pt idx="355">
                  <c:v>0.63453014185000001</c:v>
                </c:pt>
                <c:pt idx="356">
                  <c:v>0.40839386604</c:v>
                </c:pt>
                <c:pt idx="357">
                  <c:v>0.21087778582</c:v>
                </c:pt>
                <c:pt idx="358">
                  <c:v>7.3122529680000006E-2</c:v>
                </c:pt>
                <c:pt idx="359">
                  <c:v>-9.8535191260000002E-2</c:v>
                </c:pt>
                <c:pt idx="360">
                  <c:v>1.196013292E-2</c:v>
                </c:pt>
                <c:pt idx="361">
                  <c:v>-0.30278145698999998</c:v>
                </c:pt>
                <c:pt idx="362">
                  <c:v>-0.35088408651000003</c:v>
                </c:pt>
                <c:pt idx="363">
                  <c:v>-0.62901276022999997</c:v>
                </c:pt>
                <c:pt idx="364">
                  <c:v>-0.68264808367999996</c:v>
                </c:pt>
                <c:pt idx="365">
                  <c:v>-0.62834608027000005</c:v>
                </c:pt>
                <c:pt idx="366">
                  <c:v>-0.73891924711000001</c:v>
                </c:pt>
                <c:pt idx="367">
                  <c:v>-0.73947550044999999</c:v>
                </c:pt>
                <c:pt idx="368">
                  <c:v>-0.87258010689999999</c:v>
                </c:pt>
                <c:pt idx="369">
                  <c:v>2.9452433399999998E-2</c:v>
                </c:pt>
                <c:pt idx="370">
                  <c:v>0.30549490525</c:v>
                </c:pt>
                <c:pt idx="371">
                  <c:v>0.70543478258000003</c:v>
                </c:pt>
                <c:pt idx="372">
                  <c:v>2.0613382896300001</c:v>
                </c:pt>
                <c:pt idx="373">
                  <c:v>2.3199679243000002</c:v>
                </c:pt>
                <c:pt idx="374">
                  <c:v>6.28792570277</c:v>
                </c:pt>
                <c:pt idx="375">
                  <c:v>0.31874544145</c:v>
                </c:pt>
                <c:pt idx="376">
                  <c:v>0.65331482165999999</c:v>
                </c:pt>
                <c:pt idx="377">
                  <c:v>8.6699740159999997E-2</c:v>
                </c:pt>
                <c:pt idx="378">
                  <c:v>7.5218023460000005E-2</c:v>
                </c:pt>
                <c:pt idx="379">
                  <c:v>0.52562781713999995</c:v>
                </c:pt>
                <c:pt idx="380">
                  <c:v>0.50859049201999995</c:v>
                </c:pt>
                <c:pt idx="381">
                  <c:v>0.70787916539999995</c:v>
                </c:pt>
                <c:pt idx="382">
                  <c:v>0.43778780943000001</c:v>
                </c:pt>
                <c:pt idx="383">
                  <c:v>0.89839134228999995</c:v>
                </c:pt>
                <c:pt idx="384">
                  <c:v>0.60372960375999996</c:v>
                </c:pt>
                <c:pt idx="385">
                  <c:v>0.1193342834</c:v>
                </c:pt>
                <c:pt idx="386">
                  <c:v>5.0644604289999999E-2</c:v>
                </c:pt>
                <c:pt idx="387">
                  <c:v>-0.34182836841999997</c:v>
                </c:pt>
                <c:pt idx="388">
                  <c:v>-0.48975548596000001</c:v>
                </c:pt>
                <c:pt idx="389">
                  <c:v>-0.41948941845999999</c:v>
                </c:pt>
                <c:pt idx="390">
                  <c:v>-0.38599943773000001</c:v>
                </c:pt>
                <c:pt idx="391">
                  <c:v>-0.37905844152000001</c:v>
                </c:pt>
                <c:pt idx="392">
                  <c:v>-0.23318482323</c:v>
                </c:pt>
                <c:pt idx="393">
                  <c:v>0.29097782254999999</c:v>
                </c:pt>
                <c:pt idx="394">
                  <c:v>0.44902381553999998</c:v>
                </c:pt>
                <c:pt idx="395">
                  <c:v>0.43684870878999998</c:v>
                </c:pt>
                <c:pt idx="396">
                  <c:v>0.46862097426999999</c:v>
                </c:pt>
                <c:pt idx="397">
                  <c:v>0.40838323360000001</c:v>
                </c:pt>
                <c:pt idx="398">
                  <c:v>3.3783629279999998E-2</c:v>
                </c:pt>
                <c:pt idx="399">
                  <c:v>0.11148459394</c:v>
                </c:pt>
                <c:pt idx="400">
                  <c:v>0.21251110903000001</c:v>
                </c:pt>
                <c:pt idx="401">
                  <c:v>0.26242450651999999</c:v>
                </c:pt>
                <c:pt idx="402">
                  <c:v>0.41402074832000002</c:v>
                </c:pt>
                <c:pt idx="403">
                  <c:v>0.36244145637000003</c:v>
                </c:pt>
                <c:pt idx="404">
                  <c:v>0.53110253359000004</c:v>
                </c:pt>
                <c:pt idx="405">
                  <c:v>0.32265446225</c:v>
                </c:pt>
                <c:pt idx="406">
                  <c:v>0.57266331247000002</c:v>
                </c:pt>
                <c:pt idx="407">
                  <c:v>0.30270182604000001</c:v>
                </c:pt>
                <c:pt idx="408">
                  <c:v>3.2969761770000001E-2</c:v>
                </c:pt>
                <c:pt idx="409">
                  <c:v>-9.7328353490000005E-2</c:v>
                </c:pt>
                <c:pt idx="410">
                  <c:v>-0.16419944505</c:v>
                </c:pt>
                <c:pt idx="411">
                  <c:v>-0.17864115352000001</c:v>
                </c:pt>
                <c:pt idx="412">
                  <c:v>-0.32232671892999998</c:v>
                </c:pt>
                <c:pt idx="413">
                  <c:v>-0.26080850635000002</c:v>
                </c:pt>
                <c:pt idx="414">
                  <c:v>-0.28954758569</c:v>
                </c:pt>
                <c:pt idx="415">
                  <c:v>-0.31492127454000002</c:v>
                </c:pt>
                <c:pt idx="416">
                  <c:v>-0.31772821616000002</c:v>
                </c:pt>
                <c:pt idx="417">
                  <c:v>-0.33899654330000001</c:v>
                </c:pt>
                <c:pt idx="418">
                  <c:v>-0.41519622217000002</c:v>
                </c:pt>
                <c:pt idx="419">
                  <c:v>-0.50600005983999996</c:v>
                </c:pt>
                <c:pt idx="420">
                  <c:v>-0.39569951533999997</c:v>
                </c:pt>
                <c:pt idx="421">
                  <c:v>-0.17146662148</c:v>
                </c:pt>
                <c:pt idx="422">
                  <c:v>-0.24011662479000001</c:v>
                </c:pt>
                <c:pt idx="423">
                  <c:v>-0.19877303016</c:v>
                </c:pt>
                <c:pt idx="424">
                  <c:v>-2.1925765699999999E-2</c:v>
                </c:pt>
                <c:pt idx="425">
                  <c:v>8.1561727629999997E-2</c:v>
                </c:pt>
                <c:pt idx="426">
                  <c:v>2.8310048359999999E-2</c:v>
                </c:pt>
                <c:pt idx="427">
                  <c:v>-6.2975937290000006E-2</c:v>
                </c:pt>
                <c:pt idx="428">
                  <c:v>0.12634183497000001</c:v>
                </c:pt>
                <c:pt idx="429">
                  <c:v>2.8554915989999999E-2</c:v>
                </c:pt>
                <c:pt idx="430">
                  <c:v>3.1122639019999999E-2</c:v>
                </c:pt>
                <c:pt idx="431">
                  <c:v>-1.028265104E-2</c:v>
                </c:pt>
                <c:pt idx="432">
                  <c:v>-4.0014559089999999E-2</c:v>
                </c:pt>
                <c:pt idx="433">
                  <c:v>-5.5590060689999998E-2</c:v>
                </c:pt>
                <c:pt idx="434">
                  <c:v>2.127623612E-2</c:v>
                </c:pt>
                <c:pt idx="435">
                  <c:v>0.22966011919000001</c:v>
                </c:pt>
                <c:pt idx="436">
                  <c:v>5.4072280039999997E-2</c:v>
                </c:pt>
                <c:pt idx="437">
                  <c:v>5.3276923240000003E-2</c:v>
                </c:pt>
                <c:pt idx="438">
                  <c:v>6.2901092689999993E-2</c:v>
                </c:pt>
                <c:pt idx="439">
                  <c:v>-1.9079112500000001E-3</c:v>
                </c:pt>
                <c:pt idx="440">
                  <c:v>-0.10692336681</c:v>
                </c:pt>
                <c:pt idx="441">
                  <c:v>-0.14494676974000001</c:v>
                </c:pt>
                <c:pt idx="442">
                  <c:v>-6.2754967369999998E-2</c:v>
                </c:pt>
                <c:pt idx="443">
                  <c:v>-0.18596479335999999</c:v>
                </c:pt>
                <c:pt idx="444">
                  <c:v>-0.163069302</c:v>
                </c:pt>
                <c:pt idx="445">
                  <c:v>-0.11069083322999999</c:v>
                </c:pt>
                <c:pt idx="446">
                  <c:v>-0.16459726634999999</c:v>
                </c:pt>
                <c:pt idx="447">
                  <c:v>-0.16426770069999999</c:v>
                </c:pt>
                <c:pt idx="448">
                  <c:v>-0.11203479357</c:v>
                </c:pt>
                <c:pt idx="449">
                  <c:v>7.3332428079999998E-2</c:v>
                </c:pt>
                <c:pt idx="450">
                  <c:v>-2.77482997E-2</c:v>
                </c:pt>
                <c:pt idx="451">
                  <c:v>-3.4533999429999997E-2</c:v>
                </c:pt>
                <c:pt idx="452">
                  <c:v>2.3859559150000001E-2</c:v>
                </c:pt>
                <c:pt idx="453">
                  <c:v>-4.3670006470000002E-2</c:v>
                </c:pt>
                <c:pt idx="454">
                  <c:v>-3.6136203780000001E-2</c:v>
                </c:pt>
                <c:pt idx="455">
                  <c:v>-3.8440021230000003E-2</c:v>
                </c:pt>
                <c:pt idx="456">
                  <c:v>-5.7819907800000002E-3</c:v>
                </c:pt>
                <c:pt idx="457">
                  <c:v>-0.12803168615999999</c:v>
                </c:pt>
                <c:pt idx="458">
                  <c:v>-0.12613324175000001</c:v>
                </c:pt>
                <c:pt idx="459">
                  <c:v>-5.8422237840000002E-2</c:v>
                </c:pt>
                <c:pt idx="460">
                  <c:v>-0.17107572119</c:v>
                </c:pt>
                <c:pt idx="461">
                  <c:v>-0.16807672454</c:v>
                </c:pt>
                <c:pt idx="462">
                  <c:v>-0.11219409665000001</c:v>
                </c:pt>
                <c:pt idx="463">
                  <c:v>2.9637365419999999E-2</c:v>
                </c:pt>
                <c:pt idx="464">
                  <c:v>9.7957774099999995E-3</c:v>
                </c:pt>
                <c:pt idx="465">
                  <c:v>1.624539144E-2</c:v>
                </c:pt>
                <c:pt idx="466">
                  <c:v>9.3353945399999999E-2</c:v>
                </c:pt>
                <c:pt idx="467">
                  <c:v>6.9841489940000001E-2</c:v>
                </c:pt>
                <c:pt idx="468">
                  <c:v>0.12560627696000001</c:v>
                </c:pt>
                <c:pt idx="469">
                  <c:v>0.12388055614</c:v>
                </c:pt>
                <c:pt idx="470">
                  <c:v>0.11025030454</c:v>
                </c:pt>
                <c:pt idx="471">
                  <c:v>-1.638197051E-2</c:v>
                </c:pt>
                <c:pt idx="472">
                  <c:v>2.2819269909999999E-2</c:v>
                </c:pt>
                <c:pt idx="473">
                  <c:v>9.202560052E-2</c:v>
                </c:pt>
                <c:pt idx="474">
                  <c:v>1.0662564479999999E-2</c:v>
                </c:pt>
                <c:pt idx="475">
                  <c:v>-2.0661315020000001E-2</c:v>
                </c:pt>
                <c:pt idx="476">
                  <c:v>7.3817399950000001E-2</c:v>
                </c:pt>
                <c:pt idx="477">
                  <c:v>0.20716844585999999</c:v>
                </c:pt>
                <c:pt idx="478">
                  <c:v>0.16534061887000001</c:v>
                </c:pt>
                <c:pt idx="479">
                  <c:v>0.15270721934000001</c:v>
                </c:pt>
                <c:pt idx="480">
                  <c:v>0.15184842699000001</c:v>
                </c:pt>
                <c:pt idx="481">
                  <c:v>0.17496766717000001</c:v>
                </c:pt>
                <c:pt idx="482">
                  <c:v>0.32980443961</c:v>
                </c:pt>
                <c:pt idx="483">
                  <c:v>0.46373017978999997</c:v>
                </c:pt>
                <c:pt idx="484">
                  <c:v>0.46842670953999999</c:v>
                </c:pt>
                <c:pt idx="485">
                  <c:v>0.36336824361999998</c:v>
                </c:pt>
                <c:pt idx="486">
                  <c:v>0.50545970222000003</c:v>
                </c:pt>
                <c:pt idx="487">
                  <c:v>0.46043984449000003</c:v>
                </c:pt>
                <c:pt idx="488">
                  <c:v>0.27866542903000002</c:v>
                </c:pt>
                <c:pt idx="489">
                  <c:v>0.18158221026999999</c:v>
                </c:pt>
                <c:pt idx="490">
                  <c:v>0.11939575518999999</c:v>
                </c:pt>
                <c:pt idx="491">
                  <c:v>-3.8761289210000001E-2</c:v>
                </c:pt>
                <c:pt idx="492">
                  <c:v>-0.25088553985000001</c:v>
                </c:pt>
                <c:pt idx="493">
                  <c:v>-0.33307313782999998</c:v>
                </c:pt>
                <c:pt idx="494">
                  <c:v>-0.42063238869000003</c:v>
                </c:pt>
                <c:pt idx="495">
                  <c:v>-0.44490041939000002</c:v>
                </c:pt>
                <c:pt idx="496">
                  <c:v>-0.44063380057000001</c:v>
                </c:pt>
                <c:pt idx="497">
                  <c:v>-0.39779282552</c:v>
                </c:pt>
                <c:pt idx="498">
                  <c:v>-0.37988078462000002</c:v>
                </c:pt>
                <c:pt idx="499">
                  <c:v>-0.37740600785</c:v>
                </c:pt>
                <c:pt idx="500">
                  <c:v>-0.38255960009000001</c:v>
                </c:pt>
                <c:pt idx="501">
                  <c:v>-0.45727796612999999</c:v>
                </c:pt>
                <c:pt idx="502">
                  <c:v>-0.49875921983999999</c:v>
                </c:pt>
                <c:pt idx="503">
                  <c:v>-0.52360689546999994</c:v>
                </c:pt>
                <c:pt idx="504">
                  <c:v>-0.51807207298000002</c:v>
                </c:pt>
                <c:pt idx="505">
                  <c:v>-0.50847018699000002</c:v>
                </c:pt>
                <c:pt idx="506">
                  <c:v>-0.57840120456999999</c:v>
                </c:pt>
                <c:pt idx="507">
                  <c:v>-0.57514230341999995</c:v>
                </c:pt>
                <c:pt idx="508">
                  <c:v>-0.54179448845</c:v>
                </c:pt>
                <c:pt idx="509">
                  <c:v>-0.49210855704000001</c:v>
                </c:pt>
                <c:pt idx="510">
                  <c:v>-0.42638358710000002</c:v>
                </c:pt>
                <c:pt idx="511">
                  <c:v>-0.32823496958999998</c:v>
                </c:pt>
                <c:pt idx="512">
                  <c:v>-6.1774854589999997E-2</c:v>
                </c:pt>
                <c:pt idx="513">
                  <c:v>-3.9280971089999998E-2</c:v>
                </c:pt>
                <c:pt idx="514">
                  <c:v>1.735647874E-2</c:v>
                </c:pt>
                <c:pt idx="515">
                  <c:v>6.672215393E-2</c:v>
                </c:pt>
                <c:pt idx="516">
                  <c:v>4.8166014069999999E-2</c:v>
                </c:pt>
                <c:pt idx="517">
                  <c:v>6.3880193330000001E-2</c:v>
                </c:pt>
                <c:pt idx="518">
                  <c:v>1.2225420399999999E-3</c:v>
                </c:pt>
                <c:pt idx="519">
                  <c:v>0.16284863344</c:v>
                </c:pt>
                <c:pt idx="520">
                  <c:v>4.5089509440000002E-2</c:v>
                </c:pt>
                <c:pt idx="521">
                  <c:v>8.8029907939999999E-2</c:v>
                </c:pt>
                <c:pt idx="522">
                  <c:v>0.17512662731</c:v>
                </c:pt>
                <c:pt idx="523">
                  <c:v>0.10587261626</c:v>
                </c:pt>
                <c:pt idx="524">
                  <c:v>0.21843128262</c:v>
                </c:pt>
                <c:pt idx="525">
                  <c:v>0.20437304976000001</c:v>
                </c:pt>
                <c:pt idx="526">
                  <c:v>0.36350370501000001</c:v>
                </c:pt>
                <c:pt idx="527">
                  <c:v>0.19372767799000001</c:v>
                </c:pt>
                <c:pt idx="528">
                  <c:v>0.31912729367999998</c:v>
                </c:pt>
                <c:pt idx="529">
                  <c:v>0.41941225005999999</c:v>
                </c:pt>
                <c:pt idx="530">
                  <c:v>0.36077191467000003</c:v>
                </c:pt>
                <c:pt idx="531">
                  <c:v>0.42312888574000002</c:v>
                </c:pt>
                <c:pt idx="532">
                  <c:v>0.42858830019999999</c:v>
                </c:pt>
                <c:pt idx="533">
                  <c:v>0.59572449412999995</c:v>
                </c:pt>
                <c:pt idx="534">
                  <c:v>0.30264275859000001</c:v>
                </c:pt>
                <c:pt idx="535">
                  <c:v>0.42029879432</c:v>
                </c:pt>
                <c:pt idx="536">
                  <c:v>0.32691049321999999</c:v>
                </c:pt>
                <c:pt idx="537">
                  <c:v>0.26824424528000002</c:v>
                </c:pt>
                <c:pt idx="538">
                  <c:v>0.34210304773</c:v>
                </c:pt>
                <c:pt idx="539">
                  <c:v>0.40954759315</c:v>
                </c:pt>
                <c:pt idx="540">
                  <c:v>0.41115745504000001</c:v>
                </c:pt>
                <c:pt idx="541">
                  <c:v>0.19186992753000001</c:v>
                </c:pt>
                <c:pt idx="542">
                  <c:v>0.40207582665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HOSP_do_7_dne_7dni_shift7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1.0091781</c:v>
                </c:pt>
                <c:pt idx="1">
                  <c:v>1.0278666000000001</c:v>
                </c:pt>
                <c:pt idx="2">
                  <c:v>1.0745878</c:v>
                </c:pt>
                <c:pt idx="3">
                  <c:v>0.94376839999999995</c:v>
                </c:pt>
                <c:pt idx="4">
                  <c:v>0.91573570000000004</c:v>
                </c:pt>
                <c:pt idx="5">
                  <c:v>1.0932763000000001</c:v>
                </c:pt>
                <c:pt idx="6">
                  <c:v>1.1960630000000001</c:v>
                </c:pt>
                <c:pt idx="7">
                  <c:v>1.3268823999999999</c:v>
                </c:pt>
                <c:pt idx="8">
                  <c:v>1.4763903</c:v>
                </c:pt>
                <c:pt idx="9">
                  <c:v>1.5324557000000001</c:v>
                </c:pt>
                <c:pt idx="10">
                  <c:v>1.5978654000000001</c:v>
                </c:pt>
                <c:pt idx="11">
                  <c:v>1.5885212</c:v>
                </c:pt>
                <c:pt idx="12">
                  <c:v>1.8875369</c:v>
                </c:pt>
                <c:pt idx="13">
                  <c:v>2.0277006000000002</c:v>
                </c:pt>
                <c:pt idx="14">
                  <c:v>2.121143</c:v>
                </c:pt>
                <c:pt idx="15">
                  <c:v>2.1585200000000002</c:v>
                </c:pt>
                <c:pt idx="16">
                  <c:v>2.2706509000000001</c:v>
                </c:pt>
                <c:pt idx="17">
                  <c:v>2.4388472999999999</c:v>
                </c:pt>
                <c:pt idx="18">
                  <c:v>2.5229453999999998</c:v>
                </c:pt>
                <c:pt idx="19">
                  <c:v>2.8313054000000002</c:v>
                </c:pt>
                <c:pt idx="20">
                  <c:v>3.3265503000000001</c:v>
                </c:pt>
                <c:pt idx="21">
                  <c:v>3.7470412</c:v>
                </c:pt>
                <c:pt idx="22">
                  <c:v>4.6908097</c:v>
                </c:pt>
                <c:pt idx="23">
                  <c:v>5.0645794000000004</c:v>
                </c:pt>
                <c:pt idx="24">
                  <c:v>5.2047431</c:v>
                </c:pt>
                <c:pt idx="25">
                  <c:v>5.2794970000000001</c:v>
                </c:pt>
                <c:pt idx="26">
                  <c:v>5.5878569999999996</c:v>
                </c:pt>
                <c:pt idx="27">
                  <c:v>6.1952328000000003</c:v>
                </c:pt>
                <c:pt idx="28">
                  <c:v>6.2512981999999999</c:v>
                </c:pt>
                <c:pt idx="29">
                  <c:v>6.9614605999999997</c:v>
                </c:pt>
                <c:pt idx="30">
                  <c:v>6.9147394000000002</c:v>
                </c:pt>
                <c:pt idx="31">
                  <c:v>7.1016243000000001</c:v>
                </c:pt>
                <c:pt idx="32">
                  <c:v>7.2885090999999997</c:v>
                </c:pt>
                <c:pt idx="33">
                  <c:v>7.7930982000000002</c:v>
                </c:pt>
                <c:pt idx="34">
                  <c:v>8.5873588999999999</c:v>
                </c:pt>
                <c:pt idx="35">
                  <c:v>9.2414558000000007</c:v>
                </c:pt>
                <c:pt idx="36">
                  <c:v>10.2599783</c:v>
                </c:pt>
                <c:pt idx="37">
                  <c:v>10.895386800000001</c:v>
                </c:pt>
                <c:pt idx="38">
                  <c:v>11.026206200000001</c:v>
                </c:pt>
                <c:pt idx="39">
                  <c:v>11.4280086</c:v>
                </c:pt>
                <c:pt idx="40">
                  <c:v>13.212758900000001</c:v>
                </c:pt>
                <c:pt idx="41">
                  <c:v>14.8012801</c:v>
                </c:pt>
                <c:pt idx="42">
                  <c:v>16.5486535</c:v>
                </c:pt>
                <c:pt idx="43">
                  <c:v>18.006355299999999</c:v>
                </c:pt>
                <c:pt idx="44">
                  <c:v>20.248973599999999</c:v>
                </c:pt>
                <c:pt idx="45">
                  <c:v>20.762906900000001</c:v>
                </c:pt>
                <c:pt idx="46">
                  <c:v>21.753396599999999</c:v>
                </c:pt>
                <c:pt idx="47">
                  <c:v>23.883883900000001</c:v>
                </c:pt>
                <c:pt idx="48">
                  <c:v>25.6686342</c:v>
                </c:pt>
                <c:pt idx="49">
                  <c:v>27.6122367</c:v>
                </c:pt>
                <c:pt idx="50">
                  <c:v>28.8550209</c:v>
                </c:pt>
                <c:pt idx="51">
                  <c:v>30.826656100000001</c:v>
                </c:pt>
                <c:pt idx="52">
                  <c:v>31.247146999999998</c:v>
                </c:pt>
                <c:pt idx="53">
                  <c:v>32.340423399999999</c:v>
                </c:pt>
                <c:pt idx="54">
                  <c:v>36.180907099999999</c:v>
                </c:pt>
                <c:pt idx="55">
                  <c:v>39.096310799999998</c:v>
                </c:pt>
                <c:pt idx="56">
                  <c:v>42.712532600000003</c:v>
                </c:pt>
                <c:pt idx="57">
                  <c:v>45.151379900000002</c:v>
                </c:pt>
                <c:pt idx="58">
                  <c:v>48.113504800000001</c:v>
                </c:pt>
                <c:pt idx="59">
                  <c:v>49.309567899999998</c:v>
                </c:pt>
                <c:pt idx="60">
                  <c:v>49.702026099999998</c:v>
                </c:pt>
                <c:pt idx="61">
                  <c:v>53.944312199999999</c:v>
                </c:pt>
                <c:pt idx="62">
                  <c:v>56.224307400000001</c:v>
                </c:pt>
                <c:pt idx="63">
                  <c:v>56.457913400000002</c:v>
                </c:pt>
                <c:pt idx="64">
                  <c:v>56.158897699999997</c:v>
                </c:pt>
                <c:pt idx="65">
                  <c:v>57.233485600000002</c:v>
                </c:pt>
                <c:pt idx="66">
                  <c:v>55.672997100000003</c:v>
                </c:pt>
                <c:pt idx="67">
                  <c:v>53.299559500000001</c:v>
                </c:pt>
                <c:pt idx="68">
                  <c:v>55.813160699999997</c:v>
                </c:pt>
                <c:pt idx="69">
                  <c:v>56.186930400000001</c:v>
                </c:pt>
                <c:pt idx="70">
                  <c:v>55.037588599999999</c:v>
                </c:pt>
                <c:pt idx="71">
                  <c:v>55.878570400000001</c:v>
                </c:pt>
                <c:pt idx="72">
                  <c:v>54.617097700000002</c:v>
                </c:pt>
                <c:pt idx="73">
                  <c:v>50.870056400000003</c:v>
                </c:pt>
                <c:pt idx="74">
                  <c:v>47.889243</c:v>
                </c:pt>
                <c:pt idx="75">
                  <c:v>48.945142400000002</c:v>
                </c:pt>
                <c:pt idx="76">
                  <c:v>47.393998199999999</c:v>
                </c:pt>
                <c:pt idx="77">
                  <c:v>45.5251497</c:v>
                </c:pt>
                <c:pt idx="78">
                  <c:v>43.5628587</c:v>
                </c:pt>
                <c:pt idx="79">
                  <c:v>41.516469600000001</c:v>
                </c:pt>
                <c:pt idx="80">
                  <c:v>38.143197999999998</c:v>
                </c:pt>
                <c:pt idx="81">
                  <c:v>35.648285299999998</c:v>
                </c:pt>
                <c:pt idx="82">
                  <c:v>38.227296199999998</c:v>
                </c:pt>
                <c:pt idx="83">
                  <c:v>36.293038000000003</c:v>
                </c:pt>
                <c:pt idx="84">
                  <c:v>34.685828299999997</c:v>
                </c:pt>
                <c:pt idx="85">
                  <c:v>32.471242799999999</c:v>
                </c:pt>
                <c:pt idx="86">
                  <c:v>30.695836700000001</c:v>
                </c:pt>
                <c:pt idx="87">
                  <c:v>27.4814173</c:v>
                </c:pt>
                <c:pt idx="88">
                  <c:v>26.0891251</c:v>
                </c:pt>
                <c:pt idx="89">
                  <c:v>28.116825800000001</c:v>
                </c:pt>
                <c:pt idx="90">
                  <c:v>27.331909400000001</c:v>
                </c:pt>
                <c:pt idx="91">
                  <c:v>27.892564</c:v>
                </c:pt>
                <c:pt idx="92">
                  <c:v>27.0235494</c:v>
                </c:pt>
                <c:pt idx="93">
                  <c:v>25.808797899999998</c:v>
                </c:pt>
                <c:pt idx="94">
                  <c:v>24.0520803</c:v>
                </c:pt>
                <c:pt idx="95">
                  <c:v>23.360606300000001</c:v>
                </c:pt>
                <c:pt idx="96">
                  <c:v>25.547159099999998</c:v>
                </c:pt>
                <c:pt idx="97">
                  <c:v>25.771420899999999</c:v>
                </c:pt>
                <c:pt idx="98">
                  <c:v>24.668800300000001</c:v>
                </c:pt>
                <c:pt idx="99">
                  <c:v>24.351095999999998</c:v>
                </c:pt>
                <c:pt idx="100">
                  <c:v>24.285686299999998</c:v>
                </c:pt>
                <c:pt idx="101">
                  <c:v>23.80913</c:v>
                </c:pt>
                <c:pt idx="102">
                  <c:v>23.4820815</c:v>
                </c:pt>
                <c:pt idx="103">
                  <c:v>26.135846399999998</c:v>
                </c:pt>
                <c:pt idx="104">
                  <c:v>26.6684682</c:v>
                </c:pt>
                <c:pt idx="105">
                  <c:v>26.9955167</c:v>
                </c:pt>
                <c:pt idx="106">
                  <c:v>27.574859700000001</c:v>
                </c:pt>
                <c:pt idx="107">
                  <c:v>27.4814173</c:v>
                </c:pt>
                <c:pt idx="108">
                  <c:v>26.2853542</c:v>
                </c:pt>
                <c:pt idx="109">
                  <c:v>25.500437900000001</c:v>
                </c:pt>
                <c:pt idx="110">
                  <c:v>28.929774900000002</c:v>
                </c:pt>
                <c:pt idx="111">
                  <c:v>29.126003999999998</c:v>
                </c:pt>
                <c:pt idx="112">
                  <c:v>29.350265799999999</c:v>
                </c:pt>
                <c:pt idx="113">
                  <c:v>28.8550209</c:v>
                </c:pt>
                <c:pt idx="114">
                  <c:v>29.023217299999999</c:v>
                </c:pt>
                <c:pt idx="115">
                  <c:v>28.228956700000001</c:v>
                </c:pt>
                <c:pt idx="116">
                  <c:v>28.313054900000001</c:v>
                </c:pt>
                <c:pt idx="117">
                  <c:v>31.3405895</c:v>
                </c:pt>
                <c:pt idx="118">
                  <c:v>31.480753100000001</c:v>
                </c:pt>
                <c:pt idx="119">
                  <c:v>32.256325199999999</c:v>
                </c:pt>
                <c:pt idx="120">
                  <c:v>29.957641599999999</c:v>
                </c:pt>
                <c:pt idx="121">
                  <c:v>28.864365200000002</c:v>
                </c:pt>
                <c:pt idx="122">
                  <c:v>28.191579699999998</c:v>
                </c:pt>
                <c:pt idx="123">
                  <c:v>29.453052499999998</c:v>
                </c:pt>
                <c:pt idx="124">
                  <c:v>34.143862200000001</c:v>
                </c:pt>
                <c:pt idx="125">
                  <c:v>36.863036800000003</c:v>
                </c:pt>
                <c:pt idx="126">
                  <c:v>39.385982300000002</c:v>
                </c:pt>
                <c:pt idx="127">
                  <c:v>40.357783499999996</c:v>
                </c:pt>
                <c:pt idx="128">
                  <c:v>41.441715700000003</c:v>
                </c:pt>
                <c:pt idx="129">
                  <c:v>43.646956899999999</c:v>
                </c:pt>
                <c:pt idx="130">
                  <c:v>44.646790899999999</c:v>
                </c:pt>
                <c:pt idx="131">
                  <c:v>47.861210300000003</c:v>
                </c:pt>
                <c:pt idx="132">
                  <c:v>49.561862400000003</c:v>
                </c:pt>
                <c:pt idx="133">
                  <c:v>49.571206699999998</c:v>
                </c:pt>
                <c:pt idx="134">
                  <c:v>48.720880600000001</c:v>
                </c:pt>
                <c:pt idx="135">
                  <c:v>48.543340000000001</c:v>
                </c:pt>
                <c:pt idx="136">
                  <c:v>49.692681800000003</c:v>
                </c:pt>
                <c:pt idx="137">
                  <c:v>47.543506000000001</c:v>
                </c:pt>
                <c:pt idx="138">
                  <c:v>48.720880600000001</c:v>
                </c:pt>
                <c:pt idx="139">
                  <c:v>47.599571500000003</c:v>
                </c:pt>
                <c:pt idx="140">
                  <c:v>44.207611499999999</c:v>
                </c:pt>
                <c:pt idx="141">
                  <c:v>40.787618700000003</c:v>
                </c:pt>
                <c:pt idx="142">
                  <c:v>38.6758199</c:v>
                </c:pt>
                <c:pt idx="143">
                  <c:v>35.564187099999998</c:v>
                </c:pt>
                <c:pt idx="144">
                  <c:v>33.321568900000003</c:v>
                </c:pt>
                <c:pt idx="145">
                  <c:v>35.433367699999998</c:v>
                </c:pt>
                <c:pt idx="146">
                  <c:v>34.9194344</c:v>
                </c:pt>
                <c:pt idx="147">
                  <c:v>33.583207700000003</c:v>
                </c:pt>
                <c:pt idx="148">
                  <c:v>32.676816100000003</c:v>
                </c:pt>
                <c:pt idx="149">
                  <c:v>33.022553100000003</c:v>
                </c:pt>
                <c:pt idx="150">
                  <c:v>31.022885200000001</c:v>
                </c:pt>
                <c:pt idx="151">
                  <c:v>30.350099799999999</c:v>
                </c:pt>
                <c:pt idx="152">
                  <c:v>32.499275500000003</c:v>
                </c:pt>
                <c:pt idx="153">
                  <c:v>32.312390700000002</c:v>
                </c:pt>
                <c:pt idx="154">
                  <c:v>31.705014899999998</c:v>
                </c:pt>
                <c:pt idx="155">
                  <c:v>31.789113100000002</c:v>
                </c:pt>
                <c:pt idx="156">
                  <c:v>31.807801600000001</c:v>
                </c:pt>
                <c:pt idx="157">
                  <c:v>29.845510699999998</c:v>
                </c:pt>
                <c:pt idx="158">
                  <c:v>29.4904294</c:v>
                </c:pt>
                <c:pt idx="159">
                  <c:v>32.723537399999998</c:v>
                </c:pt>
                <c:pt idx="160">
                  <c:v>33.685994299999997</c:v>
                </c:pt>
                <c:pt idx="161">
                  <c:v>33.3496016</c:v>
                </c:pt>
                <c:pt idx="162">
                  <c:v>33.0879628</c:v>
                </c:pt>
                <c:pt idx="163">
                  <c:v>33.190749500000003</c:v>
                </c:pt>
                <c:pt idx="164">
                  <c:v>31.789113100000002</c:v>
                </c:pt>
                <c:pt idx="165">
                  <c:v>31.639605199999998</c:v>
                </c:pt>
                <c:pt idx="166">
                  <c:v>33.7420598</c:v>
                </c:pt>
                <c:pt idx="167">
                  <c:v>33.9196004</c:v>
                </c:pt>
                <c:pt idx="168">
                  <c:v>33.480421</c:v>
                </c:pt>
                <c:pt idx="169">
                  <c:v>33.910256199999999</c:v>
                </c:pt>
                <c:pt idx="170">
                  <c:v>33.882223400000001</c:v>
                </c:pt>
                <c:pt idx="171">
                  <c:v>32.181571300000002</c:v>
                </c:pt>
                <c:pt idx="172">
                  <c:v>31.676982200000001</c:v>
                </c:pt>
                <c:pt idx="173">
                  <c:v>35.190417400000001</c:v>
                </c:pt>
                <c:pt idx="174">
                  <c:v>37.704018599999998</c:v>
                </c:pt>
                <c:pt idx="175">
                  <c:v>37.741395599999997</c:v>
                </c:pt>
                <c:pt idx="176">
                  <c:v>38.554344700000001</c:v>
                </c:pt>
                <c:pt idx="177">
                  <c:v>39.656965300000003</c:v>
                </c:pt>
                <c:pt idx="178">
                  <c:v>39.040245300000002</c:v>
                </c:pt>
                <c:pt idx="179">
                  <c:v>39.283195599999999</c:v>
                </c:pt>
                <c:pt idx="180">
                  <c:v>43.516137499999999</c:v>
                </c:pt>
                <c:pt idx="181">
                  <c:v>44.8243315</c:v>
                </c:pt>
                <c:pt idx="182">
                  <c:v>44.936462400000003</c:v>
                </c:pt>
                <c:pt idx="183">
                  <c:v>46.655802999999999</c:v>
                </c:pt>
                <c:pt idx="184">
                  <c:v>47.749079399999999</c:v>
                </c:pt>
                <c:pt idx="185">
                  <c:v>45.8335097</c:v>
                </c:pt>
                <c:pt idx="186">
                  <c:v>45.188756900000001</c:v>
                </c:pt>
                <c:pt idx="187">
                  <c:v>49.926287899999998</c:v>
                </c:pt>
                <c:pt idx="188">
                  <c:v>51.2438261</c:v>
                </c:pt>
                <c:pt idx="189">
                  <c:v>51.131695200000003</c:v>
                </c:pt>
                <c:pt idx="190">
                  <c:v>50.757925499999999</c:v>
                </c:pt>
                <c:pt idx="191">
                  <c:v>49.356289099999998</c:v>
                </c:pt>
                <c:pt idx="192">
                  <c:v>47.431375099999997</c:v>
                </c:pt>
                <c:pt idx="193">
                  <c:v>46.870720599999999</c:v>
                </c:pt>
                <c:pt idx="194">
                  <c:v>50.225303699999998</c:v>
                </c:pt>
                <c:pt idx="195">
                  <c:v>49.1507158</c:v>
                </c:pt>
                <c:pt idx="196">
                  <c:v>47.618259999999999</c:v>
                </c:pt>
                <c:pt idx="197">
                  <c:v>46.197935100000002</c:v>
                </c:pt>
                <c:pt idx="198">
                  <c:v>47.92662</c:v>
                </c:pt>
                <c:pt idx="199">
                  <c:v>45.973673300000002</c:v>
                </c:pt>
                <c:pt idx="200">
                  <c:v>43.880563000000002</c:v>
                </c:pt>
                <c:pt idx="201">
                  <c:v>46.917441799999999</c:v>
                </c:pt>
                <c:pt idx="202">
                  <c:v>47.263178799999999</c:v>
                </c:pt>
                <c:pt idx="203">
                  <c:v>46.982851500000002</c:v>
                </c:pt>
                <c:pt idx="204">
                  <c:v>45.8335097</c:v>
                </c:pt>
                <c:pt idx="205">
                  <c:v>45.160724199999997</c:v>
                </c:pt>
                <c:pt idx="206">
                  <c:v>40.432537500000002</c:v>
                </c:pt>
                <c:pt idx="207">
                  <c:v>38.516967700000002</c:v>
                </c:pt>
                <c:pt idx="208">
                  <c:v>41.404338699999997</c:v>
                </c:pt>
                <c:pt idx="209">
                  <c:v>40.8623726</c:v>
                </c:pt>
                <c:pt idx="210">
                  <c:v>39.171064700000002</c:v>
                </c:pt>
                <c:pt idx="211">
                  <c:v>37.685330200000003</c:v>
                </c:pt>
                <c:pt idx="212">
                  <c:v>37.115331400000002</c:v>
                </c:pt>
                <c:pt idx="213">
                  <c:v>34.9661556</c:v>
                </c:pt>
                <c:pt idx="214">
                  <c:v>33.200093699999996</c:v>
                </c:pt>
                <c:pt idx="215">
                  <c:v>36.358447699999999</c:v>
                </c:pt>
                <c:pt idx="216">
                  <c:v>35.508121600000003</c:v>
                </c:pt>
                <c:pt idx="217">
                  <c:v>34.153206500000003</c:v>
                </c:pt>
                <c:pt idx="218">
                  <c:v>32.779602799999999</c:v>
                </c:pt>
                <c:pt idx="219">
                  <c:v>30.172559100000001</c:v>
                </c:pt>
                <c:pt idx="220">
                  <c:v>27.556171200000001</c:v>
                </c:pt>
                <c:pt idx="221">
                  <c:v>26.705845199999999</c:v>
                </c:pt>
                <c:pt idx="222">
                  <c:v>26.836664599999999</c:v>
                </c:pt>
                <c:pt idx="223">
                  <c:v>25.808797899999998</c:v>
                </c:pt>
                <c:pt idx="224">
                  <c:v>25.173389400000001</c:v>
                </c:pt>
                <c:pt idx="225">
                  <c:v>23.4820815</c:v>
                </c:pt>
                <c:pt idx="226">
                  <c:v>22.603722699999999</c:v>
                </c:pt>
                <c:pt idx="227">
                  <c:v>22.108477799999999</c:v>
                </c:pt>
                <c:pt idx="228">
                  <c:v>21.248807500000002</c:v>
                </c:pt>
                <c:pt idx="229">
                  <c:v>21.912248699999999</c:v>
                </c:pt>
                <c:pt idx="230">
                  <c:v>22.809296</c:v>
                </c:pt>
                <c:pt idx="231">
                  <c:v>21.407659599999999</c:v>
                </c:pt>
                <c:pt idx="232">
                  <c:v>19.6042208</c:v>
                </c:pt>
                <c:pt idx="233">
                  <c:v>18.894058399999999</c:v>
                </c:pt>
                <c:pt idx="234">
                  <c:v>17.3055372</c:v>
                </c:pt>
                <c:pt idx="235">
                  <c:v>16.277670499999999</c:v>
                </c:pt>
                <c:pt idx="236">
                  <c:v>17.464389300000001</c:v>
                </c:pt>
                <c:pt idx="237">
                  <c:v>17.2027505</c:v>
                </c:pt>
                <c:pt idx="238">
                  <c:v>16.473899599999999</c:v>
                </c:pt>
                <c:pt idx="239">
                  <c:v>15.604884999999999</c:v>
                </c:pt>
                <c:pt idx="240">
                  <c:v>14.717181999999999</c:v>
                </c:pt>
                <c:pt idx="241">
                  <c:v>13.3996438</c:v>
                </c:pt>
                <c:pt idx="242">
                  <c:v>12.867021899999999</c:v>
                </c:pt>
                <c:pt idx="243">
                  <c:v>13.9042329</c:v>
                </c:pt>
                <c:pt idx="244">
                  <c:v>13.408988000000001</c:v>
                </c:pt>
                <c:pt idx="245">
                  <c:v>12.7455468</c:v>
                </c:pt>
                <c:pt idx="246">
                  <c:v>12.0821056</c:v>
                </c:pt>
                <c:pt idx="247">
                  <c:v>11.6055492</c:v>
                </c:pt>
                <c:pt idx="248">
                  <c:v>10.979484899999999</c:v>
                </c:pt>
                <c:pt idx="249">
                  <c:v>10.764567400000001</c:v>
                </c:pt>
                <c:pt idx="250">
                  <c:v>11.4747298</c:v>
                </c:pt>
                <c:pt idx="251">
                  <c:v>10.895386800000001</c:v>
                </c:pt>
                <c:pt idx="252">
                  <c:v>10.091781900000001</c:v>
                </c:pt>
                <c:pt idx="253">
                  <c:v>9.5591600999999997</c:v>
                </c:pt>
                <c:pt idx="254">
                  <c:v>8.9144073000000006</c:v>
                </c:pt>
                <c:pt idx="255">
                  <c:v>7.9893273000000002</c:v>
                </c:pt>
                <c:pt idx="256">
                  <c:v>7.5875249</c:v>
                </c:pt>
                <c:pt idx="257">
                  <c:v>8.1668678999999997</c:v>
                </c:pt>
                <c:pt idx="258">
                  <c:v>7.7090000999999999</c:v>
                </c:pt>
                <c:pt idx="259">
                  <c:v>7.0922799999999997</c:v>
                </c:pt>
                <c:pt idx="260">
                  <c:v>6.6904776000000004</c:v>
                </c:pt>
                <c:pt idx="261">
                  <c:v>5.9990037000000003</c:v>
                </c:pt>
                <c:pt idx="262">
                  <c:v>5.5691685</c:v>
                </c:pt>
                <c:pt idx="263">
                  <c:v>5.3449067000000001</c:v>
                </c:pt>
                <c:pt idx="264">
                  <c:v>5.4757261000000002</c:v>
                </c:pt>
                <c:pt idx="265">
                  <c:v>4.9711369999999997</c:v>
                </c:pt>
                <c:pt idx="266">
                  <c:v>4.4758921000000003</c:v>
                </c:pt>
                <c:pt idx="267">
                  <c:v>4.1955648999999999</c:v>
                </c:pt>
                <c:pt idx="268">
                  <c:v>3.7376969999999998</c:v>
                </c:pt>
                <c:pt idx="269">
                  <c:v>3.4480255</c:v>
                </c:pt>
                <c:pt idx="270">
                  <c:v>3.2144194000000001</c:v>
                </c:pt>
                <c:pt idx="271">
                  <c:v>3.3452388000000002</c:v>
                </c:pt>
                <c:pt idx="272">
                  <c:v>3.1490097000000001</c:v>
                </c:pt>
                <c:pt idx="273">
                  <c:v>2.7845841999999998</c:v>
                </c:pt>
                <c:pt idx="274">
                  <c:v>2.4949127</c:v>
                </c:pt>
                <c:pt idx="275">
                  <c:v>2.3080278999999999</c:v>
                </c:pt>
                <c:pt idx="276">
                  <c:v>2.0744218000000001</c:v>
                </c:pt>
                <c:pt idx="277">
                  <c:v>1.9436024000000001</c:v>
                </c:pt>
                <c:pt idx="278">
                  <c:v>2.1117987999999999</c:v>
                </c:pt>
                <c:pt idx="279">
                  <c:v>1.9529466</c:v>
                </c:pt>
                <c:pt idx="280">
                  <c:v>1.6726194000000001</c:v>
                </c:pt>
                <c:pt idx="281">
                  <c:v>1.4483575</c:v>
                </c:pt>
                <c:pt idx="282">
                  <c:v>1.4203247999999999</c:v>
                </c:pt>
                <c:pt idx="283">
                  <c:v>1.2427842</c:v>
                </c:pt>
                <c:pt idx="284">
                  <c:v>1.1680303000000001</c:v>
                </c:pt>
                <c:pt idx="285">
                  <c:v>1.2054072</c:v>
                </c:pt>
                <c:pt idx="286">
                  <c:v>0.97180120000000003</c:v>
                </c:pt>
                <c:pt idx="287">
                  <c:v>0.87835870000000005</c:v>
                </c:pt>
                <c:pt idx="288">
                  <c:v>0.8409818</c:v>
                </c:pt>
                <c:pt idx="289">
                  <c:v>0.76622780000000001</c:v>
                </c:pt>
                <c:pt idx="290">
                  <c:v>0.63540839999999998</c:v>
                </c:pt>
                <c:pt idx="291">
                  <c:v>0.56999869999999997</c:v>
                </c:pt>
                <c:pt idx="292">
                  <c:v>0.59803150000000005</c:v>
                </c:pt>
                <c:pt idx="293">
                  <c:v>0.54196599999999995</c:v>
                </c:pt>
                <c:pt idx="294">
                  <c:v>0.61672000000000005</c:v>
                </c:pt>
                <c:pt idx="295">
                  <c:v>0.56999869999999997</c:v>
                </c:pt>
                <c:pt idx="296">
                  <c:v>0.54196599999999995</c:v>
                </c:pt>
                <c:pt idx="297">
                  <c:v>0.50458899999999995</c:v>
                </c:pt>
                <c:pt idx="298">
                  <c:v>0.47655629999999999</c:v>
                </c:pt>
                <c:pt idx="299">
                  <c:v>0.48590060000000002</c:v>
                </c:pt>
                <c:pt idx="300">
                  <c:v>0.43917929999999999</c:v>
                </c:pt>
                <c:pt idx="301">
                  <c:v>0.43917929999999999</c:v>
                </c:pt>
                <c:pt idx="302">
                  <c:v>0.2990157</c:v>
                </c:pt>
                <c:pt idx="303">
                  <c:v>0.27098299999999997</c:v>
                </c:pt>
                <c:pt idx="304">
                  <c:v>0.24295030000000001</c:v>
                </c:pt>
                <c:pt idx="305">
                  <c:v>0.21491750000000001</c:v>
                </c:pt>
                <c:pt idx="306">
                  <c:v>0.25229449999999998</c:v>
                </c:pt>
                <c:pt idx="307">
                  <c:v>0.22426180000000001</c:v>
                </c:pt>
                <c:pt idx="308">
                  <c:v>0.24295030000000001</c:v>
                </c:pt>
                <c:pt idx="309">
                  <c:v>0.20557329999999999</c:v>
                </c:pt>
                <c:pt idx="310">
                  <c:v>0.21491750000000001</c:v>
                </c:pt>
                <c:pt idx="311">
                  <c:v>0.19622899999999999</c:v>
                </c:pt>
                <c:pt idx="312">
                  <c:v>0.18688479999999999</c:v>
                </c:pt>
                <c:pt idx="313">
                  <c:v>0.19622899999999999</c:v>
                </c:pt>
                <c:pt idx="314">
                  <c:v>0.1495078</c:v>
                </c:pt>
                <c:pt idx="315">
                  <c:v>0.18688479999999999</c:v>
                </c:pt>
                <c:pt idx="316">
                  <c:v>0.16819629999999999</c:v>
                </c:pt>
                <c:pt idx="317">
                  <c:v>0.19622899999999999</c:v>
                </c:pt>
                <c:pt idx="318">
                  <c:v>0.21491750000000001</c:v>
                </c:pt>
                <c:pt idx="319">
                  <c:v>0.23360600000000001</c:v>
                </c:pt>
                <c:pt idx="320">
                  <c:v>0.27098299999999997</c:v>
                </c:pt>
                <c:pt idx="321">
                  <c:v>0.28967150000000003</c:v>
                </c:pt>
                <c:pt idx="322">
                  <c:v>0.33639269999999999</c:v>
                </c:pt>
                <c:pt idx="323">
                  <c:v>0.31770419999999999</c:v>
                </c:pt>
                <c:pt idx="324">
                  <c:v>0.32704840000000002</c:v>
                </c:pt>
                <c:pt idx="325">
                  <c:v>0.28967150000000003</c:v>
                </c:pt>
                <c:pt idx="326">
                  <c:v>0.28967150000000003</c:v>
                </c:pt>
                <c:pt idx="327">
                  <c:v>0.32704840000000002</c:v>
                </c:pt>
                <c:pt idx="328">
                  <c:v>0.31770419999999999</c:v>
                </c:pt>
                <c:pt idx="329">
                  <c:v>0.33639269999999999</c:v>
                </c:pt>
                <c:pt idx="330">
                  <c:v>0.32704840000000002</c:v>
                </c:pt>
                <c:pt idx="331">
                  <c:v>0.35508119999999999</c:v>
                </c:pt>
                <c:pt idx="332">
                  <c:v>0.33639269999999999</c:v>
                </c:pt>
                <c:pt idx="333">
                  <c:v>0.33639269999999999</c:v>
                </c:pt>
                <c:pt idx="334">
                  <c:v>0.39245809999999998</c:v>
                </c:pt>
                <c:pt idx="335">
                  <c:v>0.4018024</c:v>
                </c:pt>
                <c:pt idx="336">
                  <c:v>0.4018024</c:v>
                </c:pt>
                <c:pt idx="337">
                  <c:v>0.39245809999999998</c:v>
                </c:pt>
                <c:pt idx="338">
                  <c:v>0.4018024</c:v>
                </c:pt>
                <c:pt idx="339">
                  <c:v>0.38311390000000001</c:v>
                </c:pt>
                <c:pt idx="340">
                  <c:v>0.38311390000000001</c:v>
                </c:pt>
                <c:pt idx="341">
                  <c:v>0.43917929999999999</c:v>
                </c:pt>
                <c:pt idx="342">
                  <c:v>0.39245809999999998</c:v>
                </c:pt>
                <c:pt idx="343">
                  <c:v>0.36442540000000001</c:v>
                </c:pt>
                <c:pt idx="344">
                  <c:v>0.35508119999999999</c:v>
                </c:pt>
                <c:pt idx="345">
                  <c:v>0.35508119999999999</c:v>
                </c:pt>
                <c:pt idx="346">
                  <c:v>0.34573690000000001</c:v>
                </c:pt>
                <c:pt idx="347">
                  <c:v>0.32704840000000002</c:v>
                </c:pt>
                <c:pt idx="348">
                  <c:v>0.35508119999999999</c:v>
                </c:pt>
                <c:pt idx="349">
                  <c:v>0.32704840000000002</c:v>
                </c:pt>
                <c:pt idx="350">
                  <c:v>0.31770419999999999</c:v>
                </c:pt>
                <c:pt idx="351">
                  <c:v>0.30836000000000002</c:v>
                </c:pt>
                <c:pt idx="352">
                  <c:v>0.33639269999999999</c:v>
                </c:pt>
                <c:pt idx="353">
                  <c:v>0.34573690000000001</c:v>
                </c:pt>
                <c:pt idx="354">
                  <c:v>0.36442540000000001</c:v>
                </c:pt>
                <c:pt idx="355">
                  <c:v>0.42983510000000003</c:v>
                </c:pt>
                <c:pt idx="356">
                  <c:v>0.43917929999999999</c:v>
                </c:pt>
                <c:pt idx="357">
                  <c:v>0.47655629999999999</c:v>
                </c:pt>
                <c:pt idx="358">
                  <c:v>0.45786779999999999</c:v>
                </c:pt>
                <c:pt idx="359">
                  <c:v>0.47655629999999999</c:v>
                </c:pt>
                <c:pt idx="360">
                  <c:v>0.45786779999999999</c:v>
                </c:pt>
                <c:pt idx="361">
                  <c:v>0.45786779999999999</c:v>
                </c:pt>
                <c:pt idx="362">
                  <c:v>0.46721210000000002</c:v>
                </c:pt>
                <c:pt idx="363">
                  <c:v>0.42983510000000003</c:v>
                </c:pt>
                <c:pt idx="364">
                  <c:v>0.4018024</c:v>
                </c:pt>
                <c:pt idx="365">
                  <c:v>0.35508119999999999</c:v>
                </c:pt>
                <c:pt idx="366">
                  <c:v>0.39245809999999998</c:v>
                </c:pt>
                <c:pt idx="367">
                  <c:v>0.38311390000000001</c:v>
                </c:pt>
                <c:pt idx="368">
                  <c:v>0.37376969999999998</c:v>
                </c:pt>
                <c:pt idx="369">
                  <c:v>0.37376969999999998</c:v>
                </c:pt>
                <c:pt idx="370">
                  <c:v>0.34573690000000001</c:v>
                </c:pt>
                <c:pt idx="371">
                  <c:v>0.4018024</c:v>
                </c:pt>
                <c:pt idx="372">
                  <c:v>0.43917929999999999</c:v>
                </c:pt>
                <c:pt idx="373">
                  <c:v>0.56065449999999994</c:v>
                </c:pt>
                <c:pt idx="374">
                  <c:v>0.57934300000000005</c:v>
                </c:pt>
                <c:pt idx="375">
                  <c:v>0.58868719999999997</c:v>
                </c:pt>
                <c:pt idx="376">
                  <c:v>0.65409689999999998</c:v>
                </c:pt>
                <c:pt idx="377">
                  <c:v>0.72885089999999997</c:v>
                </c:pt>
                <c:pt idx="378">
                  <c:v>0.8222933</c:v>
                </c:pt>
                <c:pt idx="379">
                  <c:v>0.88770300000000002</c:v>
                </c:pt>
                <c:pt idx="380">
                  <c:v>0.93442420000000004</c:v>
                </c:pt>
                <c:pt idx="381">
                  <c:v>0.86901450000000002</c:v>
                </c:pt>
                <c:pt idx="382">
                  <c:v>0.86901450000000002</c:v>
                </c:pt>
                <c:pt idx="383">
                  <c:v>1.0185223999999999</c:v>
                </c:pt>
                <c:pt idx="384">
                  <c:v>1.1399975</c:v>
                </c:pt>
                <c:pt idx="385">
                  <c:v>1.1960630000000001</c:v>
                </c:pt>
                <c:pt idx="386">
                  <c:v>1.1867188</c:v>
                </c:pt>
                <c:pt idx="387">
                  <c:v>1.2801612</c:v>
                </c:pt>
                <c:pt idx="388">
                  <c:v>1.2427842</c:v>
                </c:pt>
                <c:pt idx="389">
                  <c:v>1.2054072</c:v>
                </c:pt>
                <c:pt idx="390">
                  <c:v>1.3829477999999999</c:v>
                </c:pt>
                <c:pt idx="391">
                  <c:v>1.3081939</c:v>
                </c:pt>
                <c:pt idx="392">
                  <c:v>1.1680303000000001</c:v>
                </c:pt>
                <c:pt idx="393">
                  <c:v>1.1213090999999999</c:v>
                </c:pt>
                <c:pt idx="394">
                  <c:v>1.2240956999999999</c:v>
                </c:pt>
                <c:pt idx="395">
                  <c:v>1.0652436000000001</c:v>
                </c:pt>
                <c:pt idx="396">
                  <c:v>1.1586860000000001</c:v>
                </c:pt>
                <c:pt idx="397">
                  <c:v>1.4203247999999999</c:v>
                </c:pt>
                <c:pt idx="398">
                  <c:v>1.3081939</c:v>
                </c:pt>
                <c:pt idx="399">
                  <c:v>1.4577017999999999</c:v>
                </c:pt>
                <c:pt idx="400">
                  <c:v>1.7193406</c:v>
                </c:pt>
                <c:pt idx="401">
                  <c:v>1.9249139</c:v>
                </c:pt>
                <c:pt idx="402">
                  <c:v>1.8968811999999999</c:v>
                </c:pt>
                <c:pt idx="403">
                  <c:v>1.9062254000000001</c:v>
                </c:pt>
                <c:pt idx="404">
                  <c:v>1.9903236</c:v>
                </c:pt>
                <c:pt idx="405">
                  <c:v>2.0837659999999998</c:v>
                </c:pt>
                <c:pt idx="406">
                  <c:v>2.4668800000000002</c:v>
                </c:pt>
                <c:pt idx="407">
                  <c:v>2.5696667</c:v>
                </c:pt>
                <c:pt idx="408">
                  <c:v>2.6350763000000001</c:v>
                </c:pt>
                <c:pt idx="409">
                  <c:v>2.504257</c:v>
                </c:pt>
                <c:pt idx="410">
                  <c:v>2.5229453999999998</c:v>
                </c:pt>
                <c:pt idx="411">
                  <c:v>3.1209769999999999</c:v>
                </c:pt>
                <c:pt idx="412">
                  <c:v>3.5227794000000001</c:v>
                </c:pt>
                <c:pt idx="413">
                  <c:v>3.5975332999999998</c:v>
                </c:pt>
                <c:pt idx="414">
                  <c:v>3.5975332999999998</c:v>
                </c:pt>
                <c:pt idx="415">
                  <c:v>3.9993357999999999</c:v>
                </c:pt>
                <c:pt idx="416">
                  <c:v>4.00868</c:v>
                </c:pt>
                <c:pt idx="417">
                  <c:v>4.1768764000000003</c:v>
                </c:pt>
                <c:pt idx="418">
                  <c:v>5.2421199999999999</c:v>
                </c:pt>
                <c:pt idx="419">
                  <c:v>5.7280205999999998</c:v>
                </c:pt>
                <c:pt idx="420">
                  <c:v>6.1765442999999998</c:v>
                </c:pt>
                <c:pt idx="421">
                  <c:v>6.7652315999999999</c:v>
                </c:pt>
                <c:pt idx="422">
                  <c:v>7.6996558000000004</c:v>
                </c:pt>
                <c:pt idx="423">
                  <c:v>7.6809672999999998</c:v>
                </c:pt>
                <c:pt idx="424">
                  <c:v>7.9519504000000003</c:v>
                </c:pt>
                <c:pt idx="425">
                  <c:v>9.6339140000000008</c:v>
                </c:pt>
                <c:pt idx="426">
                  <c:v>10.4935843</c:v>
                </c:pt>
                <c:pt idx="427">
                  <c:v>11.371943099999999</c:v>
                </c:pt>
                <c:pt idx="428">
                  <c:v>11.6242377</c:v>
                </c:pt>
                <c:pt idx="429">
                  <c:v>12.913743200000001</c:v>
                </c:pt>
                <c:pt idx="430">
                  <c:v>13.1847262</c:v>
                </c:pt>
                <c:pt idx="431">
                  <c:v>13.9229213</c:v>
                </c:pt>
                <c:pt idx="432">
                  <c:v>16.950455900000001</c:v>
                </c:pt>
                <c:pt idx="433">
                  <c:v>18.239961399999999</c:v>
                </c:pt>
                <c:pt idx="434">
                  <c:v>19.5388111</c:v>
                </c:pt>
                <c:pt idx="435">
                  <c:v>20.4545469</c:v>
                </c:pt>
                <c:pt idx="436">
                  <c:v>22.379460900000002</c:v>
                </c:pt>
                <c:pt idx="437">
                  <c:v>21.8935602</c:v>
                </c:pt>
                <c:pt idx="438">
                  <c:v>21.912248699999999</c:v>
                </c:pt>
                <c:pt idx="439">
                  <c:v>25.098635399999999</c:v>
                </c:pt>
                <c:pt idx="440">
                  <c:v>26.033059699999999</c:v>
                </c:pt>
                <c:pt idx="441">
                  <c:v>27.2571555</c:v>
                </c:pt>
                <c:pt idx="442">
                  <c:v>27.3692864</c:v>
                </c:pt>
                <c:pt idx="443">
                  <c:v>28.658791799999999</c:v>
                </c:pt>
                <c:pt idx="444">
                  <c:v>28.462562800000001</c:v>
                </c:pt>
                <c:pt idx="445">
                  <c:v>28.976496099999999</c:v>
                </c:pt>
                <c:pt idx="446">
                  <c:v>33.200093699999996</c:v>
                </c:pt>
                <c:pt idx="447">
                  <c:v>35.087630699999998</c:v>
                </c:pt>
                <c:pt idx="448">
                  <c:v>34.097141000000001</c:v>
                </c:pt>
                <c:pt idx="449">
                  <c:v>34.489599200000001</c:v>
                </c:pt>
                <c:pt idx="450">
                  <c:v>37.526477999999997</c:v>
                </c:pt>
                <c:pt idx="451">
                  <c:v>37.143364099999999</c:v>
                </c:pt>
                <c:pt idx="452">
                  <c:v>36.816315600000003</c:v>
                </c:pt>
                <c:pt idx="453">
                  <c:v>41.2081096</c:v>
                </c:pt>
                <c:pt idx="454">
                  <c:v>42.142533800000002</c:v>
                </c:pt>
                <c:pt idx="455">
                  <c:v>40.983847799999999</c:v>
                </c:pt>
                <c:pt idx="456">
                  <c:v>44.721544799999997</c:v>
                </c:pt>
                <c:pt idx="457">
                  <c:v>45.515805399999998</c:v>
                </c:pt>
                <c:pt idx="458">
                  <c:v>42.777942299999999</c:v>
                </c:pt>
                <c:pt idx="459">
                  <c:v>42.179910800000002</c:v>
                </c:pt>
                <c:pt idx="460">
                  <c:v>45.5718709</c:v>
                </c:pt>
                <c:pt idx="461">
                  <c:v>44.712200500000002</c:v>
                </c:pt>
                <c:pt idx="462">
                  <c:v>43.142367800000002</c:v>
                </c:pt>
                <c:pt idx="463">
                  <c:v>43.6563011</c:v>
                </c:pt>
                <c:pt idx="464">
                  <c:v>41.282863499999998</c:v>
                </c:pt>
                <c:pt idx="465">
                  <c:v>38.928114399999998</c:v>
                </c:pt>
                <c:pt idx="466">
                  <c:v>37.395658599999997</c:v>
                </c:pt>
                <c:pt idx="467">
                  <c:v>40.460570199999999</c:v>
                </c:pt>
                <c:pt idx="468">
                  <c:v>39.217785900000003</c:v>
                </c:pt>
                <c:pt idx="469">
                  <c:v>38.292705900000001</c:v>
                </c:pt>
                <c:pt idx="470">
                  <c:v>37.5358223</c:v>
                </c:pt>
                <c:pt idx="471">
                  <c:v>36.040743499999998</c:v>
                </c:pt>
                <c:pt idx="472">
                  <c:v>33.760748300000003</c:v>
                </c:pt>
                <c:pt idx="473">
                  <c:v>32.237636700000003</c:v>
                </c:pt>
                <c:pt idx="474">
                  <c:v>34.9661556</c:v>
                </c:pt>
                <c:pt idx="475">
                  <c:v>33.059930100000003</c:v>
                </c:pt>
                <c:pt idx="476">
                  <c:v>31.789113100000002</c:v>
                </c:pt>
                <c:pt idx="477">
                  <c:v>30.3781325</c:v>
                </c:pt>
                <c:pt idx="478">
                  <c:v>28.742889999999999</c:v>
                </c:pt>
                <c:pt idx="479">
                  <c:v>26.005026999999998</c:v>
                </c:pt>
                <c:pt idx="480">
                  <c:v>24.743554199999998</c:v>
                </c:pt>
                <c:pt idx="481">
                  <c:v>26.378796699999999</c:v>
                </c:pt>
                <c:pt idx="482">
                  <c:v>24.537980900000001</c:v>
                </c:pt>
                <c:pt idx="483">
                  <c:v>22.799951799999999</c:v>
                </c:pt>
                <c:pt idx="484">
                  <c:v>21.043234200000001</c:v>
                </c:pt>
                <c:pt idx="485">
                  <c:v>18.361436600000001</c:v>
                </c:pt>
                <c:pt idx="486">
                  <c:v>16.6140632</c:v>
                </c:pt>
                <c:pt idx="487">
                  <c:v>16.268326200000001</c:v>
                </c:pt>
                <c:pt idx="488">
                  <c:v>18.053076600000001</c:v>
                </c:pt>
                <c:pt idx="489">
                  <c:v>17.623241400000001</c:v>
                </c:pt>
                <c:pt idx="490">
                  <c:v>17.118652300000001</c:v>
                </c:pt>
                <c:pt idx="491">
                  <c:v>16.315047400000001</c:v>
                </c:pt>
                <c:pt idx="492">
                  <c:v>16.034720199999999</c:v>
                </c:pt>
                <c:pt idx="493">
                  <c:v>16.0440644</c:v>
                </c:pt>
                <c:pt idx="494">
                  <c:v>15.903900800000001</c:v>
                </c:pt>
                <c:pt idx="495">
                  <c:v>16.885046200000001</c:v>
                </c:pt>
                <c:pt idx="496">
                  <c:v>15.8478353</c:v>
                </c:pt>
                <c:pt idx="497">
                  <c:v>14.586362599999999</c:v>
                </c:pt>
                <c:pt idx="498">
                  <c:v>13.2034147</c:v>
                </c:pt>
                <c:pt idx="499">
                  <c:v>12.558661900000001</c:v>
                </c:pt>
                <c:pt idx="500">
                  <c:v>11.848499500000001</c:v>
                </c:pt>
                <c:pt idx="501">
                  <c:v>11.6803031</c:v>
                </c:pt>
                <c:pt idx="502">
                  <c:v>11.9699747</c:v>
                </c:pt>
                <c:pt idx="503">
                  <c:v>10.942107999999999</c:v>
                </c:pt>
                <c:pt idx="504">
                  <c:v>9.7086679999999994</c:v>
                </c:pt>
                <c:pt idx="505">
                  <c:v>8.8489976000000006</c:v>
                </c:pt>
                <c:pt idx="506">
                  <c:v>8.4752279000000001</c:v>
                </c:pt>
                <c:pt idx="507">
                  <c:v>7.8585079000000002</c:v>
                </c:pt>
                <c:pt idx="508">
                  <c:v>7.4660497000000001</c:v>
                </c:pt>
                <c:pt idx="509">
                  <c:v>8.4752279000000001</c:v>
                </c:pt>
                <c:pt idx="510">
                  <c:v>8.6527685999999999</c:v>
                </c:pt>
                <c:pt idx="511">
                  <c:v>9.1386692000000007</c:v>
                </c:pt>
                <c:pt idx="512">
                  <c:v>9.9422739999999994</c:v>
                </c:pt>
                <c:pt idx="513">
                  <c:v>10.932763700000001</c:v>
                </c:pt>
                <c:pt idx="514">
                  <c:v>11.194402500000001</c:v>
                </c:pt>
                <c:pt idx="515">
                  <c:v>11.764401299999999</c:v>
                </c:pt>
                <c:pt idx="516">
                  <c:v>14.2966911</c:v>
                </c:pt>
                <c:pt idx="517">
                  <c:v>15.5207868</c:v>
                </c:pt>
                <c:pt idx="518">
                  <c:v>17.6138972</c:v>
                </c:pt>
                <c:pt idx="519">
                  <c:v>18.763238999999999</c:v>
                </c:pt>
                <c:pt idx="520">
                  <c:v>20.5386451</c:v>
                </c:pt>
                <c:pt idx="521">
                  <c:v>20.3237275</c:v>
                </c:pt>
                <c:pt idx="522">
                  <c:v>21.725363900000001</c:v>
                </c:pt>
                <c:pt idx="523">
                  <c:v>25.136012399999998</c:v>
                </c:pt>
                <c:pt idx="524">
                  <c:v>27.145024599999999</c:v>
                </c:pt>
                <c:pt idx="525">
                  <c:v>28.612070599999999</c:v>
                </c:pt>
                <c:pt idx="526">
                  <c:v>29.35961</c:v>
                </c:pt>
                <c:pt idx="527">
                  <c:v>30.5556731</c:v>
                </c:pt>
                <c:pt idx="528">
                  <c:v>30.0791167</c:v>
                </c:pt>
                <c:pt idx="529">
                  <c:v>30.677148200000001</c:v>
                </c:pt>
                <c:pt idx="530">
                  <c:v>34.199927700000003</c:v>
                </c:pt>
                <c:pt idx="531">
                  <c:v>34.648451299999998</c:v>
                </c:pt>
                <c:pt idx="532">
                  <c:v>34.779270699999998</c:v>
                </c:pt>
                <c:pt idx="533">
                  <c:v>34.695172499999998</c:v>
                </c:pt>
                <c:pt idx="534">
                  <c:v>34.564353099999998</c:v>
                </c:pt>
                <c:pt idx="535">
                  <c:v>32.826324</c:v>
                </c:pt>
                <c:pt idx="536">
                  <c:v>31.947965199999999</c:v>
                </c:pt>
                <c:pt idx="537">
                  <c:v>35.442711899999999</c:v>
                </c:pt>
                <c:pt idx="538">
                  <c:v>34.106485300000003</c:v>
                </c:pt>
                <c:pt idx="539">
                  <c:v>33.321568900000003</c:v>
                </c:pt>
                <c:pt idx="540">
                  <c:v>31.873211300000001</c:v>
                </c:pt>
                <c:pt idx="541">
                  <c:v>30.714525200000001</c:v>
                </c:pt>
                <c:pt idx="542">
                  <c:v>28.5279725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ripadu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24.098801535482998</c:v>
                </c:pt>
                <c:pt idx="1">
                  <c:v>26.425517930339002</c:v>
                </c:pt>
                <c:pt idx="2">
                  <c:v>29.462396758968001</c:v>
                </c:pt>
                <c:pt idx="3">
                  <c:v>32.377800434450997</c:v>
                </c:pt>
                <c:pt idx="4">
                  <c:v>34.097141063582001</c:v>
                </c:pt>
                <c:pt idx="5">
                  <c:v>35.358613807780998</c:v>
                </c:pt>
                <c:pt idx="6">
                  <c:v>38.208607785417001</c:v>
                </c:pt>
                <c:pt idx="7">
                  <c:v>44.413184838367997</c:v>
                </c:pt>
                <c:pt idx="8">
                  <c:v>49.206781266325997</c:v>
                </c:pt>
                <c:pt idx="9">
                  <c:v>55.822504991460001</c:v>
                </c:pt>
                <c:pt idx="10">
                  <c:v>61.849541435968</c:v>
                </c:pt>
                <c:pt idx="11">
                  <c:v>71.502143989730996</c:v>
                </c:pt>
                <c:pt idx="12">
                  <c:v>75.062300401138003</c:v>
                </c:pt>
                <c:pt idx="13">
                  <c:v>79.426061671813002</c:v>
                </c:pt>
                <c:pt idx="14">
                  <c:v>84.238346584870001</c:v>
                </c:pt>
                <c:pt idx="15">
                  <c:v>93.348983070754997</c:v>
                </c:pt>
                <c:pt idx="16">
                  <c:v>109.626653592202</c:v>
                </c:pt>
                <c:pt idx="17">
                  <c:v>115.849919130252</c:v>
                </c:pt>
                <c:pt idx="18">
                  <c:v>120.596794345462</c:v>
                </c:pt>
                <c:pt idx="19">
                  <c:v>122.40023315754</c:v>
                </c:pt>
                <c:pt idx="20">
                  <c:v>126.59579806232099</c:v>
                </c:pt>
                <c:pt idx="21">
                  <c:v>133.239554515105</c:v>
                </c:pt>
                <c:pt idx="22">
                  <c:v>134.84676423363999</c:v>
                </c:pt>
                <c:pt idx="23">
                  <c:v>132.800375115272</c:v>
                </c:pt>
                <c:pt idx="24">
                  <c:v>140.62150612930901</c:v>
                </c:pt>
                <c:pt idx="25">
                  <c:v>140.02347460613299</c:v>
                </c:pt>
                <c:pt idx="26">
                  <c:v>143.02297646456199</c:v>
                </c:pt>
                <c:pt idx="27">
                  <c:v>141.219537652485</c:v>
                </c:pt>
                <c:pt idx="28">
                  <c:v>137.24823456889399</c:v>
                </c:pt>
                <c:pt idx="29">
                  <c:v>143.04166494966199</c:v>
                </c:pt>
                <c:pt idx="30">
                  <c:v>148.62017775178799</c:v>
                </c:pt>
                <c:pt idx="31">
                  <c:v>156.56278391896899</c:v>
                </c:pt>
                <c:pt idx="32">
                  <c:v>161.917034899904</c:v>
                </c:pt>
                <c:pt idx="33">
                  <c:v>166.92554890650399</c:v>
                </c:pt>
                <c:pt idx="34">
                  <c:v>184.05354549996599</c:v>
                </c:pt>
                <c:pt idx="35">
                  <c:v>207.37677490383101</c:v>
                </c:pt>
                <c:pt idx="36">
                  <c:v>229.905743690977</c:v>
                </c:pt>
                <c:pt idx="37">
                  <c:v>247.57570635231801</c:v>
                </c:pt>
                <c:pt idx="38">
                  <c:v>292.64298816916101</c:v>
                </c:pt>
                <c:pt idx="39">
                  <c:v>312.10704540003002</c:v>
                </c:pt>
                <c:pt idx="40">
                  <c:v>323.908823740206</c:v>
                </c:pt>
                <c:pt idx="41">
                  <c:v>335.02847237425999</c:v>
                </c:pt>
                <c:pt idx="42">
                  <c:v>371.15331407111103</c:v>
                </c:pt>
                <c:pt idx="43">
                  <c:v>410.473886719934</c:v>
                </c:pt>
                <c:pt idx="44">
                  <c:v>450.93445695981097</c:v>
                </c:pt>
                <c:pt idx="45">
                  <c:v>474.16424393817903</c:v>
                </c:pt>
                <c:pt idx="46">
                  <c:v>512.25137657045104</c:v>
                </c:pt>
                <c:pt idx="47">
                  <c:v>530.51937075496903</c:v>
                </c:pt>
                <c:pt idx="48">
                  <c:v>565.75650940960497</c:v>
                </c:pt>
                <c:pt idx="49">
                  <c:v>599.965781383783</c:v>
                </c:pt>
                <c:pt idx="50">
                  <c:v>650.67698570059895</c:v>
                </c:pt>
                <c:pt idx="51">
                  <c:v>692.10935716563699</c:v>
                </c:pt>
                <c:pt idx="52">
                  <c:v>730.83189829128298</c:v>
                </c:pt>
                <c:pt idx="53">
                  <c:v>765.966250277874</c:v>
                </c:pt>
                <c:pt idx="54">
                  <c:v>786.90669783158398</c:v>
                </c:pt>
                <c:pt idx="55">
                  <c:v>807.43599871311005</c:v>
                </c:pt>
                <c:pt idx="56">
                  <c:v>841.84149978082996</c:v>
                </c:pt>
                <c:pt idx="57">
                  <c:v>823.20908013687801</c:v>
                </c:pt>
                <c:pt idx="58">
                  <c:v>812.85565939189303</c:v>
                </c:pt>
                <c:pt idx="59">
                  <c:v>797.503068882859</c:v>
                </c:pt>
                <c:pt idx="60">
                  <c:v>787.73833541850104</c:v>
                </c:pt>
                <c:pt idx="61">
                  <c:v>780.73949774883101</c:v>
                </c:pt>
                <c:pt idx="62">
                  <c:v>771.077550952519</c:v>
                </c:pt>
                <c:pt idx="63">
                  <c:v>737.65319535251001</c:v>
                </c:pt>
                <c:pt idx="64">
                  <c:v>763.340518121429</c:v>
                </c:pt>
                <c:pt idx="65">
                  <c:v>765.08789147820903</c:v>
                </c:pt>
                <c:pt idx="66">
                  <c:v>745.84809606853105</c:v>
                </c:pt>
                <c:pt idx="67">
                  <c:v>711.20898893706999</c:v>
                </c:pt>
                <c:pt idx="68">
                  <c:v>683.73691584117205</c:v>
                </c:pt>
                <c:pt idx="69">
                  <c:v>653.90074938021905</c:v>
                </c:pt>
                <c:pt idx="70">
                  <c:v>625.55966172720605</c:v>
                </c:pt>
                <c:pt idx="71">
                  <c:v>561.95340269190797</c:v>
                </c:pt>
                <c:pt idx="72">
                  <c:v>511.84022989826798</c:v>
                </c:pt>
                <c:pt idx="73">
                  <c:v>472.70654210043801</c:v>
                </c:pt>
                <c:pt idx="74">
                  <c:v>439.76808711300902</c:v>
                </c:pt>
                <c:pt idx="75">
                  <c:v>423.69598992765401</c:v>
                </c:pt>
                <c:pt idx="76">
                  <c:v>417.85583833413801</c:v>
                </c:pt>
                <c:pt idx="77">
                  <c:v>372.900687427891</c:v>
                </c:pt>
                <c:pt idx="78">
                  <c:v>341.083541546417</c:v>
                </c:pt>
                <c:pt idx="79">
                  <c:v>327.96422500674402</c:v>
                </c:pt>
                <c:pt idx="80">
                  <c:v>313.48999329737399</c:v>
                </c:pt>
                <c:pt idx="81">
                  <c:v>304.09902953500102</c:v>
                </c:pt>
                <c:pt idx="82">
                  <c:v>300.52018463849498</c:v>
                </c:pt>
                <c:pt idx="83">
                  <c:v>290.76479541668601</c:v>
                </c:pt>
                <c:pt idx="84">
                  <c:v>305.85574713433101</c:v>
                </c:pt>
                <c:pt idx="85">
                  <c:v>300.38936524280001</c:v>
                </c:pt>
                <c:pt idx="86">
                  <c:v>277.76695403015702</c:v>
                </c:pt>
                <c:pt idx="87">
                  <c:v>265.18960355836202</c:v>
                </c:pt>
                <c:pt idx="88">
                  <c:v>260.30256470490798</c:v>
                </c:pt>
                <c:pt idx="89">
                  <c:v>256.24716343837099</c:v>
                </c:pt>
                <c:pt idx="90">
                  <c:v>248.715703943373</c:v>
                </c:pt>
                <c:pt idx="91">
                  <c:v>242.36161900962799</c:v>
                </c:pt>
                <c:pt idx="92">
                  <c:v>238.922937751365</c:v>
                </c:pt>
                <c:pt idx="93">
                  <c:v>244.2958772174</c:v>
                </c:pt>
                <c:pt idx="94">
                  <c:v>246.949642101493</c:v>
                </c:pt>
                <c:pt idx="95">
                  <c:v>252.97667854600201</c:v>
                </c:pt>
                <c:pt idx="96">
                  <c:v>253.331759762887</c:v>
                </c:pt>
                <c:pt idx="97">
                  <c:v>259.66715621153298</c:v>
                </c:pt>
                <c:pt idx="98">
                  <c:v>265.96517568998098</c:v>
                </c:pt>
                <c:pt idx="99">
                  <c:v>283.30808986208501</c:v>
                </c:pt>
                <c:pt idx="100">
                  <c:v>295.016425776765</c:v>
                </c:pt>
                <c:pt idx="101">
                  <c:v>308.687052626867</c:v>
                </c:pt>
                <c:pt idx="102">
                  <c:v>311.882783578839</c:v>
                </c:pt>
                <c:pt idx="103">
                  <c:v>320.16178247780698</c:v>
                </c:pt>
                <c:pt idx="104">
                  <c:v>328.83323956385902</c:v>
                </c:pt>
                <c:pt idx="105">
                  <c:v>348.08237921608702</c:v>
                </c:pt>
                <c:pt idx="106">
                  <c:v>365.34119520524399</c:v>
                </c:pt>
                <c:pt idx="107">
                  <c:v>381.60952148414202</c:v>
                </c:pt>
                <c:pt idx="108">
                  <c:v>406.34373151300002</c:v>
                </c:pt>
                <c:pt idx="109">
                  <c:v>422.266320817561</c:v>
                </c:pt>
                <c:pt idx="110">
                  <c:v>435.55383372312798</c:v>
                </c:pt>
                <c:pt idx="111">
                  <c:v>461.69902437697903</c:v>
                </c:pt>
                <c:pt idx="112">
                  <c:v>490.12421021293898</c:v>
                </c:pt>
                <c:pt idx="113">
                  <c:v>545.38606065142199</c:v>
                </c:pt>
                <c:pt idx="114">
                  <c:v>515.15743600338499</c:v>
                </c:pt>
                <c:pt idx="115">
                  <c:v>457.43804977435002</c:v>
                </c:pt>
                <c:pt idx="116">
                  <c:v>435.82481675706703</c:v>
                </c:pt>
                <c:pt idx="117">
                  <c:v>439.366284683375</c:v>
                </c:pt>
                <c:pt idx="118">
                  <c:v>467.71671657893802</c:v>
                </c:pt>
                <c:pt idx="119">
                  <c:v>519.96972091644204</c:v>
                </c:pt>
                <c:pt idx="120">
                  <c:v>547.52589219528602</c:v>
                </c:pt>
                <c:pt idx="121">
                  <c:v>631.20358422718004</c:v>
                </c:pt>
                <c:pt idx="122">
                  <c:v>638.49209341588698</c:v>
                </c:pt>
                <c:pt idx="123">
                  <c:v>656.77877608550398</c:v>
                </c:pt>
                <c:pt idx="124">
                  <c:v>680.10200548936803</c:v>
                </c:pt>
                <c:pt idx="125">
                  <c:v>698.74376937586999</c:v>
                </c:pt>
                <c:pt idx="126">
                  <c:v>707.35916100662496</c:v>
                </c:pt>
                <c:pt idx="127">
                  <c:v>714.39537564649299</c:v>
                </c:pt>
                <c:pt idx="128">
                  <c:v>729.88812979377099</c:v>
                </c:pt>
                <c:pt idx="129">
                  <c:v>820.64875767828005</c:v>
                </c:pt>
                <c:pt idx="130">
                  <c:v>853.20409872117398</c:v>
                </c:pt>
                <c:pt idx="131">
                  <c:v>834.92676029410802</c:v>
                </c:pt>
                <c:pt idx="132">
                  <c:v>801.65191257489198</c:v>
                </c:pt>
                <c:pt idx="133">
                  <c:v>739.64351901557995</c:v>
                </c:pt>
                <c:pt idx="134">
                  <c:v>674.92529511687599</c:v>
                </c:pt>
                <c:pt idx="135">
                  <c:v>610.73034880095099</c:v>
                </c:pt>
                <c:pt idx="136">
                  <c:v>574.99796529118396</c:v>
                </c:pt>
                <c:pt idx="137">
                  <c:v>544.80671761334497</c:v>
                </c:pt>
                <c:pt idx="138">
                  <c:v>529.05232467467704</c:v>
                </c:pt>
                <c:pt idx="139">
                  <c:v>512.73727718303201</c:v>
                </c:pt>
                <c:pt idx="140">
                  <c:v>501.53353036603102</c:v>
                </c:pt>
                <c:pt idx="141">
                  <c:v>476.22932154164602</c:v>
                </c:pt>
                <c:pt idx="142">
                  <c:v>471.23015177759697</c:v>
                </c:pt>
                <c:pt idx="143">
                  <c:v>463.25951288276701</c:v>
                </c:pt>
                <c:pt idx="144">
                  <c:v>453.85920487784398</c:v>
                </c:pt>
                <c:pt idx="145">
                  <c:v>451.61658666593399</c:v>
                </c:pt>
                <c:pt idx="146">
                  <c:v>445.19709203434098</c:v>
                </c:pt>
                <c:pt idx="147">
                  <c:v>441.26316592094901</c:v>
                </c:pt>
                <c:pt idx="148">
                  <c:v>444.094471413485</c:v>
                </c:pt>
                <c:pt idx="149">
                  <c:v>448.30872480336598</c:v>
                </c:pt>
                <c:pt idx="150">
                  <c:v>444.32807747722597</c:v>
                </c:pt>
                <c:pt idx="151">
                  <c:v>442.64611381829297</c:v>
                </c:pt>
                <c:pt idx="152">
                  <c:v>444.262667779379</c:v>
                </c:pt>
                <c:pt idx="153">
                  <c:v>446.58003993168597</c:v>
                </c:pt>
                <c:pt idx="154">
                  <c:v>446.187581744601</c:v>
                </c:pt>
                <c:pt idx="155">
                  <c:v>456.840018251174</c:v>
                </c:pt>
                <c:pt idx="156">
                  <c:v>457.57821341259398</c:v>
                </c:pt>
                <c:pt idx="157">
                  <c:v>462.93246439352998</c:v>
                </c:pt>
                <c:pt idx="158">
                  <c:v>470.00605600359597</c:v>
                </c:pt>
                <c:pt idx="159">
                  <c:v>468.81933719979401</c:v>
                </c:pt>
                <c:pt idx="160">
                  <c:v>474.07080151268298</c:v>
                </c:pt>
                <c:pt idx="161">
                  <c:v>484.72323801925597</c:v>
                </c:pt>
                <c:pt idx="162">
                  <c:v>483.68602709624702</c:v>
                </c:pt>
                <c:pt idx="163">
                  <c:v>492.36682842484902</c:v>
                </c:pt>
                <c:pt idx="164">
                  <c:v>494.31977511772101</c:v>
                </c:pt>
                <c:pt idx="165">
                  <c:v>497.347309703799</c:v>
                </c:pt>
                <c:pt idx="166">
                  <c:v>501.33730127248901</c:v>
                </c:pt>
                <c:pt idx="167">
                  <c:v>511.64400080472598</c:v>
                </c:pt>
                <c:pt idx="168">
                  <c:v>533.26657806455796</c:v>
                </c:pt>
                <c:pt idx="169">
                  <c:v>546.18966551069002</c:v>
                </c:pt>
                <c:pt idx="170">
                  <c:v>571.20420281603697</c:v>
                </c:pt>
                <c:pt idx="171">
                  <c:v>594.125629790267</c:v>
                </c:pt>
                <c:pt idx="172">
                  <c:v>609.38477787380498</c:v>
                </c:pt>
                <c:pt idx="173">
                  <c:v>620.50442650785897</c:v>
                </c:pt>
                <c:pt idx="174">
                  <c:v>644.15470440095999</c:v>
                </c:pt>
                <c:pt idx="175">
                  <c:v>674.45808298939505</c:v>
                </c:pt>
                <c:pt idx="176">
                  <c:v>701.26671486426903</c:v>
                </c:pt>
                <c:pt idx="177">
                  <c:v>728.25288734758703</c:v>
                </c:pt>
                <c:pt idx="178">
                  <c:v>761.21937506266397</c:v>
                </c:pt>
                <c:pt idx="179">
                  <c:v>771.35787822900795</c:v>
                </c:pt>
                <c:pt idx="180">
                  <c:v>776.27294981011005</c:v>
                </c:pt>
                <c:pt idx="181">
                  <c:v>784.82293174301799</c:v>
                </c:pt>
                <c:pt idx="182">
                  <c:v>793.70930640771098</c:v>
                </c:pt>
                <c:pt idx="183">
                  <c:v>807.16501567917101</c:v>
                </c:pt>
                <c:pt idx="184">
                  <c:v>807.75370295979803</c:v>
                </c:pt>
                <c:pt idx="185">
                  <c:v>792.429145178412</c:v>
                </c:pt>
                <c:pt idx="186">
                  <c:v>804.29633321643598</c:v>
                </c:pt>
                <c:pt idx="187">
                  <c:v>798.71782041431004</c:v>
                </c:pt>
                <c:pt idx="188">
                  <c:v>783.12227959898598</c:v>
                </c:pt>
                <c:pt idx="189">
                  <c:v>769.89083214871596</c:v>
                </c:pt>
                <c:pt idx="190">
                  <c:v>763.56477994262002</c:v>
                </c:pt>
                <c:pt idx="191">
                  <c:v>731.89714194194096</c:v>
                </c:pt>
                <c:pt idx="192">
                  <c:v>748.73546701636496</c:v>
                </c:pt>
                <c:pt idx="193">
                  <c:v>729.24337705784706</c:v>
                </c:pt>
                <c:pt idx="194">
                  <c:v>723.16027515804103</c:v>
                </c:pt>
                <c:pt idx="195">
                  <c:v>722.80519394115504</c:v>
                </c:pt>
                <c:pt idx="196">
                  <c:v>710.47079377565001</c:v>
                </c:pt>
                <c:pt idx="197">
                  <c:v>687.03543346119</c:v>
                </c:pt>
                <c:pt idx="198">
                  <c:v>681.77462490575101</c:v>
                </c:pt>
                <c:pt idx="199">
                  <c:v>632.80144970316599</c:v>
                </c:pt>
                <c:pt idx="200">
                  <c:v>618.467381632041</c:v>
                </c:pt>
                <c:pt idx="201">
                  <c:v>609.55297423969796</c:v>
                </c:pt>
                <c:pt idx="202">
                  <c:v>587.16416909079601</c:v>
                </c:pt>
                <c:pt idx="203">
                  <c:v>558.37455779540096</c:v>
                </c:pt>
                <c:pt idx="204">
                  <c:v>528.46363739405103</c:v>
                </c:pt>
                <c:pt idx="205">
                  <c:v>502.56139704649001</c:v>
                </c:pt>
                <c:pt idx="206">
                  <c:v>483.86356770469001</c:v>
                </c:pt>
                <c:pt idx="207">
                  <c:v>469.51081114846602</c:v>
                </c:pt>
                <c:pt idx="208">
                  <c:v>463.40902076356099</c:v>
                </c:pt>
                <c:pt idx="209">
                  <c:v>451.16806302355201</c:v>
                </c:pt>
                <c:pt idx="210">
                  <c:v>429.23712575958098</c:v>
                </c:pt>
                <c:pt idx="211">
                  <c:v>414.258304952532</c:v>
                </c:pt>
                <c:pt idx="212">
                  <c:v>398.41981383091701</c:v>
                </c:pt>
                <c:pt idx="213">
                  <c:v>361.98661212992897</c:v>
                </c:pt>
                <c:pt idx="214">
                  <c:v>344.97074644706203</c:v>
                </c:pt>
                <c:pt idx="215">
                  <c:v>346.70877556129199</c:v>
                </c:pt>
                <c:pt idx="216">
                  <c:v>295.11921244481101</c:v>
                </c:pt>
                <c:pt idx="217">
                  <c:v>266.57255145570599</c:v>
                </c:pt>
                <c:pt idx="218">
                  <c:v>264.55419506498703</c:v>
                </c:pt>
                <c:pt idx="219">
                  <c:v>255.63978767264501</c:v>
                </c:pt>
                <c:pt idx="220">
                  <c:v>264.95599749462099</c:v>
                </c:pt>
                <c:pt idx="221">
                  <c:v>265.50730780504898</c:v>
                </c:pt>
                <c:pt idx="222">
                  <c:v>256.66765435310401</c:v>
                </c:pt>
                <c:pt idx="223">
                  <c:v>279.533015872036</c:v>
                </c:pt>
                <c:pt idx="224">
                  <c:v>274.786140656827</c:v>
                </c:pt>
                <c:pt idx="225">
                  <c:v>243.60440326872799</c:v>
                </c:pt>
                <c:pt idx="226">
                  <c:v>224.73837756103401</c:v>
                </c:pt>
                <c:pt idx="227">
                  <c:v>209.58201614554201</c:v>
                </c:pt>
                <c:pt idx="228">
                  <c:v>203.274652424545</c:v>
                </c:pt>
                <c:pt idx="229">
                  <c:v>201.938425739949</c:v>
                </c:pt>
                <c:pt idx="230">
                  <c:v>196.97663294609799</c:v>
                </c:pt>
                <c:pt idx="231">
                  <c:v>185.08141218042499</c:v>
                </c:pt>
                <c:pt idx="232">
                  <c:v>177.97978784271001</c:v>
                </c:pt>
                <c:pt idx="233">
                  <c:v>171.93406291310299</c:v>
                </c:pt>
                <c:pt idx="234">
                  <c:v>166.196697987633</c:v>
                </c:pt>
                <c:pt idx="235">
                  <c:v>164.075554928868</c:v>
                </c:pt>
                <c:pt idx="236">
                  <c:v>163.96342401827201</c:v>
                </c:pt>
                <c:pt idx="237">
                  <c:v>156.97393059115299</c:v>
                </c:pt>
                <c:pt idx="238">
                  <c:v>151.722466278263</c:v>
                </c:pt>
                <c:pt idx="239">
                  <c:v>147.34001652248901</c:v>
                </c:pt>
                <c:pt idx="240">
                  <c:v>143.59297526008899</c:v>
                </c:pt>
                <c:pt idx="241">
                  <c:v>139.57495096375101</c:v>
                </c:pt>
                <c:pt idx="242">
                  <c:v>138.266757006803</c:v>
                </c:pt>
                <c:pt idx="243">
                  <c:v>135.295287876022</c:v>
                </c:pt>
                <c:pt idx="244">
                  <c:v>131.753819949714</c:v>
                </c:pt>
                <c:pt idx="245">
                  <c:v>123.988754390976</c:v>
                </c:pt>
                <c:pt idx="246">
                  <c:v>118.270077950605</c:v>
                </c:pt>
                <c:pt idx="247">
                  <c:v>112.14025483805101</c:v>
                </c:pt>
                <c:pt idx="248">
                  <c:v>107.14108507400201</c:v>
                </c:pt>
                <c:pt idx="249">
                  <c:v>102.95486441177</c:v>
                </c:pt>
                <c:pt idx="250">
                  <c:v>101.777489850517</c:v>
                </c:pt>
                <c:pt idx="251">
                  <c:v>95.526191584817994</c:v>
                </c:pt>
                <c:pt idx="252">
                  <c:v>88.73292725124</c:v>
                </c:pt>
                <c:pt idx="253">
                  <c:v>83.004906568319996</c:v>
                </c:pt>
                <c:pt idx="254">
                  <c:v>79.743765918500998</c:v>
                </c:pt>
                <c:pt idx="255">
                  <c:v>74.211974329122995</c:v>
                </c:pt>
                <c:pt idx="256">
                  <c:v>72.978534312571995</c:v>
                </c:pt>
                <c:pt idx="257">
                  <c:v>71.78247126622</c:v>
                </c:pt>
                <c:pt idx="258">
                  <c:v>67.923299093224998</c:v>
                </c:pt>
                <c:pt idx="259">
                  <c:v>63.344620243908999</c:v>
                </c:pt>
                <c:pt idx="260">
                  <c:v>58.775285637141998</c:v>
                </c:pt>
                <c:pt idx="261">
                  <c:v>53.692017690146002</c:v>
                </c:pt>
                <c:pt idx="262">
                  <c:v>50.150549763838001</c:v>
                </c:pt>
                <c:pt idx="263">
                  <c:v>47.693013973286</c:v>
                </c:pt>
                <c:pt idx="264">
                  <c:v>47.123015177759001</c:v>
                </c:pt>
                <c:pt idx="265">
                  <c:v>43.002204213375002</c:v>
                </c:pt>
                <c:pt idx="266">
                  <c:v>37.928280508927998</c:v>
                </c:pt>
                <c:pt idx="267">
                  <c:v>35.695006539567999</c:v>
                </c:pt>
                <c:pt idx="268">
                  <c:v>34.078452578482</c:v>
                </c:pt>
                <c:pt idx="269">
                  <c:v>32.013374975014997</c:v>
                </c:pt>
                <c:pt idx="270">
                  <c:v>30.948131324357998</c:v>
                </c:pt>
                <c:pt idx="271">
                  <c:v>30.144526465089999</c:v>
                </c:pt>
                <c:pt idx="272">
                  <c:v>28.453218563608001</c:v>
                </c:pt>
                <c:pt idx="273">
                  <c:v>26.733877934477</c:v>
                </c:pt>
                <c:pt idx="274">
                  <c:v>24.967816092597999</c:v>
                </c:pt>
                <c:pt idx="275">
                  <c:v>24.229620931178001</c:v>
                </c:pt>
                <c:pt idx="276">
                  <c:v>23.033557884825999</c:v>
                </c:pt>
                <c:pt idx="277">
                  <c:v>22.388805148901</c:v>
                </c:pt>
                <c:pt idx="278">
                  <c:v>22.257985753206999</c:v>
                </c:pt>
                <c:pt idx="279">
                  <c:v>20.174219664639999</c:v>
                </c:pt>
                <c:pt idx="280">
                  <c:v>19.267828137327001</c:v>
                </c:pt>
                <c:pt idx="281">
                  <c:v>18.361436610013001</c:v>
                </c:pt>
                <c:pt idx="282">
                  <c:v>16.100129913004</c:v>
                </c:pt>
                <c:pt idx="283">
                  <c:v>14.717182015659001</c:v>
                </c:pt>
                <c:pt idx="284">
                  <c:v>14.007019581888001</c:v>
                </c:pt>
                <c:pt idx="285">
                  <c:v>13.474397756559</c:v>
                </c:pt>
                <c:pt idx="286">
                  <c:v>12.343744408054</c:v>
                </c:pt>
                <c:pt idx="287">
                  <c:v>10.69915771932</c:v>
                </c:pt>
                <c:pt idx="288">
                  <c:v>9.5124389155180005</c:v>
                </c:pt>
                <c:pt idx="289">
                  <c:v>9.2227673964800001</c:v>
                </c:pt>
                <c:pt idx="290">
                  <c:v>8.9144073923419995</c:v>
                </c:pt>
                <c:pt idx="291">
                  <c:v>8.7929322391970004</c:v>
                </c:pt>
                <c:pt idx="292">
                  <c:v>8.9517843625399998</c:v>
                </c:pt>
                <c:pt idx="293">
                  <c:v>8.4378510223109995</c:v>
                </c:pt>
                <c:pt idx="294">
                  <c:v>7.5127710098979996</c:v>
                </c:pt>
                <c:pt idx="295">
                  <c:v>7.3165419163559999</c:v>
                </c:pt>
                <c:pt idx="296">
                  <c:v>6.6998219080809998</c:v>
                </c:pt>
                <c:pt idx="297">
                  <c:v>6.5503140272870004</c:v>
                </c:pt>
                <c:pt idx="298">
                  <c:v>6.5783467549359997</c:v>
                </c:pt>
                <c:pt idx="299">
                  <c:v>6.5783467549359997</c:v>
                </c:pt>
                <c:pt idx="300">
                  <c:v>6.8867067590730002</c:v>
                </c:pt>
                <c:pt idx="301">
                  <c:v>7.3632631291040003</c:v>
                </c:pt>
                <c:pt idx="302">
                  <c:v>7.6062134353940003</c:v>
                </c:pt>
                <c:pt idx="303">
                  <c:v>8.278998898967</c:v>
                </c:pt>
                <c:pt idx="304">
                  <c:v>8.5967031456550007</c:v>
                </c:pt>
                <c:pt idx="305">
                  <c:v>9.1386692135329994</c:v>
                </c:pt>
                <c:pt idx="306">
                  <c:v>9.6058813410139994</c:v>
                </c:pt>
                <c:pt idx="307">
                  <c:v>9.3629310347239993</c:v>
                </c:pt>
                <c:pt idx="308">
                  <c:v>8.8770304221429992</c:v>
                </c:pt>
                <c:pt idx="309">
                  <c:v>10.20391286419</c:v>
                </c:pt>
                <c:pt idx="310">
                  <c:v>11.035550451107</c:v>
                </c:pt>
                <c:pt idx="311">
                  <c:v>12.147515314512001</c:v>
                </c:pt>
                <c:pt idx="312">
                  <c:v>12.511940773948</c:v>
                </c:pt>
                <c:pt idx="313">
                  <c:v>12.969808658879</c:v>
                </c:pt>
                <c:pt idx="314">
                  <c:v>14.016363824437001</c:v>
                </c:pt>
                <c:pt idx="315">
                  <c:v>15.997343244958</c:v>
                </c:pt>
                <c:pt idx="316">
                  <c:v>15.791769908866</c:v>
                </c:pt>
                <c:pt idx="317">
                  <c:v>15.427344449431001</c:v>
                </c:pt>
                <c:pt idx="318">
                  <c:v>15.044230504895999</c:v>
                </c:pt>
                <c:pt idx="319">
                  <c:v>15.352590509034</c:v>
                </c:pt>
                <c:pt idx="320">
                  <c:v>14.969476564499001</c:v>
                </c:pt>
                <c:pt idx="321">
                  <c:v>14.782591713506999</c:v>
                </c:pt>
                <c:pt idx="322">
                  <c:v>14.567674134864999</c:v>
                </c:pt>
                <c:pt idx="323">
                  <c:v>14.334068071124999</c:v>
                </c:pt>
                <c:pt idx="324">
                  <c:v>14.259314130728001</c:v>
                </c:pt>
                <c:pt idx="325">
                  <c:v>13.736036547948</c:v>
                </c:pt>
                <c:pt idx="326">
                  <c:v>13.081939569475001</c:v>
                </c:pt>
                <c:pt idx="327">
                  <c:v>12.745546837688</c:v>
                </c:pt>
                <c:pt idx="328">
                  <c:v>12.539973501596</c:v>
                </c:pt>
                <c:pt idx="329">
                  <c:v>12.128826829413001</c:v>
                </c:pt>
                <c:pt idx="330">
                  <c:v>11.839155310375</c:v>
                </c:pt>
                <c:pt idx="331">
                  <c:v>11.792434097626</c:v>
                </c:pt>
                <c:pt idx="332">
                  <c:v>11.334566212695</c:v>
                </c:pt>
                <c:pt idx="333">
                  <c:v>11.241123787198999</c:v>
                </c:pt>
                <c:pt idx="334">
                  <c:v>11.203746817000001</c:v>
                </c:pt>
                <c:pt idx="335">
                  <c:v>10.764567417167999</c:v>
                </c:pt>
                <c:pt idx="336">
                  <c:v>10.633748021473</c:v>
                </c:pt>
                <c:pt idx="337">
                  <c:v>10.69915771932</c:v>
                </c:pt>
                <c:pt idx="338">
                  <c:v>10.306699532235999</c:v>
                </c:pt>
                <c:pt idx="339">
                  <c:v>10.671124991671</c:v>
                </c:pt>
                <c:pt idx="340">
                  <c:v>11.035550451107</c:v>
                </c:pt>
                <c:pt idx="341">
                  <c:v>11.315877727596</c:v>
                </c:pt>
                <c:pt idx="342">
                  <c:v>11.530795306237</c:v>
                </c:pt>
                <c:pt idx="343">
                  <c:v>11.708335914679999</c:v>
                </c:pt>
                <c:pt idx="344">
                  <c:v>11.811122582726</c:v>
                </c:pt>
                <c:pt idx="345">
                  <c:v>12.044728646466</c:v>
                </c:pt>
                <c:pt idx="346">
                  <c:v>12.45587531865</c:v>
                </c:pt>
                <c:pt idx="347">
                  <c:v>12.325055922955</c:v>
                </c:pt>
                <c:pt idx="348">
                  <c:v>12.044728646466</c:v>
                </c:pt>
                <c:pt idx="349">
                  <c:v>12.418498348450999</c:v>
                </c:pt>
                <c:pt idx="350">
                  <c:v>12.782923807887</c:v>
                </c:pt>
                <c:pt idx="351">
                  <c:v>12.680137139840999</c:v>
                </c:pt>
                <c:pt idx="352">
                  <c:v>12.45587531865</c:v>
                </c:pt>
                <c:pt idx="353">
                  <c:v>11.969974706068999</c:v>
                </c:pt>
                <c:pt idx="354">
                  <c:v>11.904565008222001</c:v>
                </c:pt>
                <c:pt idx="355">
                  <c:v>12.184892284710999</c:v>
                </c:pt>
                <c:pt idx="356">
                  <c:v>12.166203799611001</c:v>
                </c:pt>
                <c:pt idx="357">
                  <c:v>11.727024399778999</c:v>
                </c:pt>
                <c:pt idx="358">
                  <c:v>12.110138344314</c:v>
                </c:pt>
                <c:pt idx="359">
                  <c:v>12.558661986696</c:v>
                </c:pt>
                <c:pt idx="360">
                  <c:v>12.670792897290999</c:v>
                </c:pt>
                <c:pt idx="361">
                  <c:v>12.652104412191999</c:v>
                </c:pt>
                <c:pt idx="362">
                  <c:v>12.409154105901999</c:v>
                </c:pt>
                <c:pt idx="363">
                  <c:v>12.661448654741999</c:v>
                </c:pt>
                <c:pt idx="364">
                  <c:v>13.025874114177</c:v>
                </c:pt>
                <c:pt idx="365">
                  <c:v>13.138005024771999</c:v>
                </c:pt>
                <c:pt idx="366">
                  <c:v>13.997675339338</c:v>
                </c:pt>
                <c:pt idx="367">
                  <c:v>15.18439414314</c:v>
                </c:pt>
                <c:pt idx="368">
                  <c:v>15.875868091813</c:v>
                </c:pt>
                <c:pt idx="369">
                  <c:v>16.436522644789999</c:v>
                </c:pt>
                <c:pt idx="370">
                  <c:v>17.856847512333001</c:v>
                </c:pt>
                <c:pt idx="371">
                  <c:v>20.576022094273998</c:v>
                </c:pt>
                <c:pt idx="372">
                  <c:v>21.697331200229002</c:v>
                </c:pt>
                <c:pt idx="373">
                  <c:v>22.762574850886001</c:v>
                </c:pt>
                <c:pt idx="374">
                  <c:v>24.024047595086</c:v>
                </c:pt>
                <c:pt idx="375">
                  <c:v>24.435194267269001</c:v>
                </c:pt>
                <c:pt idx="376">
                  <c:v>24.397817297071001</c:v>
                </c:pt>
                <c:pt idx="377">
                  <c:v>25.350930037133001</c:v>
                </c:pt>
                <c:pt idx="378">
                  <c:v>25.107979730842001</c:v>
                </c:pt>
                <c:pt idx="379">
                  <c:v>26.434862172889002</c:v>
                </c:pt>
                <c:pt idx="380">
                  <c:v>27.761744614935999</c:v>
                </c:pt>
                <c:pt idx="381">
                  <c:v>27.789777342585001</c:v>
                </c:pt>
                <c:pt idx="382">
                  <c:v>28.266333712615999</c:v>
                </c:pt>
                <c:pt idx="383">
                  <c:v>28.742890082647001</c:v>
                </c:pt>
                <c:pt idx="384">
                  <c:v>28.612070686951999</c:v>
                </c:pt>
                <c:pt idx="385">
                  <c:v>28.985840388937</c:v>
                </c:pt>
                <c:pt idx="386">
                  <c:v>28.976496146386999</c:v>
                </c:pt>
                <c:pt idx="387">
                  <c:v>28.247645227515999</c:v>
                </c:pt>
                <c:pt idx="388">
                  <c:v>29.051250086783998</c:v>
                </c:pt>
                <c:pt idx="389">
                  <c:v>30.144526465089999</c:v>
                </c:pt>
                <c:pt idx="390">
                  <c:v>30.751902230816</c:v>
                </c:pt>
                <c:pt idx="391">
                  <c:v>32.583373770542003</c:v>
                </c:pt>
                <c:pt idx="392">
                  <c:v>31.434031936939</c:v>
                </c:pt>
                <c:pt idx="393">
                  <c:v>33.415011357459001</c:v>
                </c:pt>
                <c:pt idx="394">
                  <c:v>37.507789594195003</c:v>
                </c:pt>
                <c:pt idx="395">
                  <c:v>40.264341146333997</c:v>
                </c:pt>
                <c:pt idx="396">
                  <c:v>41.507125405434998</c:v>
                </c:pt>
                <c:pt idx="397">
                  <c:v>42.114501171160001</c:v>
                </c:pt>
                <c:pt idx="398">
                  <c:v>43.478760583404998</c:v>
                </c:pt>
                <c:pt idx="399">
                  <c:v>49.655304908707997</c:v>
                </c:pt>
                <c:pt idx="400">
                  <c:v>52.580052826740001</c:v>
                </c:pt>
                <c:pt idx="401">
                  <c:v>53.234149805214003</c:v>
                </c:pt>
                <c:pt idx="402">
                  <c:v>55.009555889643003</c:v>
                </c:pt>
                <c:pt idx="403">
                  <c:v>56.093488025398997</c:v>
                </c:pt>
                <c:pt idx="404">
                  <c:v>56.280372876392001</c:v>
                </c:pt>
                <c:pt idx="405">
                  <c:v>61.167411729846002</c:v>
                </c:pt>
                <c:pt idx="406">
                  <c:v>64.652814200856</c:v>
                </c:pt>
                <c:pt idx="407">
                  <c:v>68.876411833286994</c:v>
                </c:pt>
                <c:pt idx="408">
                  <c:v>74.006400993030994</c:v>
                </c:pt>
                <c:pt idx="409">
                  <c:v>81.136058058394994</c:v>
                </c:pt>
                <c:pt idx="410">
                  <c:v>85.714736907711</c:v>
                </c:pt>
                <c:pt idx="411">
                  <c:v>89.994399995440006</c:v>
                </c:pt>
                <c:pt idx="412">
                  <c:v>101.142081357142</c:v>
                </c:pt>
                <c:pt idx="413">
                  <c:v>117.41040763604001</c:v>
                </c:pt>
                <c:pt idx="414">
                  <c:v>134.052503616922</c:v>
                </c:pt>
                <c:pt idx="415">
                  <c:v>153.72213418388301</c:v>
                </c:pt>
                <c:pt idx="416">
                  <c:v>176.68093812831199</c:v>
                </c:pt>
                <c:pt idx="417">
                  <c:v>191.613037722613</c:v>
                </c:pt>
                <c:pt idx="418">
                  <c:v>201.368426944422</c:v>
                </c:pt>
                <c:pt idx="419">
                  <c:v>217.702162921167</c:v>
                </c:pt>
                <c:pt idx="420">
                  <c:v>246.12734875712599</c:v>
                </c:pt>
                <c:pt idx="421">
                  <c:v>270.28221574790803</c:v>
                </c:pt>
                <c:pt idx="422">
                  <c:v>276.92597220069098</c:v>
                </c:pt>
                <c:pt idx="423">
                  <c:v>291.13856511867101</c:v>
                </c:pt>
                <c:pt idx="424">
                  <c:v>312.67704419555702</c:v>
                </c:pt>
                <c:pt idx="425">
                  <c:v>321.57276310280002</c:v>
                </c:pt>
                <c:pt idx="426">
                  <c:v>352.69843503560202</c:v>
                </c:pt>
                <c:pt idx="427">
                  <c:v>386.80492034173301</c:v>
                </c:pt>
                <c:pt idx="428">
                  <c:v>420.60304564372802</c:v>
                </c:pt>
                <c:pt idx="429">
                  <c:v>459.269521314077</c:v>
                </c:pt>
                <c:pt idx="430">
                  <c:v>491.95568175266499</c:v>
                </c:pt>
                <c:pt idx="431">
                  <c:v>498.34714365660898</c:v>
                </c:pt>
                <c:pt idx="432">
                  <c:v>500.41222126007602</c:v>
                </c:pt>
                <c:pt idx="433">
                  <c:v>516.02645056050005</c:v>
                </c:pt>
                <c:pt idx="434">
                  <c:v>559.40242447586002</c:v>
                </c:pt>
                <c:pt idx="435">
                  <c:v>597.60168801872805</c:v>
                </c:pt>
                <c:pt idx="436">
                  <c:v>615.90705917344303</c:v>
                </c:pt>
                <c:pt idx="437">
                  <c:v>662.64696040666797</c:v>
                </c:pt>
                <c:pt idx="438">
                  <c:v>694.77246629228</c:v>
                </c:pt>
                <c:pt idx="439">
                  <c:v>719.87110178057299</c:v>
                </c:pt>
                <c:pt idx="440">
                  <c:v>741.11990933842105</c:v>
                </c:pt>
                <c:pt idx="441">
                  <c:v>815.48139154833802</c:v>
                </c:pt>
                <c:pt idx="442">
                  <c:v>821.36826435460205</c:v>
                </c:pt>
                <c:pt idx="443">
                  <c:v>850.017712011752</c:v>
                </c:pt>
                <c:pt idx="444">
                  <c:v>931.42475310408702</c:v>
                </c:pt>
                <c:pt idx="445">
                  <c:v>980.31383012372601</c:v>
                </c:pt>
                <c:pt idx="446">
                  <c:v>1004.4126316592</c:v>
                </c:pt>
                <c:pt idx="447">
                  <c:v>1032.0248683933501</c:v>
                </c:pt>
                <c:pt idx="448">
                  <c:v>1063.52431002813</c:v>
                </c:pt>
                <c:pt idx="449">
                  <c:v>1099.4622668739901</c:v>
                </c:pt>
                <c:pt idx="450">
                  <c:v>1234.1782117119401</c:v>
                </c:pt>
                <c:pt idx="451">
                  <c:v>1209.9953119935101</c:v>
                </c:pt>
                <c:pt idx="452">
                  <c:v>1192.36272630237</c:v>
                </c:pt>
                <c:pt idx="453">
                  <c:v>1201.97795188593</c:v>
                </c:pt>
                <c:pt idx="454">
                  <c:v>1230.93575954722</c:v>
                </c:pt>
                <c:pt idx="455">
                  <c:v>1194.61468875682</c:v>
                </c:pt>
                <c:pt idx="456">
                  <c:v>1223.6472503585101</c:v>
                </c:pt>
                <c:pt idx="457">
                  <c:v>1136.6523522215</c:v>
                </c:pt>
                <c:pt idx="458">
                  <c:v>1111.43224158006</c:v>
                </c:pt>
                <c:pt idx="459">
                  <c:v>1096.98604259834</c:v>
                </c:pt>
                <c:pt idx="460">
                  <c:v>1069.21495374086</c:v>
                </c:pt>
                <c:pt idx="461">
                  <c:v>1050.1900759098201</c:v>
                </c:pt>
                <c:pt idx="462">
                  <c:v>1026.9416004463501</c:v>
                </c:pt>
                <c:pt idx="463">
                  <c:v>980.73432103845903</c:v>
                </c:pt>
                <c:pt idx="464">
                  <c:v>939.97473503699405</c:v>
                </c:pt>
                <c:pt idx="465">
                  <c:v>890.59975740477398</c:v>
                </c:pt>
                <c:pt idx="466">
                  <c:v>872.88307353068501</c:v>
                </c:pt>
                <c:pt idx="467">
                  <c:v>852.269674466212</c:v>
                </c:pt>
                <c:pt idx="468">
                  <c:v>817.92023885379001</c:v>
                </c:pt>
                <c:pt idx="469">
                  <c:v>791.47603243835101</c:v>
                </c:pt>
                <c:pt idx="470">
                  <c:v>748.57661489302097</c:v>
                </c:pt>
                <c:pt idx="471">
                  <c:v>704.06064338660701</c:v>
                </c:pt>
                <c:pt idx="472">
                  <c:v>671.92579325844599</c:v>
                </c:pt>
                <c:pt idx="473">
                  <c:v>642.94929711205896</c:v>
                </c:pt>
                <c:pt idx="474">
                  <c:v>639.36110797300205</c:v>
                </c:pt>
                <c:pt idx="475">
                  <c:v>608.47838634649099</c:v>
                </c:pt>
                <c:pt idx="476">
                  <c:v>563.05602331276305</c:v>
                </c:pt>
                <c:pt idx="477">
                  <c:v>526.40790403313304</c:v>
                </c:pt>
                <c:pt idx="478">
                  <c:v>506.41122497693601</c:v>
                </c:pt>
                <c:pt idx="479">
                  <c:v>441.78644350372798</c:v>
                </c:pt>
                <c:pt idx="480">
                  <c:v>396.04637622331302</c:v>
                </c:pt>
                <c:pt idx="481">
                  <c:v>379.880836612461</c:v>
                </c:pt>
                <c:pt idx="482">
                  <c:v>363.65923154631201</c:v>
                </c:pt>
                <c:pt idx="483">
                  <c:v>337.79436816894901</c:v>
                </c:pt>
                <c:pt idx="484">
                  <c:v>323.44161161272501</c:v>
                </c:pt>
                <c:pt idx="485">
                  <c:v>308.44410232057697</c:v>
                </c:pt>
                <c:pt idx="486">
                  <c:v>336.02830632707003</c:v>
                </c:pt>
                <c:pt idx="487">
                  <c:v>336.05633905471899</c:v>
                </c:pt>
                <c:pt idx="488">
                  <c:v>335.27142268055098</c:v>
                </c:pt>
                <c:pt idx="489">
                  <c:v>358.56661935676601</c:v>
                </c:pt>
                <c:pt idx="490">
                  <c:v>368.86397464645302</c:v>
                </c:pt>
                <c:pt idx="491">
                  <c:v>380.338704497393</c:v>
                </c:pt>
                <c:pt idx="492">
                  <c:v>388.60835915381102</c:v>
                </c:pt>
                <c:pt idx="493">
                  <c:v>404.26930966698302</c:v>
                </c:pt>
                <c:pt idx="494">
                  <c:v>431.08728578440702</c:v>
                </c:pt>
                <c:pt idx="495">
                  <c:v>438.87103982824499</c:v>
                </c:pt>
                <c:pt idx="496">
                  <c:v>420.21993169919301</c:v>
                </c:pt>
                <c:pt idx="497">
                  <c:v>440.75857682326898</c:v>
                </c:pt>
                <c:pt idx="498">
                  <c:v>478.87374218319002</c:v>
                </c:pt>
                <c:pt idx="499">
                  <c:v>526.08085554389697</c:v>
                </c:pt>
                <c:pt idx="500">
                  <c:v>587.32302121414</c:v>
                </c:pt>
                <c:pt idx="501">
                  <c:v>637.12783400364196</c:v>
                </c:pt>
                <c:pt idx="502">
                  <c:v>679.00872911106205</c:v>
                </c:pt>
                <c:pt idx="503">
                  <c:v>799.99798164360902</c:v>
                </c:pt>
                <c:pt idx="504">
                  <c:v>950.67389275631501</c:v>
                </c:pt>
                <c:pt idx="505">
                  <c:v>1086.66065458101</c:v>
                </c:pt>
                <c:pt idx="506">
                  <c:v>1229.1229764925899</c:v>
                </c:pt>
                <c:pt idx="507">
                  <c:v>1354.2891054448201</c:v>
                </c:pt>
                <c:pt idx="508">
                  <c:v>1438.98531991462</c:v>
                </c:pt>
                <c:pt idx="509">
                  <c:v>1491.8363557753</c:v>
                </c:pt>
                <c:pt idx="510">
                  <c:v>1586.0823861308199</c:v>
                </c:pt>
                <c:pt idx="511">
                  <c:v>1690.1305269208999</c:v>
                </c:pt>
                <c:pt idx="512">
                  <c:v>1958.1327474867001</c:v>
                </c:pt>
                <c:pt idx="513">
                  <c:v>2031.70931332245</c:v>
                </c:pt>
                <c:pt idx="514">
                  <c:v>2224.63988924456</c:v>
                </c:pt>
                <c:pt idx="515">
                  <c:v>2223.9671037809799</c:v>
                </c:pt>
                <c:pt idx="516">
                  <c:v>2327.1275415288501</c:v>
                </c:pt>
                <c:pt idx="517">
                  <c:v>2319.27837778716</c:v>
                </c:pt>
                <c:pt idx="518">
                  <c:v>2483.7090139329098</c:v>
                </c:pt>
                <c:pt idx="519">
                  <c:v>2377.50235311388</c:v>
                </c:pt>
                <c:pt idx="520">
                  <c:v>2404.3670504440502</c:v>
                </c:pt>
                <c:pt idx="521">
                  <c:v>2230.9752856932</c:v>
                </c:pt>
                <c:pt idx="522">
                  <c:v>2284.44304156216</c:v>
                </c:pt>
                <c:pt idx="523">
                  <c:v>2145.4754663641302</c:v>
                </c:pt>
                <c:pt idx="524">
                  <c:v>2146.1015306149602</c:v>
                </c:pt>
                <c:pt idx="525">
                  <c:v>1964.0476530206099</c:v>
                </c:pt>
                <c:pt idx="526">
                  <c:v>1830.57449244176</c:v>
                </c:pt>
                <c:pt idx="527">
                  <c:v>1690.22396934639</c:v>
                </c:pt>
                <c:pt idx="528">
                  <c:v>1628.74819761241</c:v>
                </c:pt>
                <c:pt idx="529">
                  <c:v>1506.7777996121499</c:v>
                </c:pt>
                <c:pt idx="530">
                  <c:v>1489.24800058906</c:v>
                </c:pt>
                <c:pt idx="531">
                  <c:v>1394.4039387103601</c:v>
                </c:pt>
                <c:pt idx="532">
                  <c:v>1305.9513387356101</c:v>
                </c:pt>
                <c:pt idx="533">
                  <c:v>1193.26911782968</c:v>
                </c:pt>
                <c:pt idx="534">
                  <c:v>1126.4951605700601</c:v>
                </c:pt>
                <c:pt idx="535">
                  <c:v>1048.3025389147899</c:v>
                </c:pt>
                <c:pt idx="536">
                  <c:v>1022.75537978412</c:v>
                </c:pt>
                <c:pt idx="537">
                  <c:v>995.45150305411801</c:v>
                </c:pt>
                <c:pt idx="538">
                  <c:v>939.22719563302405</c:v>
                </c:pt>
                <c:pt idx="539">
                  <c:v>807.64157204920195</c:v>
                </c:pt>
                <c:pt idx="540">
                  <c:v>753.57578465707104</c:v>
                </c:pt>
                <c:pt idx="541">
                  <c:v>702.21048336178103</c:v>
                </c:pt>
                <c:pt idx="542">
                  <c:v>658.85319793152098</c:v>
                </c:pt>
                <c:pt idx="543">
                  <c:v>582.04352417360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HOSP_do_7_dne_7dni_shift7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25581300000000001</c:v>
                </c:pt>
                <c:pt idx="1">
                  <c:v>8.9108000000000007E-2</c:v>
                </c:pt>
                <c:pt idx="2">
                  <c:v>0.22340399999999999</c:v>
                </c:pt>
                <c:pt idx="3">
                  <c:v>9.7824999999999995E-2</c:v>
                </c:pt>
                <c:pt idx="4">
                  <c:v>1.0309E-2</c:v>
                </c:pt>
                <c:pt idx="5">
                  <c:v>0.124999</c:v>
                </c:pt>
                <c:pt idx="6">
                  <c:v>0.18518499999999999</c:v>
                </c:pt>
                <c:pt idx="7">
                  <c:v>0.29090899999999997</c:v>
                </c:pt>
                <c:pt idx="8">
                  <c:v>0.373913</c:v>
                </c:pt>
                <c:pt idx="9">
                  <c:v>0.62376200000000004</c:v>
                </c:pt>
                <c:pt idx="10">
                  <c:v>0.74489799999999995</c:v>
                </c:pt>
                <c:pt idx="11">
                  <c:v>0.45299099999999998</c:v>
                </c:pt>
                <c:pt idx="12">
                  <c:v>0.57812399999999997</c:v>
                </c:pt>
                <c:pt idx="13">
                  <c:v>0.528169</c:v>
                </c:pt>
                <c:pt idx="14">
                  <c:v>0.43670799999999999</c:v>
                </c:pt>
                <c:pt idx="15">
                  <c:v>0.40853600000000001</c:v>
                </c:pt>
                <c:pt idx="16">
                  <c:v>0.42105199999999998</c:v>
                </c:pt>
                <c:pt idx="17">
                  <c:v>0.53529400000000005</c:v>
                </c:pt>
                <c:pt idx="18">
                  <c:v>0.33663300000000002</c:v>
                </c:pt>
                <c:pt idx="19">
                  <c:v>0.39631300000000003</c:v>
                </c:pt>
                <c:pt idx="20">
                  <c:v>0.56828100000000004</c:v>
                </c:pt>
                <c:pt idx="21">
                  <c:v>0.73592999999999997</c:v>
                </c:pt>
                <c:pt idx="22">
                  <c:v>1.0658430000000001</c:v>
                </c:pt>
                <c:pt idx="23">
                  <c:v>1.0766279999999999</c:v>
                </c:pt>
                <c:pt idx="24">
                  <c:v>1.0629630000000001</c:v>
                </c:pt>
                <c:pt idx="25">
                  <c:v>0.86468599999999995</c:v>
                </c:pt>
                <c:pt idx="26">
                  <c:v>0.67977500000000002</c:v>
                </c:pt>
                <c:pt idx="27">
                  <c:v>0.653366</c:v>
                </c:pt>
                <c:pt idx="28">
                  <c:v>0.33266899999999999</c:v>
                </c:pt>
                <c:pt idx="29">
                  <c:v>0.37453799999999998</c:v>
                </c:pt>
                <c:pt idx="30">
                  <c:v>0.32854499999999998</c:v>
                </c:pt>
                <c:pt idx="31">
                  <c:v>0.34513199999999999</c:v>
                </c:pt>
                <c:pt idx="32">
                  <c:v>0.30434699999999998</c:v>
                </c:pt>
                <c:pt idx="33">
                  <c:v>0.25791799999999998</c:v>
                </c:pt>
                <c:pt idx="34">
                  <c:v>0.37369200000000002</c:v>
                </c:pt>
                <c:pt idx="35">
                  <c:v>0.32751599999999997</c:v>
                </c:pt>
                <c:pt idx="36">
                  <c:v>0.48378300000000002</c:v>
                </c:pt>
                <c:pt idx="37">
                  <c:v>0.53420999999999996</c:v>
                </c:pt>
                <c:pt idx="38">
                  <c:v>0.51282000000000005</c:v>
                </c:pt>
                <c:pt idx="39">
                  <c:v>0.46642600000000001</c:v>
                </c:pt>
                <c:pt idx="40">
                  <c:v>0.538628</c:v>
                </c:pt>
                <c:pt idx="41">
                  <c:v>0.60161699999999996</c:v>
                </c:pt>
                <c:pt idx="42">
                  <c:v>0.61293200000000003</c:v>
                </c:pt>
                <c:pt idx="43">
                  <c:v>0.65265799999999996</c:v>
                </c:pt>
                <c:pt idx="44">
                  <c:v>0.83643999999999996</c:v>
                </c:pt>
                <c:pt idx="45">
                  <c:v>0.81684299999999999</c:v>
                </c:pt>
                <c:pt idx="46">
                  <c:v>0.646393</c:v>
                </c:pt>
                <c:pt idx="47">
                  <c:v>0.61363599999999996</c:v>
                </c:pt>
                <c:pt idx="48">
                  <c:v>0.55110099999999995</c:v>
                </c:pt>
                <c:pt idx="49">
                  <c:v>0.53347100000000003</c:v>
                </c:pt>
                <c:pt idx="50">
                  <c:v>0.42501100000000003</c:v>
                </c:pt>
                <c:pt idx="51">
                  <c:v>0.48469800000000002</c:v>
                </c:pt>
                <c:pt idx="52">
                  <c:v>0.43642599999999998</c:v>
                </c:pt>
                <c:pt idx="53">
                  <c:v>0.35406799999999999</c:v>
                </c:pt>
                <c:pt idx="54">
                  <c:v>0.40953699999999998</c:v>
                </c:pt>
                <c:pt idx="55">
                  <c:v>0.41590500000000002</c:v>
                </c:pt>
                <c:pt idx="56">
                  <c:v>0.48024600000000001</c:v>
                </c:pt>
                <c:pt idx="57">
                  <c:v>0.46468599999999999</c:v>
                </c:pt>
                <c:pt idx="58">
                  <c:v>0.53977200000000003</c:v>
                </c:pt>
                <c:pt idx="59">
                  <c:v>0.52470300000000003</c:v>
                </c:pt>
                <c:pt idx="60">
                  <c:v>0.37370799999999998</c:v>
                </c:pt>
                <c:pt idx="61">
                  <c:v>0.37978000000000001</c:v>
                </c:pt>
                <c:pt idx="62">
                  <c:v>0.31634200000000001</c:v>
                </c:pt>
                <c:pt idx="63">
                  <c:v>0.250413</c:v>
                </c:pt>
                <c:pt idx="64">
                  <c:v>0.167216</c:v>
                </c:pt>
                <c:pt idx="65">
                  <c:v>0.16069700000000001</c:v>
                </c:pt>
                <c:pt idx="66">
                  <c:v>0.12013500000000001</c:v>
                </c:pt>
                <c:pt idx="67">
                  <c:v>-1.1952000000000001E-2</c:v>
                </c:pt>
                <c:pt idx="68">
                  <c:v>-7.3119999999999999E-3</c:v>
                </c:pt>
                <c:pt idx="69">
                  <c:v>-4.7990000000000003E-3</c:v>
                </c:pt>
                <c:pt idx="70">
                  <c:v>-1.9966000000000001E-2</c:v>
                </c:pt>
                <c:pt idx="71">
                  <c:v>-2.3673E-2</c:v>
                </c:pt>
                <c:pt idx="72">
                  <c:v>-1.8966E-2</c:v>
                </c:pt>
                <c:pt idx="73">
                  <c:v>-4.5581999999999998E-2</c:v>
                </c:pt>
                <c:pt idx="74">
                  <c:v>-0.14197199999999999</c:v>
                </c:pt>
                <c:pt idx="75">
                  <c:v>-0.128887</c:v>
                </c:pt>
                <c:pt idx="76">
                  <c:v>-0.138879</c:v>
                </c:pt>
                <c:pt idx="77">
                  <c:v>-0.185284</c:v>
                </c:pt>
                <c:pt idx="78">
                  <c:v>-0.20239499999999999</c:v>
                </c:pt>
                <c:pt idx="79">
                  <c:v>-0.18387200000000001</c:v>
                </c:pt>
                <c:pt idx="80">
                  <c:v>-0.203512</c:v>
                </c:pt>
                <c:pt idx="81">
                  <c:v>-0.27166800000000002</c:v>
                </c:pt>
                <c:pt idx="82">
                  <c:v>-0.193414</c:v>
                </c:pt>
                <c:pt idx="83">
                  <c:v>-0.202791</c:v>
                </c:pt>
                <c:pt idx="84">
                  <c:v>-0.20377500000000001</c:v>
                </c:pt>
                <c:pt idx="85">
                  <c:v>-0.21787000000000001</c:v>
                </c:pt>
                <c:pt idx="86">
                  <c:v>-0.195247</c:v>
                </c:pt>
                <c:pt idx="87">
                  <c:v>-0.22909499999999999</c:v>
                </c:pt>
                <c:pt idx="88">
                  <c:v>-0.31752599999999997</c:v>
                </c:pt>
                <c:pt idx="89">
                  <c:v>-0.22528300000000001</c:v>
                </c:pt>
                <c:pt idx="90">
                  <c:v>-0.21201500000000001</c:v>
                </c:pt>
                <c:pt idx="91">
                  <c:v>-0.14100699999999999</c:v>
                </c:pt>
                <c:pt idx="92">
                  <c:v>-0.119634</c:v>
                </c:pt>
                <c:pt idx="93">
                  <c:v>-6.0863E-2</c:v>
                </c:pt>
                <c:pt idx="94">
                  <c:v>-7.8079999999999997E-2</c:v>
                </c:pt>
                <c:pt idx="95">
                  <c:v>-0.169159</c:v>
                </c:pt>
                <c:pt idx="96">
                  <c:v>-6.5298999999999996E-2</c:v>
                </c:pt>
                <c:pt idx="97">
                  <c:v>-7.6046000000000002E-2</c:v>
                </c:pt>
                <c:pt idx="98">
                  <c:v>-8.7136000000000005E-2</c:v>
                </c:pt>
                <c:pt idx="99">
                  <c:v>-5.6480000000000002E-2</c:v>
                </c:pt>
                <c:pt idx="100">
                  <c:v>9.7120000000000001E-3</c:v>
                </c:pt>
                <c:pt idx="101">
                  <c:v>1.9199999999999998E-2</c:v>
                </c:pt>
                <c:pt idx="102">
                  <c:v>-8.0833000000000002E-2</c:v>
                </c:pt>
                <c:pt idx="103">
                  <c:v>1.414E-2</c:v>
                </c:pt>
                <c:pt idx="104">
                  <c:v>8.1059999999999993E-2</c:v>
                </c:pt>
                <c:pt idx="105">
                  <c:v>0.108595</c:v>
                </c:pt>
                <c:pt idx="106">
                  <c:v>0.135436</c:v>
                </c:pt>
                <c:pt idx="107">
                  <c:v>0.15423799999999999</c:v>
                </c:pt>
                <c:pt idx="108">
                  <c:v>0.119379</c:v>
                </c:pt>
                <c:pt idx="109">
                  <c:v>-2.4310999999999999E-2</c:v>
                </c:pt>
                <c:pt idx="110">
                  <c:v>8.4792999999999993E-2</c:v>
                </c:pt>
                <c:pt idx="111">
                  <c:v>7.8920000000000004E-2</c:v>
                </c:pt>
                <c:pt idx="112">
                  <c:v>6.4383999999999997E-2</c:v>
                </c:pt>
                <c:pt idx="113">
                  <c:v>4.9981999999999999E-2</c:v>
                </c:pt>
                <c:pt idx="114">
                  <c:v>0.104159</c:v>
                </c:pt>
                <c:pt idx="115">
                  <c:v>0.106998</c:v>
                </c:pt>
                <c:pt idx="116">
                  <c:v>-2.1316999999999999E-2</c:v>
                </c:pt>
                <c:pt idx="117">
                  <c:v>7.6034000000000004E-2</c:v>
                </c:pt>
                <c:pt idx="118">
                  <c:v>7.2588E-2</c:v>
                </c:pt>
                <c:pt idx="119">
                  <c:v>0.11787499999999999</c:v>
                </c:pt>
                <c:pt idx="120">
                  <c:v>3.2195000000000001E-2</c:v>
                </c:pt>
                <c:pt idx="121">
                  <c:v>2.2509000000000001E-2</c:v>
                </c:pt>
                <c:pt idx="122">
                  <c:v>-4.2900000000000004E-3</c:v>
                </c:pt>
                <c:pt idx="123">
                  <c:v>-6.0226000000000002E-2</c:v>
                </c:pt>
                <c:pt idx="124">
                  <c:v>8.4594000000000003E-2</c:v>
                </c:pt>
                <c:pt idx="125">
                  <c:v>0.142815</c:v>
                </c:pt>
                <c:pt idx="126">
                  <c:v>0.314722</c:v>
                </c:pt>
                <c:pt idx="127">
                  <c:v>0.39818700000000001</c:v>
                </c:pt>
                <c:pt idx="128">
                  <c:v>0.470003</c:v>
                </c:pt>
                <c:pt idx="129">
                  <c:v>0.48191600000000001</c:v>
                </c:pt>
                <c:pt idx="130">
                  <c:v>0.30760799999999999</c:v>
                </c:pt>
                <c:pt idx="131">
                  <c:v>0.29835200000000001</c:v>
                </c:pt>
                <c:pt idx="132">
                  <c:v>0.25836199999999998</c:v>
                </c:pt>
                <c:pt idx="133">
                  <c:v>0.228293</c:v>
                </c:pt>
                <c:pt idx="134">
                  <c:v>0.175648</c:v>
                </c:pt>
                <c:pt idx="135">
                  <c:v>0.112181</c:v>
                </c:pt>
                <c:pt idx="136">
                  <c:v>0.11301700000000001</c:v>
                </c:pt>
                <c:pt idx="137">
                  <c:v>-6.6379999999999998E-3</c:v>
                </c:pt>
                <c:pt idx="138">
                  <c:v>-1.6968E-2</c:v>
                </c:pt>
                <c:pt idx="139">
                  <c:v>-3.9773000000000003E-2</c:v>
                </c:pt>
                <c:pt idx="140">
                  <c:v>-9.2634999999999995E-2</c:v>
                </c:pt>
                <c:pt idx="141">
                  <c:v>-0.15976899999999999</c:v>
                </c:pt>
                <c:pt idx="142">
                  <c:v>-0.22169900000000001</c:v>
                </c:pt>
                <c:pt idx="143">
                  <c:v>-0.25196499999999999</c:v>
                </c:pt>
                <c:pt idx="144">
                  <c:v>-0.31607200000000002</c:v>
                </c:pt>
                <c:pt idx="145">
                  <c:v>-0.25559399999999999</c:v>
                </c:pt>
                <c:pt idx="146">
                  <c:v>-0.21010300000000001</c:v>
                </c:pt>
                <c:pt idx="147">
                  <c:v>-0.17663200000000001</c:v>
                </c:pt>
                <c:pt idx="148">
                  <c:v>-0.155109</c:v>
                </c:pt>
                <c:pt idx="149">
                  <c:v>-7.1466000000000002E-2</c:v>
                </c:pt>
                <c:pt idx="150">
                  <c:v>-6.8984000000000004E-2</c:v>
                </c:pt>
                <c:pt idx="151">
                  <c:v>-0.143459</c:v>
                </c:pt>
                <c:pt idx="152">
                  <c:v>-6.9306000000000006E-2</c:v>
                </c:pt>
                <c:pt idx="153">
                  <c:v>-3.7839999999999999E-2</c:v>
                </c:pt>
                <c:pt idx="154">
                  <c:v>-2.9739000000000002E-2</c:v>
                </c:pt>
                <c:pt idx="155">
                  <c:v>-3.7351000000000002E-2</c:v>
                </c:pt>
                <c:pt idx="156">
                  <c:v>2.5301000000000001E-2</c:v>
                </c:pt>
                <c:pt idx="157">
                  <c:v>-1.6625000000000001E-2</c:v>
                </c:pt>
                <c:pt idx="158">
                  <c:v>-9.2580999999999997E-2</c:v>
                </c:pt>
                <c:pt idx="159">
                  <c:v>1.2723999999999999E-2</c:v>
                </c:pt>
                <c:pt idx="160">
                  <c:v>6.2481000000000002E-2</c:v>
                </c:pt>
                <c:pt idx="161">
                  <c:v>4.9088E-2</c:v>
                </c:pt>
                <c:pt idx="162">
                  <c:v>4.0245999999999997E-2</c:v>
                </c:pt>
                <c:pt idx="163">
                  <c:v>0.112085</c:v>
                </c:pt>
                <c:pt idx="164">
                  <c:v>7.7946000000000001E-2</c:v>
                </c:pt>
                <c:pt idx="165">
                  <c:v>-3.3123E-2</c:v>
                </c:pt>
                <c:pt idx="166">
                  <c:v>1.6639999999999999E-3</c:v>
                </c:pt>
                <c:pt idx="167">
                  <c:v>1.7090999999999999E-2</c:v>
                </c:pt>
                <c:pt idx="168">
                  <c:v>1.1861E-2</c:v>
                </c:pt>
                <c:pt idx="169">
                  <c:v>2.1676999999999998E-2</c:v>
                </c:pt>
                <c:pt idx="170">
                  <c:v>6.5842999999999999E-2</c:v>
                </c:pt>
                <c:pt idx="171">
                  <c:v>1.7128999999999998E-2</c:v>
                </c:pt>
                <c:pt idx="172">
                  <c:v>-6.1200999999999998E-2</c:v>
                </c:pt>
                <c:pt idx="173">
                  <c:v>3.7464999999999998E-2</c:v>
                </c:pt>
                <c:pt idx="174">
                  <c:v>0.12615100000000001</c:v>
                </c:pt>
                <c:pt idx="175">
                  <c:v>0.112978</c:v>
                </c:pt>
                <c:pt idx="176">
                  <c:v>0.13789199999999999</c:v>
                </c:pt>
                <c:pt idx="177">
                  <c:v>0.23228799999999999</c:v>
                </c:pt>
                <c:pt idx="178">
                  <c:v>0.23244799999999999</c:v>
                </c:pt>
                <c:pt idx="179">
                  <c:v>0.116303</c:v>
                </c:pt>
                <c:pt idx="180">
                  <c:v>0.15415100000000001</c:v>
                </c:pt>
                <c:pt idx="181">
                  <c:v>0.18767</c:v>
                </c:pt>
                <c:pt idx="182">
                  <c:v>0.16553499999999999</c:v>
                </c:pt>
                <c:pt idx="183">
                  <c:v>0.176484</c:v>
                </c:pt>
                <c:pt idx="184">
                  <c:v>0.22307299999999999</c:v>
                </c:pt>
                <c:pt idx="185">
                  <c:v>0.166745</c:v>
                </c:pt>
                <c:pt idx="186">
                  <c:v>3.8435999999999998E-2</c:v>
                </c:pt>
                <c:pt idx="187">
                  <c:v>0.11382100000000001</c:v>
                </c:pt>
                <c:pt idx="188">
                  <c:v>0.14036100000000001</c:v>
                </c:pt>
                <c:pt idx="189">
                  <c:v>9.5934000000000005E-2</c:v>
                </c:pt>
                <c:pt idx="190">
                  <c:v>6.3013E-2</c:v>
                </c:pt>
                <c:pt idx="191">
                  <c:v>7.6859999999999998E-2</c:v>
                </c:pt>
                <c:pt idx="192">
                  <c:v>4.9626999999999998E-2</c:v>
                </c:pt>
                <c:pt idx="193">
                  <c:v>-6.1200999999999998E-2</c:v>
                </c:pt>
                <c:pt idx="194">
                  <c:v>-1.9876000000000001E-2</c:v>
                </c:pt>
                <c:pt idx="195">
                  <c:v>-3.8741999999999999E-2</c:v>
                </c:pt>
                <c:pt idx="196">
                  <c:v>-6.1855E-2</c:v>
                </c:pt>
                <c:pt idx="197">
                  <c:v>-6.3990000000000005E-2</c:v>
                </c:pt>
                <c:pt idx="198">
                  <c:v>1.0441000000000001E-2</c:v>
                </c:pt>
                <c:pt idx="199">
                  <c:v>-1.9137999999999999E-2</c:v>
                </c:pt>
                <c:pt idx="200">
                  <c:v>-0.12632499999999999</c:v>
                </c:pt>
                <c:pt idx="201">
                  <c:v>-4.5436999999999998E-2</c:v>
                </c:pt>
                <c:pt idx="202">
                  <c:v>-7.456E-3</c:v>
                </c:pt>
                <c:pt idx="203">
                  <c:v>1.6990000000000002E-2</c:v>
                </c:pt>
                <c:pt idx="204">
                  <c:v>-4.3672999999999997E-2</c:v>
                </c:pt>
                <c:pt idx="205">
                  <c:v>-1.7682E-2</c:v>
                </c:pt>
                <c:pt idx="206">
                  <c:v>-7.8576999999999994E-2</c:v>
                </c:pt>
                <c:pt idx="207">
                  <c:v>-0.17904700000000001</c:v>
                </c:pt>
                <c:pt idx="208">
                  <c:v>-0.123962</c:v>
                </c:pt>
                <c:pt idx="209">
                  <c:v>-0.13027</c:v>
                </c:pt>
                <c:pt idx="210">
                  <c:v>-0.14536099999999999</c:v>
                </c:pt>
                <c:pt idx="211">
                  <c:v>-0.16552800000000001</c:v>
                </c:pt>
                <c:pt idx="212">
                  <c:v>-8.2042000000000004E-2</c:v>
                </c:pt>
                <c:pt idx="213">
                  <c:v>-9.2188000000000006E-2</c:v>
                </c:pt>
                <c:pt idx="214">
                  <c:v>-0.19814899999999999</c:v>
                </c:pt>
                <c:pt idx="215">
                  <c:v>-0.110221</c:v>
                </c:pt>
                <c:pt idx="216">
                  <c:v>-9.3510999999999997E-2</c:v>
                </c:pt>
                <c:pt idx="217">
                  <c:v>-9.3726000000000004E-2</c:v>
                </c:pt>
                <c:pt idx="218">
                  <c:v>-0.116817</c:v>
                </c:pt>
                <c:pt idx="219">
                  <c:v>-0.13709199999999999</c:v>
                </c:pt>
                <c:pt idx="220">
                  <c:v>-0.16999700000000001</c:v>
                </c:pt>
                <c:pt idx="221">
                  <c:v>-0.265484</c:v>
                </c:pt>
                <c:pt idx="222">
                  <c:v>-0.24421000000000001</c:v>
                </c:pt>
                <c:pt idx="223">
                  <c:v>-0.24432200000000001</c:v>
                </c:pt>
                <c:pt idx="224">
                  <c:v>-0.232041</c:v>
                </c:pt>
                <c:pt idx="225">
                  <c:v>-0.22173999999999999</c:v>
                </c:pt>
                <c:pt idx="226">
                  <c:v>-0.17972099999999999</c:v>
                </c:pt>
                <c:pt idx="227">
                  <c:v>-0.172148</c:v>
                </c:pt>
                <c:pt idx="228">
                  <c:v>-0.20821700000000001</c:v>
                </c:pt>
                <c:pt idx="229">
                  <c:v>-0.150977</c:v>
                </c:pt>
                <c:pt idx="230">
                  <c:v>-9.3911999999999995E-2</c:v>
                </c:pt>
                <c:pt idx="231">
                  <c:v>-8.8340000000000002E-2</c:v>
                </c:pt>
                <c:pt idx="232">
                  <c:v>-0.13269900000000001</c:v>
                </c:pt>
                <c:pt idx="233">
                  <c:v>-0.14539299999999999</c:v>
                </c:pt>
                <c:pt idx="234">
                  <c:v>-0.18557599999999999</c:v>
                </c:pt>
                <c:pt idx="235">
                  <c:v>-0.25714199999999998</c:v>
                </c:pt>
                <c:pt idx="236">
                  <c:v>-0.23433000000000001</c:v>
                </c:pt>
                <c:pt idx="237">
                  <c:v>-0.19642000000000001</c:v>
                </c:pt>
                <c:pt idx="238">
                  <c:v>-0.15967500000000001</c:v>
                </c:pt>
                <c:pt idx="239">
                  <c:v>-0.17408499999999999</c:v>
                </c:pt>
                <c:pt idx="240">
                  <c:v>-0.14956800000000001</c:v>
                </c:pt>
                <c:pt idx="241">
                  <c:v>-0.17680799999999999</c:v>
                </c:pt>
                <c:pt idx="242">
                  <c:v>-0.26324199999999998</c:v>
                </c:pt>
                <c:pt idx="243">
                  <c:v>-0.191743</c:v>
                </c:pt>
                <c:pt idx="244">
                  <c:v>-0.18604599999999999</c:v>
                </c:pt>
                <c:pt idx="245">
                  <c:v>-0.18323300000000001</c:v>
                </c:pt>
                <c:pt idx="246">
                  <c:v>-0.17904700000000001</c:v>
                </c:pt>
                <c:pt idx="247">
                  <c:v>-0.13389100000000001</c:v>
                </c:pt>
                <c:pt idx="248">
                  <c:v>-0.14669499999999999</c:v>
                </c:pt>
                <c:pt idx="249">
                  <c:v>-0.22580600000000001</c:v>
                </c:pt>
                <c:pt idx="250">
                  <c:v>-0.14424999999999999</c:v>
                </c:pt>
                <c:pt idx="251">
                  <c:v>-0.14516100000000001</c:v>
                </c:pt>
                <c:pt idx="252">
                  <c:v>-0.16473299999999999</c:v>
                </c:pt>
                <c:pt idx="253">
                  <c:v>-0.17632800000000001</c:v>
                </c:pt>
                <c:pt idx="254">
                  <c:v>-0.188085</c:v>
                </c:pt>
                <c:pt idx="255">
                  <c:v>-0.25781199999999999</c:v>
                </c:pt>
                <c:pt idx="256">
                  <c:v>-0.33876200000000001</c:v>
                </c:pt>
                <c:pt idx="257">
                  <c:v>-0.25042799999999998</c:v>
                </c:pt>
                <c:pt idx="258">
                  <c:v>-0.23611099999999999</c:v>
                </c:pt>
                <c:pt idx="259">
                  <c:v>-0.25806400000000002</c:v>
                </c:pt>
                <c:pt idx="260">
                  <c:v>-0.249475</c:v>
                </c:pt>
                <c:pt idx="261">
                  <c:v>-0.24912200000000001</c:v>
                </c:pt>
                <c:pt idx="262">
                  <c:v>-0.266009</c:v>
                </c:pt>
                <c:pt idx="263">
                  <c:v>-0.34553699999999998</c:v>
                </c:pt>
                <c:pt idx="264">
                  <c:v>-0.28969600000000001</c:v>
                </c:pt>
                <c:pt idx="265">
                  <c:v>-0.29907699999999998</c:v>
                </c:pt>
                <c:pt idx="266">
                  <c:v>-0.33100499999999999</c:v>
                </c:pt>
                <c:pt idx="267">
                  <c:v>-0.30062299999999997</c:v>
                </c:pt>
                <c:pt idx="268">
                  <c:v>-0.32885900000000001</c:v>
                </c:pt>
                <c:pt idx="269">
                  <c:v>-0.35489500000000002</c:v>
                </c:pt>
                <c:pt idx="270">
                  <c:v>-0.41296899999999997</c:v>
                </c:pt>
                <c:pt idx="271">
                  <c:v>-0.327067</c:v>
                </c:pt>
                <c:pt idx="272">
                  <c:v>-0.29644999999999999</c:v>
                </c:pt>
                <c:pt idx="273">
                  <c:v>-0.33630199999999999</c:v>
                </c:pt>
                <c:pt idx="274">
                  <c:v>-0.33250000000000002</c:v>
                </c:pt>
                <c:pt idx="275">
                  <c:v>-0.330623</c:v>
                </c:pt>
                <c:pt idx="276">
                  <c:v>-0.35465099999999999</c:v>
                </c:pt>
                <c:pt idx="277">
                  <c:v>-0.41899399999999998</c:v>
                </c:pt>
                <c:pt idx="278">
                  <c:v>-0.329376</c:v>
                </c:pt>
                <c:pt idx="279">
                  <c:v>-0.29865700000000001</c:v>
                </c:pt>
                <c:pt idx="280">
                  <c:v>-0.32958799999999999</c:v>
                </c:pt>
                <c:pt idx="281">
                  <c:v>-0.37246899999999999</c:v>
                </c:pt>
                <c:pt idx="282">
                  <c:v>-0.31531500000000001</c:v>
                </c:pt>
                <c:pt idx="283">
                  <c:v>-0.36057600000000001</c:v>
                </c:pt>
                <c:pt idx="284">
                  <c:v>-0.44690200000000002</c:v>
                </c:pt>
                <c:pt idx="285">
                  <c:v>-0.38277499999999998</c:v>
                </c:pt>
                <c:pt idx="286">
                  <c:v>-0.41899399999999998</c:v>
                </c:pt>
                <c:pt idx="287">
                  <c:v>-0.39354800000000001</c:v>
                </c:pt>
                <c:pt idx="288">
                  <c:v>-0.40789399999999998</c:v>
                </c:pt>
                <c:pt idx="289">
                  <c:v>-0.38345800000000002</c:v>
                </c:pt>
                <c:pt idx="290">
                  <c:v>-0.45600000000000002</c:v>
                </c:pt>
                <c:pt idx="291">
                  <c:v>-0.52713100000000002</c:v>
                </c:pt>
                <c:pt idx="292">
                  <c:v>-0.38461499999999998</c:v>
                </c:pt>
                <c:pt idx="293">
                  <c:v>-0.38297799999999999</c:v>
                </c:pt>
                <c:pt idx="294">
                  <c:v>-0.26666600000000001</c:v>
                </c:pt>
                <c:pt idx="295">
                  <c:v>-0.25609700000000002</c:v>
                </c:pt>
                <c:pt idx="296">
                  <c:v>-0.14705799999999999</c:v>
                </c:pt>
                <c:pt idx="297">
                  <c:v>-0.11475399999999999</c:v>
                </c:pt>
                <c:pt idx="298">
                  <c:v>-0.203125</c:v>
                </c:pt>
                <c:pt idx="299">
                  <c:v>-0.103448</c:v>
                </c:pt>
                <c:pt idx="300">
                  <c:v>-0.28787800000000002</c:v>
                </c:pt>
                <c:pt idx="301">
                  <c:v>-0.22950799999999999</c:v>
                </c:pt>
                <c:pt idx="302">
                  <c:v>-0.44827499999999998</c:v>
                </c:pt>
                <c:pt idx="303">
                  <c:v>-0.46296199999999998</c:v>
                </c:pt>
                <c:pt idx="304">
                  <c:v>-0.49019600000000002</c:v>
                </c:pt>
                <c:pt idx="305">
                  <c:v>-0.55769199999999997</c:v>
                </c:pt>
                <c:pt idx="306">
                  <c:v>-0.42553099999999999</c:v>
                </c:pt>
                <c:pt idx="307">
                  <c:v>-0.48936099999999999</c:v>
                </c:pt>
                <c:pt idx="308">
                  <c:v>-0.187499</c:v>
                </c:pt>
                <c:pt idx="309">
                  <c:v>-0.24137900000000001</c:v>
                </c:pt>
                <c:pt idx="310">
                  <c:v>-0.115384</c:v>
                </c:pt>
                <c:pt idx="311">
                  <c:v>-8.6956000000000006E-2</c:v>
                </c:pt>
                <c:pt idx="312">
                  <c:v>-0.25925900000000002</c:v>
                </c:pt>
                <c:pt idx="313">
                  <c:v>-0.125</c:v>
                </c:pt>
                <c:pt idx="314">
                  <c:v>-0.38461499999999998</c:v>
                </c:pt>
                <c:pt idx="315">
                  <c:v>-9.0909000000000004E-2</c:v>
                </c:pt>
                <c:pt idx="316">
                  <c:v>-0.217391</c:v>
                </c:pt>
                <c:pt idx="317">
                  <c:v>0</c:v>
                </c:pt>
                <c:pt idx="318">
                  <c:v>0.14999899999999999</c:v>
                </c:pt>
                <c:pt idx="319">
                  <c:v>0.19047600000000001</c:v>
                </c:pt>
                <c:pt idx="320">
                  <c:v>0.8125</c:v>
                </c:pt>
                <c:pt idx="321">
                  <c:v>0.55000000000000004</c:v>
                </c:pt>
                <c:pt idx="322">
                  <c:v>1</c:v>
                </c:pt>
                <c:pt idx="323">
                  <c:v>0.61904800000000004</c:v>
                </c:pt>
                <c:pt idx="324">
                  <c:v>0.52173899999999995</c:v>
                </c:pt>
                <c:pt idx="325">
                  <c:v>0.24</c:v>
                </c:pt>
                <c:pt idx="326">
                  <c:v>6.8964999999999999E-2</c:v>
                </c:pt>
                <c:pt idx="327">
                  <c:v>0.12903200000000001</c:v>
                </c:pt>
                <c:pt idx="328">
                  <c:v>-5.5555E-2</c:v>
                </c:pt>
                <c:pt idx="329">
                  <c:v>5.8823E-2</c:v>
                </c:pt>
                <c:pt idx="330">
                  <c:v>0</c:v>
                </c:pt>
                <c:pt idx="331">
                  <c:v>0.22580600000000001</c:v>
                </c:pt>
                <c:pt idx="332">
                  <c:v>0.16128999999999999</c:v>
                </c:pt>
                <c:pt idx="333">
                  <c:v>2.8570999999999999E-2</c:v>
                </c:pt>
                <c:pt idx="334">
                  <c:v>0.235294</c:v>
                </c:pt>
                <c:pt idx="335">
                  <c:v>0.19444400000000001</c:v>
                </c:pt>
                <c:pt idx="336">
                  <c:v>0.228571</c:v>
                </c:pt>
                <c:pt idx="337">
                  <c:v>0.10526199999999999</c:v>
                </c:pt>
                <c:pt idx="338">
                  <c:v>0.19444400000000001</c:v>
                </c:pt>
                <c:pt idx="339">
                  <c:v>0.13888800000000001</c:v>
                </c:pt>
                <c:pt idx="340">
                  <c:v>-2.3809E-2</c:v>
                </c:pt>
                <c:pt idx="341">
                  <c:v>9.3022999999999995E-2</c:v>
                </c:pt>
                <c:pt idx="342">
                  <c:v>-2.3255000000000001E-2</c:v>
                </c:pt>
                <c:pt idx="343">
                  <c:v>-7.1428000000000005E-2</c:v>
                </c:pt>
                <c:pt idx="344">
                  <c:v>-0.11627899999999999</c:v>
                </c:pt>
                <c:pt idx="345">
                  <c:v>-7.3169999999999999E-2</c:v>
                </c:pt>
                <c:pt idx="346">
                  <c:v>-9.7560999999999995E-2</c:v>
                </c:pt>
                <c:pt idx="347">
                  <c:v>-0.25531900000000002</c:v>
                </c:pt>
                <c:pt idx="348">
                  <c:v>-9.5237000000000002E-2</c:v>
                </c:pt>
                <c:pt idx="349">
                  <c:v>-0.102564</c:v>
                </c:pt>
                <c:pt idx="350">
                  <c:v>-0.105263</c:v>
                </c:pt>
                <c:pt idx="351">
                  <c:v>-0.131578</c:v>
                </c:pt>
                <c:pt idx="352">
                  <c:v>-2.7026000000000001E-2</c:v>
                </c:pt>
                <c:pt idx="353">
                  <c:v>5.7141999999999998E-2</c:v>
                </c:pt>
                <c:pt idx="354">
                  <c:v>2.6315000000000002E-2</c:v>
                </c:pt>
                <c:pt idx="355">
                  <c:v>0.31428499999999998</c:v>
                </c:pt>
                <c:pt idx="356">
                  <c:v>0.38235200000000003</c:v>
                </c:pt>
                <c:pt idx="357">
                  <c:v>0.54545399999999999</c:v>
                </c:pt>
                <c:pt idx="358">
                  <c:v>0.36110999999999999</c:v>
                </c:pt>
                <c:pt idx="359">
                  <c:v>0.37837799999999999</c:v>
                </c:pt>
                <c:pt idx="360">
                  <c:v>0.25641000000000003</c:v>
                </c:pt>
                <c:pt idx="361">
                  <c:v>6.5216999999999997E-2</c:v>
                </c:pt>
                <c:pt idx="362">
                  <c:v>6.3828999999999997E-2</c:v>
                </c:pt>
                <c:pt idx="363">
                  <c:v>-9.8039000000000001E-2</c:v>
                </c:pt>
                <c:pt idx="364">
                  <c:v>-0.122448</c:v>
                </c:pt>
                <c:pt idx="365">
                  <c:v>-0.25490099999999999</c:v>
                </c:pt>
                <c:pt idx="366">
                  <c:v>-0.14285700000000001</c:v>
                </c:pt>
                <c:pt idx="367">
                  <c:v>-0.16326499999999999</c:v>
                </c:pt>
                <c:pt idx="368">
                  <c:v>-0.19999900000000001</c:v>
                </c:pt>
                <c:pt idx="369">
                  <c:v>-0.13043399999999999</c:v>
                </c:pt>
                <c:pt idx="370">
                  <c:v>-0.13953499999999999</c:v>
                </c:pt>
                <c:pt idx="371">
                  <c:v>0.131578</c:v>
                </c:pt>
                <c:pt idx="372">
                  <c:v>0.119047</c:v>
                </c:pt>
                <c:pt idx="373">
                  <c:v>0.46341399999999999</c:v>
                </c:pt>
                <c:pt idx="374">
                  <c:v>0.54999900000000002</c:v>
                </c:pt>
                <c:pt idx="375">
                  <c:v>0.57499900000000004</c:v>
                </c:pt>
                <c:pt idx="376">
                  <c:v>0.89189200000000002</c:v>
                </c:pt>
                <c:pt idx="377">
                  <c:v>0.81395300000000004</c:v>
                </c:pt>
                <c:pt idx="378">
                  <c:v>0.87234</c:v>
                </c:pt>
                <c:pt idx="379">
                  <c:v>0.58333299999999999</c:v>
                </c:pt>
                <c:pt idx="380">
                  <c:v>0.61290299999999998</c:v>
                </c:pt>
                <c:pt idx="381">
                  <c:v>0.47619</c:v>
                </c:pt>
                <c:pt idx="382">
                  <c:v>0.328571</c:v>
                </c:pt>
                <c:pt idx="383">
                  <c:v>0.39743499999999998</c:v>
                </c:pt>
                <c:pt idx="384">
                  <c:v>0.38636300000000001</c:v>
                </c:pt>
                <c:pt idx="385">
                  <c:v>0.34736800000000001</c:v>
                </c:pt>
                <c:pt idx="386">
                  <c:v>0.27</c:v>
                </c:pt>
                <c:pt idx="387">
                  <c:v>0.47311799999999998</c:v>
                </c:pt>
                <c:pt idx="388">
                  <c:v>0.43010700000000002</c:v>
                </c:pt>
                <c:pt idx="389">
                  <c:v>0.18348600000000001</c:v>
                </c:pt>
                <c:pt idx="390">
                  <c:v>0.213114</c:v>
                </c:pt>
                <c:pt idx="391">
                  <c:v>9.3748999999999999E-2</c:v>
                </c:pt>
                <c:pt idx="392">
                  <c:v>-1.5748000000000002E-2</c:v>
                </c:pt>
                <c:pt idx="393">
                  <c:v>-0.124087</c:v>
                </c:pt>
                <c:pt idx="394">
                  <c:v>-1.5037E-2</c:v>
                </c:pt>
                <c:pt idx="395">
                  <c:v>-0.11627899999999999</c:v>
                </c:pt>
                <c:pt idx="396">
                  <c:v>-0.162162</c:v>
                </c:pt>
                <c:pt idx="397">
                  <c:v>8.5713999999999999E-2</c:v>
                </c:pt>
                <c:pt idx="398">
                  <c:v>0.11999899999999999</c:v>
                </c:pt>
                <c:pt idx="399">
                  <c:v>0.29999900000000002</c:v>
                </c:pt>
                <c:pt idx="400">
                  <c:v>0.40458</c:v>
                </c:pt>
                <c:pt idx="401">
                  <c:v>0.80701699999999998</c:v>
                </c:pt>
                <c:pt idx="402">
                  <c:v>0.637096</c:v>
                </c:pt>
                <c:pt idx="403">
                  <c:v>0.34210499999999999</c:v>
                </c:pt>
                <c:pt idx="404">
                  <c:v>0.521428</c:v>
                </c:pt>
                <c:pt idx="405">
                  <c:v>0.42948700000000001</c:v>
                </c:pt>
                <c:pt idx="406">
                  <c:v>0.434782</c:v>
                </c:pt>
                <c:pt idx="407">
                  <c:v>0.334951</c:v>
                </c:pt>
                <c:pt idx="408">
                  <c:v>0.38916200000000001</c:v>
                </c:pt>
                <c:pt idx="409">
                  <c:v>0.31372499999999998</c:v>
                </c:pt>
                <c:pt idx="410">
                  <c:v>0.26760499999999998</c:v>
                </c:pt>
                <c:pt idx="411">
                  <c:v>0.49775700000000001</c:v>
                </c:pt>
                <c:pt idx="412">
                  <c:v>0.42803000000000002</c:v>
                </c:pt>
                <c:pt idx="413">
                  <c:v>0.39999899999999999</c:v>
                </c:pt>
                <c:pt idx="414">
                  <c:v>0.36524800000000002</c:v>
                </c:pt>
                <c:pt idx="415">
                  <c:v>0.59701400000000004</c:v>
                </c:pt>
                <c:pt idx="416">
                  <c:v>0.58888799999999997</c:v>
                </c:pt>
                <c:pt idx="417">
                  <c:v>0.33832299999999998</c:v>
                </c:pt>
                <c:pt idx="418">
                  <c:v>0.48806300000000002</c:v>
                </c:pt>
                <c:pt idx="419">
                  <c:v>0.59220700000000004</c:v>
                </c:pt>
                <c:pt idx="420">
                  <c:v>0.71688300000000005</c:v>
                </c:pt>
                <c:pt idx="421">
                  <c:v>0.69158799999999998</c:v>
                </c:pt>
                <c:pt idx="422">
                  <c:v>0.92074500000000004</c:v>
                </c:pt>
                <c:pt idx="423">
                  <c:v>0.83892599999999995</c:v>
                </c:pt>
                <c:pt idx="424">
                  <c:v>0.516934</c:v>
                </c:pt>
                <c:pt idx="425">
                  <c:v>0.68189200000000005</c:v>
                </c:pt>
                <c:pt idx="426">
                  <c:v>0.69894000000000001</c:v>
                </c:pt>
                <c:pt idx="427">
                  <c:v>0.68093899999999996</c:v>
                </c:pt>
                <c:pt idx="428">
                  <c:v>0.50970800000000005</c:v>
                </c:pt>
                <c:pt idx="429">
                  <c:v>0.68126500000000001</c:v>
                </c:pt>
                <c:pt idx="430">
                  <c:v>0.658049</c:v>
                </c:pt>
                <c:pt idx="431">
                  <c:v>0.44519799999999998</c:v>
                </c:pt>
                <c:pt idx="432">
                  <c:v>0.61531599999999997</c:v>
                </c:pt>
                <c:pt idx="433">
                  <c:v>0.60394400000000004</c:v>
                </c:pt>
                <c:pt idx="434">
                  <c:v>0.68086800000000003</c:v>
                </c:pt>
                <c:pt idx="435">
                  <c:v>0.58393600000000001</c:v>
                </c:pt>
                <c:pt idx="436">
                  <c:v>0.69737700000000002</c:v>
                </c:pt>
                <c:pt idx="437">
                  <c:v>0.57248299999999996</c:v>
                </c:pt>
                <c:pt idx="438">
                  <c:v>0.29272300000000001</c:v>
                </c:pt>
                <c:pt idx="439">
                  <c:v>0.37602400000000002</c:v>
                </c:pt>
                <c:pt idx="440">
                  <c:v>0.332376</c:v>
                </c:pt>
                <c:pt idx="441">
                  <c:v>0.33257100000000001</c:v>
                </c:pt>
                <c:pt idx="442">
                  <c:v>0.222964</c:v>
                </c:pt>
                <c:pt idx="443">
                  <c:v>0.30900499999999997</c:v>
                </c:pt>
                <c:pt idx="444">
                  <c:v>0.298933</c:v>
                </c:pt>
                <c:pt idx="445">
                  <c:v>0.154504</c:v>
                </c:pt>
                <c:pt idx="446">
                  <c:v>0.27530500000000002</c:v>
                </c:pt>
                <c:pt idx="447">
                  <c:v>0.28728100000000001</c:v>
                </c:pt>
                <c:pt idx="448">
                  <c:v>0.24581700000000001</c:v>
                </c:pt>
                <c:pt idx="449">
                  <c:v>0.203456</c:v>
                </c:pt>
                <c:pt idx="450">
                  <c:v>0.31845000000000001</c:v>
                </c:pt>
                <c:pt idx="451">
                  <c:v>0.28184399999999998</c:v>
                </c:pt>
                <c:pt idx="452">
                  <c:v>0.108922</c:v>
                </c:pt>
                <c:pt idx="453">
                  <c:v>0.17443400000000001</c:v>
                </c:pt>
                <c:pt idx="454">
                  <c:v>0.235955</c:v>
                </c:pt>
                <c:pt idx="455">
                  <c:v>0.18829499999999999</c:v>
                </c:pt>
                <c:pt idx="456">
                  <c:v>0.19173299999999999</c:v>
                </c:pt>
                <c:pt idx="457">
                  <c:v>0.225408</c:v>
                </c:pt>
                <c:pt idx="458">
                  <c:v>0.16192799999999999</c:v>
                </c:pt>
                <c:pt idx="459">
                  <c:v>2.3581999999999999E-2</c:v>
                </c:pt>
                <c:pt idx="460">
                  <c:v>8.1374000000000002E-2</c:v>
                </c:pt>
                <c:pt idx="461">
                  <c:v>9.0970999999999996E-2</c:v>
                </c:pt>
                <c:pt idx="462">
                  <c:v>-3.5311000000000002E-2</c:v>
                </c:pt>
                <c:pt idx="463">
                  <c:v>-4.0854000000000001E-2</c:v>
                </c:pt>
                <c:pt idx="464">
                  <c:v>-3.4949000000000001E-2</c:v>
                </c:pt>
                <c:pt idx="465">
                  <c:v>-7.7092999999999995E-2</c:v>
                </c:pt>
                <c:pt idx="466">
                  <c:v>-0.17941299999999999</c:v>
                </c:pt>
                <c:pt idx="467">
                  <c:v>-9.5088000000000006E-2</c:v>
                </c:pt>
                <c:pt idx="468">
                  <c:v>-9.0967999999999993E-2</c:v>
                </c:pt>
                <c:pt idx="469">
                  <c:v>-0.122859</c:v>
                </c:pt>
                <c:pt idx="470">
                  <c:v>-9.0764999999999998E-2</c:v>
                </c:pt>
                <c:pt idx="471">
                  <c:v>-7.4171000000000001E-2</c:v>
                </c:pt>
                <c:pt idx="472">
                  <c:v>-9.7200999999999996E-2</c:v>
                </c:pt>
                <c:pt idx="473">
                  <c:v>-0.203233</c:v>
                </c:pt>
                <c:pt idx="474">
                  <c:v>-0.10841000000000001</c:v>
                </c:pt>
                <c:pt idx="475">
                  <c:v>-0.136652</c:v>
                </c:pt>
                <c:pt idx="476">
                  <c:v>-0.15309900000000001</c:v>
                </c:pt>
                <c:pt idx="477">
                  <c:v>-0.15711600000000001</c:v>
                </c:pt>
                <c:pt idx="478">
                  <c:v>-0.14862900000000001</c:v>
                </c:pt>
                <c:pt idx="479">
                  <c:v>-0.193333</c:v>
                </c:pt>
                <c:pt idx="480">
                  <c:v>-0.29235699999999998</c:v>
                </c:pt>
                <c:pt idx="481">
                  <c:v>-0.20209099999999999</c:v>
                </c:pt>
                <c:pt idx="482">
                  <c:v>-0.228101</c:v>
                </c:pt>
                <c:pt idx="483">
                  <c:v>-0.24946099999999999</c:v>
                </c:pt>
                <c:pt idx="484">
                  <c:v>-0.26788000000000001</c:v>
                </c:pt>
                <c:pt idx="485">
                  <c:v>-0.29392699999999999</c:v>
                </c:pt>
                <c:pt idx="486">
                  <c:v>-0.32854899999999998</c:v>
                </c:pt>
                <c:pt idx="487">
                  <c:v>-0.38328000000000001</c:v>
                </c:pt>
                <c:pt idx="488">
                  <c:v>-0.26428000000000001</c:v>
                </c:pt>
                <c:pt idx="489">
                  <c:v>-0.227049</c:v>
                </c:pt>
                <c:pt idx="490">
                  <c:v>-0.1865</c:v>
                </c:pt>
                <c:pt idx="491">
                  <c:v>-0.11144999999999999</c:v>
                </c:pt>
                <c:pt idx="492">
                  <c:v>-3.4869999999999998E-2</c:v>
                </c:pt>
                <c:pt idx="493">
                  <c:v>-1.3785E-2</c:v>
                </c:pt>
                <c:pt idx="494">
                  <c:v>-0.119047</c:v>
                </c:pt>
                <c:pt idx="495">
                  <c:v>-4.1887000000000001E-2</c:v>
                </c:pt>
                <c:pt idx="496">
                  <c:v>-7.4234999999999995E-2</c:v>
                </c:pt>
                <c:pt idx="497">
                  <c:v>-0.10595599999999999</c:v>
                </c:pt>
                <c:pt idx="498">
                  <c:v>-0.17657300000000001</c:v>
                </c:pt>
                <c:pt idx="499">
                  <c:v>-0.21723899999999999</c:v>
                </c:pt>
                <c:pt idx="500">
                  <c:v>-0.254994</c:v>
                </c:pt>
                <c:pt idx="501">
                  <c:v>-0.30824499999999999</c:v>
                </c:pt>
                <c:pt idx="502">
                  <c:v>-0.24469299999999999</c:v>
                </c:pt>
                <c:pt idx="503">
                  <c:v>-0.24983900000000001</c:v>
                </c:pt>
                <c:pt idx="504">
                  <c:v>-0.264685</c:v>
                </c:pt>
                <c:pt idx="505">
                  <c:v>-0.29538599999999998</c:v>
                </c:pt>
                <c:pt idx="506">
                  <c:v>-0.28470000000000001</c:v>
                </c:pt>
                <c:pt idx="507">
                  <c:v>-0.32719999999999999</c:v>
                </c:pt>
                <c:pt idx="508">
                  <c:v>-0.37626799999999999</c:v>
                </c:pt>
                <c:pt idx="509">
                  <c:v>-0.22544800000000001</c:v>
                </c:pt>
                <c:pt idx="510">
                  <c:v>-0.10875799999999999</c:v>
                </c:pt>
                <c:pt idx="511">
                  <c:v>3.2733999999999999E-2</c:v>
                </c:pt>
                <c:pt idx="512">
                  <c:v>0.173098</c:v>
                </c:pt>
                <c:pt idx="513">
                  <c:v>0.39119999999999999</c:v>
                </c:pt>
                <c:pt idx="514">
                  <c:v>0.49937399999999998</c:v>
                </c:pt>
                <c:pt idx="515">
                  <c:v>0.38809199999999999</c:v>
                </c:pt>
                <c:pt idx="516">
                  <c:v>0.65226700000000004</c:v>
                </c:pt>
                <c:pt idx="517">
                  <c:v>0.69836399999999998</c:v>
                </c:pt>
                <c:pt idx="518">
                  <c:v>0.77161599999999997</c:v>
                </c:pt>
                <c:pt idx="519">
                  <c:v>0.71623899999999996</c:v>
                </c:pt>
                <c:pt idx="520">
                  <c:v>0.83472400000000002</c:v>
                </c:pt>
                <c:pt idx="521">
                  <c:v>0.72756100000000001</c:v>
                </c:pt>
                <c:pt idx="522">
                  <c:v>0.51960700000000004</c:v>
                </c:pt>
                <c:pt idx="523">
                  <c:v>0.619506</c:v>
                </c:pt>
                <c:pt idx="524">
                  <c:v>0.54111399999999998</c:v>
                </c:pt>
                <c:pt idx="525">
                  <c:v>0.52490000000000003</c:v>
                </c:pt>
                <c:pt idx="526">
                  <c:v>0.429481</c:v>
                </c:pt>
                <c:pt idx="527">
                  <c:v>0.50344800000000001</c:v>
                </c:pt>
                <c:pt idx="528">
                  <c:v>0.38451600000000002</c:v>
                </c:pt>
                <c:pt idx="529">
                  <c:v>0.220446</c:v>
                </c:pt>
                <c:pt idx="530">
                  <c:v>0.25989600000000002</c:v>
                </c:pt>
                <c:pt idx="531">
                  <c:v>0.21097299999999999</c:v>
                </c:pt>
                <c:pt idx="532">
                  <c:v>0.18459500000000001</c:v>
                </c:pt>
                <c:pt idx="533">
                  <c:v>0.13547400000000001</c:v>
                </c:pt>
                <c:pt idx="534">
                  <c:v>0.149114</c:v>
                </c:pt>
                <c:pt idx="535">
                  <c:v>7.0056999999999994E-2</c:v>
                </c:pt>
                <c:pt idx="536">
                  <c:v>-6.5846000000000002E-2</c:v>
                </c:pt>
                <c:pt idx="537">
                  <c:v>2.2922999999999999E-2</c:v>
                </c:pt>
                <c:pt idx="538">
                  <c:v>-1.9344E-2</c:v>
                </c:pt>
                <c:pt idx="539">
                  <c:v>-3.959E-2</c:v>
                </c:pt>
                <c:pt idx="540">
                  <c:v>-7.7857999999999997E-2</c:v>
                </c:pt>
                <c:pt idx="541">
                  <c:v>-6.4332E-2</c:v>
                </c:pt>
                <c:pt idx="542">
                  <c:v>-0.107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do_7_dne_7dni_shift7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4.4009779951E-2</c:v>
                </c:pt>
                <c:pt idx="1">
                  <c:v>4.4158972300000002E-2</c:v>
                </c:pt>
                <c:pt idx="2">
                  <c:v>4.2124542123999999E-2</c:v>
                </c:pt>
                <c:pt idx="3">
                  <c:v>3.9701257860999997E-2</c:v>
                </c:pt>
                <c:pt idx="4">
                  <c:v>3.7911025144999999E-2</c:v>
                </c:pt>
                <c:pt idx="5">
                  <c:v>4.3253234750000001E-2</c:v>
                </c:pt>
                <c:pt idx="6">
                  <c:v>4.3493034318000001E-2</c:v>
                </c:pt>
                <c:pt idx="7">
                  <c:v>4.4044665012000002E-2</c:v>
                </c:pt>
                <c:pt idx="8">
                  <c:v>4.5104196403000001E-2</c:v>
                </c:pt>
                <c:pt idx="9">
                  <c:v>4.1518987340999999E-2</c:v>
                </c:pt>
                <c:pt idx="10">
                  <c:v>4.3083900225999998E-2</c:v>
                </c:pt>
                <c:pt idx="11">
                  <c:v>4.1882237003999997E-2</c:v>
                </c:pt>
                <c:pt idx="12">
                  <c:v>4.6490218642000002E-2</c:v>
                </c:pt>
                <c:pt idx="13">
                  <c:v>4.1333333333000002E-2</c:v>
                </c:pt>
                <c:pt idx="14">
                  <c:v>3.8402977498999999E-2</c:v>
                </c:pt>
                <c:pt idx="15">
                  <c:v>3.4742066475999998E-2</c:v>
                </c:pt>
                <c:pt idx="16">
                  <c:v>3.2766990290999998E-2</c:v>
                </c:pt>
                <c:pt idx="17">
                  <c:v>3.2000980871999998E-2</c:v>
                </c:pt>
                <c:pt idx="18">
                  <c:v>3.1979154328999997E-2</c:v>
                </c:pt>
                <c:pt idx="19">
                  <c:v>3.3440017657999997E-2</c:v>
                </c:pt>
                <c:pt idx="20">
                  <c:v>3.4984276729000001E-2</c:v>
                </c:pt>
                <c:pt idx="21">
                  <c:v>3.5970577682000002E-2</c:v>
                </c:pt>
                <c:pt idx="22">
                  <c:v>3.827678231E-2</c:v>
                </c:pt>
                <c:pt idx="23">
                  <c:v>3.9161849710000002E-2</c:v>
                </c:pt>
                <c:pt idx="24">
                  <c:v>3.8565395001000001E-2</c:v>
                </c:pt>
                <c:pt idx="25">
                  <c:v>4.0676745860000002E-2</c:v>
                </c:pt>
                <c:pt idx="26">
                  <c:v>4.1026344675999998E-2</c:v>
                </c:pt>
                <c:pt idx="27">
                  <c:v>4.1606526513000001E-2</c:v>
                </c:pt>
                <c:pt idx="28">
                  <c:v>4.0388794977E-2</c:v>
                </c:pt>
                <c:pt idx="29">
                  <c:v>4.2971679067000002E-2</c:v>
                </c:pt>
                <c:pt idx="30">
                  <c:v>4.3131083521999999E-2</c:v>
                </c:pt>
                <c:pt idx="31">
                  <c:v>4.4627128596000001E-2</c:v>
                </c:pt>
                <c:pt idx="32">
                  <c:v>4.7882136279000002E-2</c:v>
                </c:pt>
                <c:pt idx="33">
                  <c:v>5.0271247738999998E-2</c:v>
                </c:pt>
                <c:pt idx="34">
                  <c:v>5.3821376280999998E-2</c:v>
                </c:pt>
                <c:pt idx="35">
                  <c:v>5.6151706125999998E-2</c:v>
                </c:pt>
                <c:pt idx="36">
                  <c:v>5.8370102599000002E-2</c:v>
                </c:pt>
                <c:pt idx="37">
                  <c:v>5.9187817258E-2</c:v>
                </c:pt>
                <c:pt idx="38">
                  <c:v>6.1111398828999998E-2</c:v>
                </c:pt>
                <c:pt idx="39">
                  <c:v>6.3800928581999997E-2</c:v>
                </c:pt>
                <c:pt idx="40">
                  <c:v>6.7394309136000002E-2</c:v>
                </c:pt>
                <c:pt idx="41">
                  <c:v>6.5576485199000001E-2</c:v>
                </c:pt>
                <c:pt idx="42">
                  <c:v>6.4332158814000007E-2</c:v>
                </c:pt>
                <c:pt idx="43">
                  <c:v>6.4237615841000004E-2</c:v>
                </c:pt>
                <c:pt idx="44">
                  <c:v>6.1715034316999998E-2</c:v>
                </c:pt>
                <c:pt idx="45">
                  <c:v>6.1799471560999998E-2</c:v>
                </c:pt>
                <c:pt idx="46">
                  <c:v>6.3772086015000007E-2</c:v>
                </c:pt>
                <c:pt idx="47">
                  <c:v>6.5587231531000004E-2</c:v>
                </c:pt>
                <c:pt idx="48">
                  <c:v>6.2180270721999997E-2</c:v>
                </c:pt>
                <c:pt idx="49">
                  <c:v>5.9982949009000003E-2</c:v>
                </c:pt>
                <c:pt idx="50">
                  <c:v>5.7556102287999997E-2</c:v>
                </c:pt>
                <c:pt idx="51">
                  <c:v>5.5574273103999997E-2</c:v>
                </c:pt>
                <c:pt idx="52">
                  <c:v>5.6242326386999997E-2</c:v>
                </c:pt>
                <c:pt idx="53">
                  <c:v>5.7799896456999997E-2</c:v>
                </c:pt>
                <c:pt idx="54">
                  <c:v>5.9704254236000003E-2</c:v>
                </c:pt>
                <c:pt idx="55">
                  <c:v>5.7685679226E-2</c:v>
                </c:pt>
                <c:pt idx="56">
                  <c:v>5.7730682764999999E-2</c:v>
                </c:pt>
                <c:pt idx="57">
                  <c:v>5.7666603015999997E-2</c:v>
                </c:pt>
                <c:pt idx="58">
                  <c:v>5.7649245374999998E-2</c:v>
                </c:pt>
                <c:pt idx="59">
                  <c:v>5.8190439433E-2</c:v>
                </c:pt>
                <c:pt idx="60">
                  <c:v>5.9581951787000001E-2</c:v>
                </c:pt>
                <c:pt idx="61">
                  <c:v>6.1097705528E-2</c:v>
                </c:pt>
                <c:pt idx="62">
                  <c:v>5.8945697855E-2</c:v>
                </c:pt>
                <c:pt idx="63">
                  <c:v>5.8620923847000003E-2</c:v>
                </c:pt>
                <c:pt idx="64">
                  <c:v>5.9417882706E-2</c:v>
                </c:pt>
                <c:pt idx="65">
                  <c:v>6.0887718076999997E-2</c:v>
                </c:pt>
                <c:pt idx="66">
                  <c:v>6.1565486954E-2</c:v>
                </c:pt>
                <c:pt idx="67">
                  <c:v>6.2782736948000004E-2</c:v>
                </c:pt>
                <c:pt idx="68">
                  <c:v>6.4368385887000001E-2</c:v>
                </c:pt>
                <c:pt idx="69">
                  <c:v>6.3556321279999994E-2</c:v>
                </c:pt>
                <c:pt idx="70">
                  <c:v>6.2217433556999997E-2</c:v>
                </c:pt>
                <c:pt idx="71">
                  <c:v>6.2995112083999993E-2</c:v>
                </c:pt>
                <c:pt idx="72">
                  <c:v>6.2564223325000001E-2</c:v>
                </c:pt>
                <c:pt idx="73">
                  <c:v>6.2188713729999998E-2</c:v>
                </c:pt>
                <c:pt idx="74">
                  <c:v>6.4285087113999995E-2</c:v>
                </c:pt>
                <c:pt idx="75">
                  <c:v>6.611966675E-2</c:v>
                </c:pt>
                <c:pt idx="76">
                  <c:v>6.4173288120999997E-2</c:v>
                </c:pt>
                <c:pt idx="77">
                  <c:v>6.421933698E-2</c:v>
                </c:pt>
                <c:pt idx="78">
                  <c:v>6.8545719199999994E-2</c:v>
                </c:pt>
                <c:pt idx="79">
                  <c:v>7.1506743489000005E-2</c:v>
                </c:pt>
                <c:pt idx="80">
                  <c:v>7.4510806073999999E-2</c:v>
                </c:pt>
                <c:pt idx="81">
                  <c:v>7.7930301916000005E-2</c:v>
                </c:pt>
                <c:pt idx="82">
                  <c:v>8.0585431193999996E-2</c:v>
                </c:pt>
                <c:pt idx="83">
                  <c:v>7.9323584673999997E-2</c:v>
                </c:pt>
                <c:pt idx="84">
                  <c:v>8.1724312541999994E-2</c:v>
                </c:pt>
                <c:pt idx="85">
                  <c:v>8.0866610815999995E-2</c:v>
                </c:pt>
                <c:pt idx="86">
                  <c:v>8.0304104432000006E-2</c:v>
                </c:pt>
                <c:pt idx="87">
                  <c:v>8.0048992922999995E-2</c:v>
                </c:pt>
                <c:pt idx="88">
                  <c:v>8.1992247150999994E-2</c:v>
                </c:pt>
                <c:pt idx="89">
                  <c:v>8.2348111658000003E-2</c:v>
                </c:pt>
                <c:pt idx="90">
                  <c:v>7.9101087131999995E-2</c:v>
                </c:pt>
                <c:pt idx="91">
                  <c:v>7.9259711637999997E-2</c:v>
                </c:pt>
                <c:pt idx="92">
                  <c:v>7.9898331306999998E-2</c:v>
                </c:pt>
                <c:pt idx="93">
                  <c:v>8.0786217788999998E-2</c:v>
                </c:pt>
                <c:pt idx="94">
                  <c:v>8.2903890748999995E-2</c:v>
                </c:pt>
                <c:pt idx="95">
                  <c:v>8.6412498702999996E-2</c:v>
                </c:pt>
                <c:pt idx="96">
                  <c:v>8.8204929668000004E-2</c:v>
                </c:pt>
                <c:pt idx="97">
                  <c:v>8.6735014779999994E-2</c:v>
                </c:pt>
                <c:pt idx="98">
                  <c:v>8.6563053313999994E-2</c:v>
                </c:pt>
                <c:pt idx="99">
                  <c:v>8.6311396681000005E-2</c:v>
                </c:pt>
                <c:pt idx="100">
                  <c:v>8.4134537566999998E-2</c:v>
                </c:pt>
                <c:pt idx="101">
                  <c:v>8.5672976698000003E-2</c:v>
                </c:pt>
                <c:pt idx="102">
                  <c:v>8.9160901188000005E-2</c:v>
                </c:pt>
                <c:pt idx="103">
                  <c:v>8.9184363242000006E-2</c:v>
                </c:pt>
                <c:pt idx="104">
                  <c:v>8.4829390084000006E-2</c:v>
                </c:pt>
                <c:pt idx="105">
                  <c:v>8.2826834862000001E-2</c:v>
                </c:pt>
                <c:pt idx="106">
                  <c:v>8.1528345673000005E-2</c:v>
                </c:pt>
                <c:pt idx="107">
                  <c:v>7.7841300089000004E-2</c:v>
                </c:pt>
                <c:pt idx="108">
                  <c:v>7.6669392204E-2</c:v>
                </c:pt>
                <c:pt idx="109">
                  <c:v>7.7144876325E-2</c:v>
                </c:pt>
                <c:pt idx="110">
                  <c:v>7.8495005324E-2</c:v>
                </c:pt>
                <c:pt idx="111">
                  <c:v>7.2310119239999998E-2</c:v>
                </c:pt>
                <c:pt idx="112">
                  <c:v>6.9010216412000003E-2</c:v>
                </c:pt>
                <c:pt idx="113">
                  <c:v>6.6101549790000005E-2</c:v>
                </c:pt>
                <c:pt idx="114">
                  <c:v>6.25E-2</c:v>
                </c:pt>
                <c:pt idx="115">
                  <c:v>6.1848705087000001E-2</c:v>
                </c:pt>
                <c:pt idx="116">
                  <c:v>6.2332853321999997E-2</c:v>
                </c:pt>
                <c:pt idx="117">
                  <c:v>6.1440949640999998E-2</c:v>
                </c:pt>
                <c:pt idx="118">
                  <c:v>5.5808637169000003E-2</c:v>
                </c:pt>
                <c:pt idx="119">
                  <c:v>5.1808494672000001E-2</c:v>
                </c:pt>
                <c:pt idx="120">
                  <c:v>5.1092447688000003E-2</c:v>
                </c:pt>
                <c:pt idx="121">
                  <c:v>5.3432737713999999E-2</c:v>
                </c:pt>
                <c:pt idx="122">
                  <c:v>5.8019230769000001E-2</c:v>
                </c:pt>
                <c:pt idx="123">
                  <c:v>6.2490087232000002E-2</c:v>
                </c:pt>
                <c:pt idx="124">
                  <c:v>6.2966345573000002E-2</c:v>
                </c:pt>
                <c:pt idx="125">
                  <c:v>5.9231566144999998E-2</c:v>
                </c:pt>
                <c:pt idx="126">
                  <c:v>5.7919832905000003E-2</c:v>
                </c:pt>
                <c:pt idx="127">
                  <c:v>6.0041983511999998E-2</c:v>
                </c:pt>
                <c:pt idx="128">
                  <c:v>6.2455992113E-2</c:v>
                </c:pt>
                <c:pt idx="129">
                  <c:v>6.3695744070999996E-2</c:v>
                </c:pt>
                <c:pt idx="130">
                  <c:v>6.2390640098000001E-2</c:v>
                </c:pt>
                <c:pt idx="131">
                  <c:v>5.9704624135000002E-2</c:v>
                </c:pt>
                <c:pt idx="132">
                  <c:v>5.7496558227999997E-2</c:v>
                </c:pt>
                <c:pt idx="133">
                  <c:v>5.668946356E-2</c:v>
                </c:pt>
                <c:pt idx="134">
                  <c:v>5.7015385623999999E-2</c:v>
                </c:pt>
                <c:pt idx="135">
                  <c:v>5.6910301913999997E-2</c:v>
                </c:pt>
                <c:pt idx="136">
                  <c:v>5.5216953410999997E-2</c:v>
                </c:pt>
                <c:pt idx="137">
                  <c:v>5.3195604670999999E-2</c:v>
                </c:pt>
                <c:pt idx="138">
                  <c:v>5.2774881827999998E-2</c:v>
                </c:pt>
                <c:pt idx="139">
                  <c:v>5.2718729947999997E-2</c:v>
                </c:pt>
                <c:pt idx="140">
                  <c:v>5.2503079602999998E-2</c:v>
                </c:pt>
                <c:pt idx="141">
                  <c:v>5.4321448570999999E-2</c:v>
                </c:pt>
                <c:pt idx="142">
                  <c:v>5.5402366547000002E-2</c:v>
                </c:pt>
                <c:pt idx="143">
                  <c:v>5.6983725351999998E-2</c:v>
                </c:pt>
                <c:pt idx="144">
                  <c:v>5.8500254277000001E-2</c:v>
                </c:pt>
                <c:pt idx="145">
                  <c:v>5.8957973785999998E-2</c:v>
                </c:pt>
                <c:pt idx="146">
                  <c:v>5.793079928E-2</c:v>
                </c:pt>
                <c:pt idx="147">
                  <c:v>5.8043573054999999E-2</c:v>
                </c:pt>
                <c:pt idx="148">
                  <c:v>5.9720609330999999E-2</c:v>
                </c:pt>
                <c:pt idx="149">
                  <c:v>5.9973526116999999E-2</c:v>
                </c:pt>
                <c:pt idx="150">
                  <c:v>6.1679082987999997E-2</c:v>
                </c:pt>
                <c:pt idx="151">
                  <c:v>6.3706260786999994E-2</c:v>
                </c:pt>
                <c:pt idx="152">
                  <c:v>6.2844442838000003E-2</c:v>
                </c:pt>
                <c:pt idx="153">
                  <c:v>6.0817108988000003E-2</c:v>
                </c:pt>
                <c:pt idx="154">
                  <c:v>6.0836979128999998E-2</c:v>
                </c:pt>
                <c:pt idx="155">
                  <c:v>6.1222286207000001E-2</c:v>
                </c:pt>
                <c:pt idx="156">
                  <c:v>6.0734740485000001E-2</c:v>
                </c:pt>
                <c:pt idx="157">
                  <c:v>6.1874043508999998E-2</c:v>
                </c:pt>
                <c:pt idx="158">
                  <c:v>6.3174329922999997E-2</c:v>
                </c:pt>
                <c:pt idx="159">
                  <c:v>6.3900445222000002E-2</c:v>
                </c:pt>
                <c:pt idx="160">
                  <c:v>6.3284472921000007E-2</c:v>
                </c:pt>
                <c:pt idx="161">
                  <c:v>6.2135482860000001E-2</c:v>
                </c:pt>
                <c:pt idx="162">
                  <c:v>6.2110820717999997E-2</c:v>
                </c:pt>
                <c:pt idx="163">
                  <c:v>6.165382212E-2</c:v>
                </c:pt>
                <c:pt idx="164">
                  <c:v>6.2572421784000007E-2</c:v>
                </c:pt>
                <c:pt idx="165">
                  <c:v>6.4179840023999998E-2</c:v>
                </c:pt>
                <c:pt idx="166">
                  <c:v>6.2265061901999999E-2</c:v>
                </c:pt>
                <c:pt idx="167">
                  <c:v>5.9462381442999999E-2</c:v>
                </c:pt>
                <c:pt idx="168">
                  <c:v>5.8305669465000001E-2</c:v>
                </c:pt>
                <c:pt idx="169">
                  <c:v>5.9674740598000001E-2</c:v>
                </c:pt>
                <c:pt idx="170">
                  <c:v>5.8917197451999997E-2</c:v>
                </c:pt>
                <c:pt idx="171">
                  <c:v>5.9326121407999997E-2</c:v>
                </c:pt>
                <c:pt idx="172">
                  <c:v>6.0415961219000003E-2</c:v>
                </c:pt>
                <c:pt idx="173">
                  <c:v>6.0181855952999998E-2</c:v>
                </c:pt>
                <c:pt idx="174">
                  <c:v>5.9882461190999998E-2</c:v>
                </c:pt>
                <c:pt idx="175">
                  <c:v>5.9370865794E-2</c:v>
                </c:pt>
                <c:pt idx="176">
                  <c:v>5.8792516279E-2</c:v>
                </c:pt>
                <c:pt idx="177">
                  <c:v>5.8591269293000001E-2</c:v>
                </c:pt>
                <c:pt idx="178">
                  <c:v>5.9375266463000002E-2</c:v>
                </c:pt>
                <c:pt idx="179">
                  <c:v>6.0671660099999997E-2</c:v>
                </c:pt>
                <c:pt idx="180">
                  <c:v>5.9811715749000002E-2</c:v>
                </c:pt>
                <c:pt idx="181">
                  <c:v>5.6564394028000002E-2</c:v>
                </c:pt>
                <c:pt idx="182">
                  <c:v>5.5912753316E-2</c:v>
                </c:pt>
                <c:pt idx="183">
                  <c:v>5.5686292004E-2</c:v>
                </c:pt>
                <c:pt idx="184">
                  <c:v>5.5083055761999997E-2</c:v>
                </c:pt>
                <c:pt idx="185">
                  <c:v>5.4906921294000002E-2</c:v>
                </c:pt>
                <c:pt idx="186">
                  <c:v>5.5489896844999997E-2</c:v>
                </c:pt>
                <c:pt idx="187">
                  <c:v>5.5979297194000001E-2</c:v>
                </c:pt>
                <c:pt idx="188">
                  <c:v>5.4398825524000001E-2</c:v>
                </c:pt>
                <c:pt idx="189">
                  <c:v>5.4604783905000003E-2</c:v>
                </c:pt>
                <c:pt idx="190">
                  <c:v>5.3750779247000002E-2</c:v>
                </c:pt>
                <c:pt idx="191">
                  <c:v>5.3012435139000003E-2</c:v>
                </c:pt>
                <c:pt idx="192">
                  <c:v>5.4032764547999997E-2</c:v>
                </c:pt>
                <c:pt idx="193">
                  <c:v>5.5684454756E-2</c:v>
                </c:pt>
                <c:pt idx="194">
                  <c:v>5.5885380383999997E-2</c:v>
                </c:pt>
                <c:pt idx="195">
                  <c:v>5.3017245722999998E-2</c:v>
                </c:pt>
                <c:pt idx="196">
                  <c:v>5.2544207867000002E-2</c:v>
                </c:pt>
                <c:pt idx="197">
                  <c:v>5.3159003912999998E-2</c:v>
                </c:pt>
                <c:pt idx="198">
                  <c:v>5.4960834110000002E-2</c:v>
                </c:pt>
                <c:pt idx="199">
                  <c:v>5.6434314816000003E-2</c:v>
                </c:pt>
                <c:pt idx="200">
                  <c:v>5.7693252739000001E-2</c:v>
                </c:pt>
                <c:pt idx="201">
                  <c:v>5.7021179944000001E-2</c:v>
                </c:pt>
                <c:pt idx="202">
                  <c:v>5.5316170519000001E-2</c:v>
                </c:pt>
                <c:pt idx="203">
                  <c:v>5.7059851561999997E-2</c:v>
                </c:pt>
                <c:pt idx="204">
                  <c:v>5.8218893543999999E-2</c:v>
                </c:pt>
                <c:pt idx="205">
                  <c:v>5.8428840853E-2</c:v>
                </c:pt>
                <c:pt idx="206">
                  <c:v>5.9079737847999997E-2</c:v>
                </c:pt>
                <c:pt idx="207">
                  <c:v>6.0098852552000002E-2</c:v>
                </c:pt>
                <c:pt idx="208">
                  <c:v>6.0284894083000001E-2</c:v>
                </c:pt>
                <c:pt idx="209">
                  <c:v>5.9221841524E-2</c:v>
                </c:pt>
                <c:pt idx="210">
                  <c:v>6.1072261071999999E-2</c:v>
                </c:pt>
                <c:pt idx="211">
                  <c:v>6.2518408284000002E-2</c:v>
                </c:pt>
                <c:pt idx="212">
                  <c:v>6.4547581903000001E-2</c:v>
                </c:pt>
                <c:pt idx="213">
                  <c:v>6.7103021607999996E-2</c:v>
                </c:pt>
                <c:pt idx="214">
                  <c:v>6.8336122169999999E-2</c:v>
                </c:pt>
                <c:pt idx="215">
                  <c:v>6.8805149334000004E-2</c:v>
                </c:pt>
                <c:pt idx="216">
                  <c:v>6.6736916051000003E-2</c:v>
                </c:pt>
                <c:pt idx="217">
                  <c:v>6.8681060562999996E-2</c:v>
                </c:pt>
                <c:pt idx="218">
                  <c:v>6.9339025932000004E-2</c:v>
                </c:pt>
                <c:pt idx="219">
                  <c:v>6.9452809084999997E-2</c:v>
                </c:pt>
                <c:pt idx="220">
                  <c:v>7.2100926627000003E-2</c:v>
                </c:pt>
                <c:pt idx="221">
                  <c:v>7.3563100047999999E-2</c:v>
                </c:pt>
                <c:pt idx="222">
                  <c:v>7.4518045717000006E-2</c:v>
                </c:pt>
                <c:pt idx="223">
                  <c:v>7.4277262336000002E-2</c:v>
                </c:pt>
                <c:pt idx="224">
                  <c:v>7.5689039979000006E-2</c:v>
                </c:pt>
                <c:pt idx="225">
                  <c:v>7.4753844779999995E-2</c:v>
                </c:pt>
                <c:pt idx="226">
                  <c:v>7.5103232014999993E-2</c:v>
                </c:pt>
                <c:pt idx="227">
                  <c:v>7.7380952380000007E-2</c:v>
                </c:pt>
                <c:pt idx="228">
                  <c:v>7.7344308015999993E-2</c:v>
                </c:pt>
                <c:pt idx="229">
                  <c:v>7.4795866291999996E-2</c:v>
                </c:pt>
                <c:pt idx="230">
                  <c:v>6.9724927874999995E-2</c:v>
                </c:pt>
                <c:pt idx="231">
                  <c:v>6.9141391277999995E-2</c:v>
                </c:pt>
                <c:pt idx="232">
                  <c:v>7.1467502384000001E-2</c:v>
                </c:pt>
                <c:pt idx="233">
                  <c:v>7.4120234603999996E-2</c:v>
                </c:pt>
                <c:pt idx="234">
                  <c:v>7.7247132428999998E-2</c:v>
                </c:pt>
                <c:pt idx="235">
                  <c:v>7.7086467828999999E-2</c:v>
                </c:pt>
                <c:pt idx="236">
                  <c:v>7.4867809645000005E-2</c:v>
                </c:pt>
                <c:pt idx="237">
                  <c:v>7.3932773783999997E-2</c:v>
                </c:pt>
                <c:pt idx="238">
                  <c:v>7.7409440174999997E-2</c:v>
                </c:pt>
                <c:pt idx="239">
                  <c:v>7.700820806E-2</c:v>
                </c:pt>
                <c:pt idx="240">
                  <c:v>7.4946466808999995E-2</c:v>
                </c:pt>
                <c:pt idx="241">
                  <c:v>7.5058885108000004E-2</c:v>
                </c:pt>
                <c:pt idx="242">
                  <c:v>7.4873579467999996E-2</c:v>
                </c:pt>
                <c:pt idx="243">
                  <c:v>7.3838824930000005E-2</c:v>
                </c:pt>
                <c:pt idx="244">
                  <c:v>7.1542526672000006E-2</c:v>
                </c:pt>
                <c:pt idx="245">
                  <c:v>7.2801024765E-2</c:v>
                </c:pt>
                <c:pt idx="246">
                  <c:v>7.1809396866999997E-2</c:v>
                </c:pt>
                <c:pt idx="247">
                  <c:v>7.0761166818000001E-2</c:v>
                </c:pt>
                <c:pt idx="248">
                  <c:v>7.2908910398999993E-2</c:v>
                </c:pt>
                <c:pt idx="249">
                  <c:v>7.5240023512000001E-2</c:v>
                </c:pt>
                <c:pt idx="250">
                  <c:v>7.3510924872000005E-2</c:v>
                </c:pt>
                <c:pt idx="251">
                  <c:v>7.0546950629000002E-2</c:v>
                </c:pt>
                <c:pt idx="252">
                  <c:v>7.1258907363000001E-2</c:v>
                </c:pt>
                <c:pt idx="253">
                  <c:v>7.1844932929999994E-2</c:v>
                </c:pt>
                <c:pt idx="254">
                  <c:v>6.9884990110000003E-2</c:v>
                </c:pt>
                <c:pt idx="255">
                  <c:v>7.0099204722E-2</c:v>
                </c:pt>
                <c:pt idx="256">
                  <c:v>7.1190601436999998E-2</c:v>
                </c:pt>
                <c:pt idx="257">
                  <c:v>7.0206442283999998E-2</c:v>
                </c:pt>
                <c:pt idx="258">
                  <c:v>6.9188191881000005E-2</c:v>
                </c:pt>
                <c:pt idx="259">
                  <c:v>7.0473537604000006E-2</c:v>
                </c:pt>
                <c:pt idx="260">
                  <c:v>7.0778964016999998E-2</c:v>
                </c:pt>
                <c:pt idx="261">
                  <c:v>6.6930775646000001E-2</c:v>
                </c:pt>
                <c:pt idx="262">
                  <c:v>6.9781056081999998E-2</c:v>
                </c:pt>
                <c:pt idx="263">
                  <c:v>7.0879801734000006E-2</c:v>
                </c:pt>
                <c:pt idx="264">
                  <c:v>6.6394742805000004E-2</c:v>
                </c:pt>
                <c:pt idx="265">
                  <c:v>6.2735849056000006E-2</c:v>
                </c:pt>
                <c:pt idx="266">
                  <c:v>6.3326282390000002E-2</c:v>
                </c:pt>
                <c:pt idx="267">
                  <c:v>6.4335864736999995E-2</c:v>
                </c:pt>
                <c:pt idx="268">
                  <c:v>6.2256809337999999E-2</c:v>
                </c:pt>
                <c:pt idx="269">
                  <c:v>6.4702788006000003E-2</c:v>
                </c:pt>
                <c:pt idx="270">
                  <c:v>6.4868942107999997E-2</c:v>
                </c:pt>
                <c:pt idx="271">
                  <c:v>6.2304211625000001E-2</c:v>
                </c:pt>
                <c:pt idx="272">
                  <c:v>6.3946869069999995E-2</c:v>
                </c:pt>
                <c:pt idx="273">
                  <c:v>6.4712269271999995E-2</c:v>
                </c:pt>
                <c:pt idx="274">
                  <c:v>6.1577490774000002E-2</c:v>
                </c:pt>
                <c:pt idx="275">
                  <c:v>6.0170523751000002E-2</c:v>
                </c:pt>
                <c:pt idx="276">
                  <c:v>6.0855263157000003E-2</c:v>
                </c:pt>
                <c:pt idx="277">
                  <c:v>6.0729927007000001E-2</c:v>
                </c:pt>
                <c:pt idx="278">
                  <c:v>6.0298826040000003E-2</c:v>
                </c:pt>
                <c:pt idx="279">
                  <c:v>5.9223576083000003E-2</c:v>
                </c:pt>
                <c:pt idx="280">
                  <c:v>5.5624611559000003E-2</c:v>
                </c:pt>
                <c:pt idx="281">
                  <c:v>4.9855258925E-2</c:v>
                </c:pt>
                <c:pt idx="282">
                  <c:v>5.2001368457E-2</c:v>
                </c:pt>
                <c:pt idx="283">
                  <c:v>5.0802139037000003E-2</c:v>
                </c:pt>
                <c:pt idx="284">
                  <c:v>5.0100200400000003E-2</c:v>
                </c:pt>
                <c:pt idx="285">
                  <c:v>4.8116374486999999E-2</c:v>
                </c:pt>
                <c:pt idx="286">
                  <c:v>4.0848389630000002E-2</c:v>
                </c:pt>
                <c:pt idx="287">
                  <c:v>4.0482342806999999E-2</c:v>
                </c:pt>
                <c:pt idx="288">
                  <c:v>4.1666666666000003E-2</c:v>
                </c:pt>
                <c:pt idx="289">
                  <c:v>4.3044619421999997E-2</c:v>
                </c:pt>
                <c:pt idx="290">
                  <c:v>4.1162227602000001E-2</c:v>
                </c:pt>
                <c:pt idx="291">
                  <c:v>3.9584685268999997E-2</c:v>
                </c:pt>
                <c:pt idx="292">
                  <c:v>3.9506172839000001E-2</c:v>
                </c:pt>
                <c:pt idx="293">
                  <c:v>3.7859007831999997E-2</c:v>
                </c:pt>
                <c:pt idx="294">
                  <c:v>5.1643192487999999E-2</c:v>
                </c:pt>
                <c:pt idx="295">
                  <c:v>5.1607445007999998E-2</c:v>
                </c:pt>
                <c:pt idx="296">
                  <c:v>5.1056338027999998E-2</c:v>
                </c:pt>
                <c:pt idx="297">
                  <c:v>5.3045186639999999E-2</c:v>
                </c:pt>
                <c:pt idx="298">
                  <c:v>5.0999999999999997E-2</c:v>
                </c:pt>
                <c:pt idx="299">
                  <c:v>4.8103607770000001E-2</c:v>
                </c:pt>
                <c:pt idx="300">
                  <c:v>4.6305418718999999E-2</c:v>
                </c:pt>
                <c:pt idx="301">
                  <c:v>5.1310043668000002E-2</c:v>
                </c:pt>
                <c:pt idx="302">
                  <c:v>3.6322360953000003E-2</c:v>
                </c:pt>
                <c:pt idx="303">
                  <c:v>3.4117647058000002E-2</c:v>
                </c:pt>
                <c:pt idx="304">
                  <c:v>3.3854166666000003E-2</c:v>
                </c:pt>
                <c:pt idx="305">
                  <c:v>3.0144167757999999E-2</c:v>
                </c:pt>
                <c:pt idx="306">
                  <c:v>3.1395348837000001E-2</c:v>
                </c:pt>
                <c:pt idx="307">
                  <c:v>2.6666666666E-2</c:v>
                </c:pt>
                <c:pt idx="308">
                  <c:v>2.8077753779E-2</c:v>
                </c:pt>
                <c:pt idx="309">
                  <c:v>2.2357723576999999E-2</c:v>
                </c:pt>
                <c:pt idx="310">
                  <c:v>2.1842355175000001E-2</c:v>
                </c:pt>
                <c:pt idx="311">
                  <c:v>2.0095693779000001E-2</c:v>
                </c:pt>
                <c:pt idx="312">
                  <c:v>1.8399264028999999E-2</c:v>
                </c:pt>
                <c:pt idx="313">
                  <c:v>1.8134715025000001E-2</c:v>
                </c:pt>
                <c:pt idx="314">
                  <c:v>1.4375561545E-2</c:v>
                </c:pt>
                <c:pt idx="315">
                  <c:v>1.6260162601000001E-2</c:v>
                </c:pt>
                <c:pt idx="316">
                  <c:v>1.33234641E-2</c:v>
                </c:pt>
                <c:pt idx="317">
                  <c:v>1.4314928425E-2</c:v>
                </c:pt>
                <c:pt idx="318">
                  <c:v>1.5710382512999999E-2</c:v>
                </c:pt>
                <c:pt idx="319">
                  <c:v>1.67000668E-2</c:v>
                </c:pt>
                <c:pt idx="320">
                  <c:v>1.7791411042000001E-2</c:v>
                </c:pt>
                <c:pt idx="321">
                  <c:v>1.7004936916999999E-2</c:v>
                </c:pt>
                <c:pt idx="322">
                  <c:v>1.8274111674999999E-2</c:v>
                </c:pt>
                <c:pt idx="323">
                  <c:v>1.780104712E-2</c:v>
                </c:pt>
                <c:pt idx="324">
                  <c:v>1.8459915611000001E-2</c:v>
                </c:pt>
                <c:pt idx="325">
                  <c:v>1.7155506364000001E-2</c:v>
                </c:pt>
                <c:pt idx="326">
                  <c:v>1.7613636363E-2</c:v>
                </c:pt>
                <c:pt idx="327">
                  <c:v>1.9188596491E-2</c:v>
                </c:pt>
                <c:pt idx="328">
                  <c:v>1.8065887353E-2</c:v>
                </c:pt>
                <c:pt idx="329">
                  <c:v>2.0089285714E-2</c:v>
                </c:pt>
                <c:pt idx="330">
                  <c:v>2.0045819013999999E-2</c:v>
                </c:pt>
                <c:pt idx="331">
                  <c:v>2.2157434401999999E-2</c:v>
                </c:pt>
                <c:pt idx="332">
                  <c:v>2.2542266750000001E-2</c:v>
                </c:pt>
                <c:pt idx="333">
                  <c:v>2.4307900067E-2</c:v>
                </c:pt>
                <c:pt idx="334">
                  <c:v>2.6854219948E-2</c:v>
                </c:pt>
                <c:pt idx="335">
                  <c:v>2.6908635794000001E-2</c:v>
                </c:pt>
                <c:pt idx="336">
                  <c:v>2.8666666665999999E-2</c:v>
                </c:pt>
                <c:pt idx="337">
                  <c:v>2.8493894164999999E-2</c:v>
                </c:pt>
                <c:pt idx="338">
                  <c:v>3.0670470756E-2</c:v>
                </c:pt>
                <c:pt idx="339">
                  <c:v>3.0827067669000001E-2</c:v>
                </c:pt>
                <c:pt idx="340">
                  <c:v>3.2031249999999997E-2</c:v>
                </c:pt>
                <c:pt idx="341">
                  <c:v>3.4763313609E-2</c:v>
                </c:pt>
                <c:pt idx="342">
                  <c:v>3.0129124819999999E-2</c:v>
                </c:pt>
                <c:pt idx="343">
                  <c:v>2.8953229398000001E-2</c:v>
                </c:pt>
                <c:pt idx="344">
                  <c:v>2.9007633586999999E-2</c:v>
                </c:pt>
                <c:pt idx="345">
                  <c:v>2.9641185646999999E-2</c:v>
                </c:pt>
                <c:pt idx="346">
                  <c:v>2.8505392912000001E-2</c:v>
                </c:pt>
                <c:pt idx="347">
                  <c:v>2.7173913043E-2</c:v>
                </c:pt>
                <c:pt idx="348">
                  <c:v>2.7397260273000001E-2</c:v>
                </c:pt>
                <c:pt idx="349">
                  <c:v>2.3411371237E-2</c:v>
                </c:pt>
                <c:pt idx="350">
                  <c:v>2.3082145280999999E-2</c:v>
                </c:pt>
                <c:pt idx="351">
                  <c:v>2.2696011004E-2</c:v>
                </c:pt>
                <c:pt idx="352">
                  <c:v>2.3809523809000002E-2</c:v>
                </c:pt>
                <c:pt idx="353">
                  <c:v>2.5084745762E-2</c:v>
                </c:pt>
                <c:pt idx="354">
                  <c:v>2.7936962749999999E-2</c:v>
                </c:pt>
                <c:pt idx="355">
                  <c:v>3.0564784053000001E-2</c:v>
                </c:pt>
                <c:pt idx="356">
                  <c:v>2.8852056476000001E-2</c:v>
                </c:pt>
                <c:pt idx="357">
                  <c:v>3.2339885859000002E-2</c:v>
                </c:pt>
                <c:pt idx="358">
                  <c:v>3.2173342086999998E-2</c:v>
                </c:pt>
                <c:pt idx="359">
                  <c:v>3.3909574467999998E-2</c:v>
                </c:pt>
                <c:pt idx="360">
                  <c:v>3.4604519774000003E-2</c:v>
                </c:pt>
                <c:pt idx="361">
                  <c:v>3.5481535118999999E-2</c:v>
                </c:pt>
                <c:pt idx="362">
                  <c:v>3.2938076416000002E-2</c:v>
                </c:pt>
                <c:pt idx="363">
                  <c:v>2.9581993569000001E-2</c:v>
                </c:pt>
                <c:pt idx="364">
                  <c:v>2.8571428571E-2</c:v>
                </c:pt>
                <c:pt idx="365">
                  <c:v>2.5165562913000001E-2</c:v>
                </c:pt>
                <c:pt idx="366">
                  <c:v>2.7504911590999999E-2</c:v>
                </c:pt>
                <c:pt idx="367">
                  <c:v>2.7535258561999999E-2</c:v>
                </c:pt>
                <c:pt idx="368">
                  <c:v>2.7874564458999999E-2</c:v>
                </c:pt>
                <c:pt idx="369">
                  <c:v>2.5493945188000001E-2</c:v>
                </c:pt>
                <c:pt idx="370">
                  <c:v>2.2465088038E-2</c:v>
                </c:pt>
                <c:pt idx="371">
                  <c:v>2.5966183574000001E-2</c:v>
                </c:pt>
                <c:pt idx="372">
                  <c:v>2.7453271027999999E-2</c:v>
                </c:pt>
                <c:pt idx="373">
                  <c:v>3.3185840707000001E-2</c:v>
                </c:pt>
                <c:pt idx="374">
                  <c:v>3.3842794758999997E-2</c:v>
                </c:pt>
                <c:pt idx="375">
                  <c:v>3.4239130434000002E-2</c:v>
                </c:pt>
                <c:pt idx="376">
                  <c:v>3.2527881039999998E-2</c:v>
                </c:pt>
                <c:pt idx="377">
                  <c:v>3.1275060144E-2</c:v>
                </c:pt>
                <c:pt idx="378">
                  <c:v>3.4055727554E-2</c:v>
                </c:pt>
                <c:pt idx="379">
                  <c:v>3.4646243617E-2</c:v>
                </c:pt>
                <c:pt idx="380">
                  <c:v>3.4710170079E-2</c:v>
                </c:pt>
                <c:pt idx="381">
                  <c:v>3.2955350814999999E-2</c:v>
                </c:pt>
                <c:pt idx="382">
                  <c:v>3.3793604651000002E-2</c:v>
                </c:pt>
                <c:pt idx="383">
                  <c:v>3.5093367675000001E-2</c:v>
                </c:pt>
                <c:pt idx="384">
                  <c:v>3.7308868501E-2</c:v>
                </c:pt>
                <c:pt idx="385">
                  <c:v>3.9862971036999997E-2</c:v>
                </c:pt>
                <c:pt idx="386">
                  <c:v>3.7452079031999999E-2</c:v>
                </c:pt>
                <c:pt idx="387">
                  <c:v>4.0070195963000002E-2</c:v>
                </c:pt>
                <c:pt idx="388">
                  <c:v>4.0598290597999999E-2</c:v>
                </c:pt>
                <c:pt idx="389">
                  <c:v>4.0149393089999999E-2</c:v>
                </c:pt>
                <c:pt idx="390">
                  <c:v>4.160809671E-2</c:v>
                </c:pt>
                <c:pt idx="391">
                  <c:v>3.8261820169000003E-2</c:v>
                </c:pt>
                <c:pt idx="392">
                  <c:v>3.4482758619999998E-2</c:v>
                </c:pt>
                <c:pt idx="393">
                  <c:v>3.3472803347000001E-2</c:v>
                </c:pt>
                <c:pt idx="394">
                  <c:v>3.6828788304E-2</c:v>
                </c:pt>
                <c:pt idx="395">
                  <c:v>3.2312925169999999E-2</c:v>
                </c:pt>
                <c:pt idx="396">
                  <c:v>3.5642425983999998E-2</c:v>
                </c:pt>
                <c:pt idx="397">
                  <c:v>3.8306451611999998E-2</c:v>
                </c:pt>
                <c:pt idx="398">
                  <c:v>3.5344609946E-2</c:v>
                </c:pt>
                <c:pt idx="399">
                  <c:v>3.8058062942000002E-2</c:v>
                </c:pt>
                <c:pt idx="400">
                  <c:v>4.0907069807999998E-2</c:v>
                </c:pt>
                <c:pt idx="401">
                  <c:v>4.2535618418E-2</c:v>
                </c:pt>
                <c:pt idx="402">
                  <c:v>4.1760954535999997E-2</c:v>
                </c:pt>
                <c:pt idx="403">
                  <c:v>4.2857142857E-2</c:v>
                </c:pt>
                <c:pt idx="404">
                  <c:v>3.9962476546999998E-2</c:v>
                </c:pt>
                <c:pt idx="405">
                  <c:v>3.8527988941999998E-2</c:v>
                </c:pt>
                <c:pt idx="406">
                  <c:v>4.1496384784000001E-2</c:v>
                </c:pt>
                <c:pt idx="407">
                  <c:v>4.1547061489000003E-2</c:v>
                </c:pt>
                <c:pt idx="408">
                  <c:v>4.1989279332000001E-2</c:v>
                </c:pt>
                <c:pt idx="409">
                  <c:v>4.0884820746999999E-2</c:v>
                </c:pt>
                <c:pt idx="410">
                  <c:v>4.2580034693999999E-2</c:v>
                </c:pt>
                <c:pt idx="411">
                  <c:v>4.5325010176999997E-2</c:v>
                </c:pt>
                <c:pt idx="412">
                  <c:v>4.6809038986000001E-2</c:v>
                </c:pt>
                <c:pt idx="413">
                  <c:v>4.5729896662000002E-2</c:v>
                </c:pt>
                <c:pt idx="414">
                  <c:v>4.3200179532999997E-2</c:v>
                </c:pt>
                <c:pt idx="415">
                  <c:v>4.4114615543000002E-2</c:v>
                </c:pt>
                <c:pt idx="416">
                  <c:v>4.3593130778999997E-2</c:v>
                </c:pt>
                <c:pt idx="417">
                  <c:v>4.4839000901999999E-2</c:v>
                </c:pt>
                <c:pt idx="418">
                  <c:v>4.6096959737000003E-2</c:v>
                </c:pt>
                <c:pt idx="419">
                  <c:v>4.3558587364999998E-2</c:v>
                </c:pt>
                <c:pt idx="420">
                  <c:v>4.1713997223000003E-2</c:v>
                </c:pt>
                <c:pt idx="421">
                  <c:v>4.0240106714000003E-2</c:v>
                </c:pt>
                <c:pt idx="422">
                  <c:v>3.9826002898999999E-2</c:v>
                </c:pt>
                <c:pt idx="423">
                  <c:v>3.7943131461999999E-2</c:v>
                </c:pt>
                <c:pt idx="424">
                  <c:v>3.8082878367E-2</c:v>
                </c:pt>
                <c:pt idx="425">
                  <c:v>3.9904013623000001E-2</c:v>
                </c:pt>
                <c:pt idx="426">
                  <c:v>3.7953293452999998E-2</c:v>
                </c:pt>
                <c:pt idx="427">
                  <c:v>3.7787989814999999E-2</c:v>
                </c:pt>
                <c:pt idx="428">
                  <c:v>3.7377561444E-2</c:v>
                </c:pt>
                <c:pt idx="429">
                  <c:v>3.9043959768999999E-2</c:v>
                </c:pt>
                <c:pt idx="430">
                  <c:v>3.8958528908000001E-2</c:v>
                </c:pt>
                <c:pt idx="431">
                  <c:v>4.1098913223000001E-2</c:v>
                </c:pt>
                <c:pt idx="432">
                  <c:v>4.3157594213E-2</c:v>
                </c:pt>
                <c:pt idx="433">
                  <c:v>4.0934446168000002E-2</c:v>
                </c:pt>
                <c:pt idx="434">
                  <c:v>4.1098313611999997E-2</c:v>
                </c:pt>
                <c:pt idx="435">
                  <c:v>4.0910535069999997E-2</c:v>
                </c:pt>
                <c:pt idx="436">
                  <c:v>4.1004656895999997E-2</c:v>
                </c:pt>
                <c:pt idx="437">
                  <c:v>4.0124672477000002E-2</c:v>
                </c:pt>
                <c:pt idx="438">
                  <c:v>4.1618599697999997E-2</c:v>
                </c:pt>
                <c:pt idx="439">
                  <c:v>4.2742115145000002E-2</c:v>
                </c:pt>
                <c:pt idx="440">
                  <c:v>3.9910037675000003E-2</c:v>
                </c:pt>
                <c:pt idx="441">
                  <c:v>3.9721121504999998E-2</c:v>
                </c:pt>
                <c:pt idx="442">
                  <c:v>3.9364046876000001E-2</c:v>
                </c:pt>
                <c:pt idx="443">
                  <c:v>3.8254774051000001E-2</c:v>
                </c:pt>
                <c:pt idx="444">
                  <c:v>3.8028415191000003E-2</c:v>
                </c:pt>
                <c:pt idx="445">
                  <c:v>3.8737320741000003E-2</c:v>
                </c:pt>
                <c:pt idx="446">
                  <c:v>4.0100674927999999E-2</c:v>
                </c:pt>
                <c:pt idx="447">
                  <c:v>3.6866495179000001E-2</c:v>
                </c:pt>
                <c:pt idx="448">
                  <c:v>3.5960659098000003E-2</c:v>
                </c:pt>
                <c:pt idx="449">
                  <c:v>3.6392857494000001E-2</c:v>
                </c:pt>
                <c:pt idx="450">
                  <c:v>3.5246930374999999E-2</c:v>
                </c:pt>
                <c:pt idx="451">
                  <c:v>3.4839693584999998E-2</c:v>
                </c:pt>
                <c:pt idx="452">
                  <c:v>3.4809036213000001E-2</c:v>
                </c:pt>
                <c:pt idx="453">
                  <c:v>3.6145170807999998E-2</c:v>
                </c:pt>
                <c:pt idx="454">
                  <c:v>3.3074942980000001E-2</c:v>
                </c:pt>
                <c:pt idx="455">
                  <c:v>3.3261794438000002E-2</c:v>
                </c:pt>
                <c:pt idx="456">
                  <c:v>3.2871104882999998E-2</c:v>
                </c:pt>
                <c:pt idx="457">
                  <c:v>3.1948735101999998E-2</c:v>
                </c:pt>
                <c:pt idx="458">
                  <c:v>3.2235123469000003E-2</c:v>
                </c:pt>
                <c:pt idx="459">
                  <c:v>3.2970323785999997E-2</c:v>
                </c:pt>
                <c:pt idx="460">
                  <c:v>3.3347008546999998E-2</c:v>
                </c:pt>
                <c:pt idx="461">
                  <c:v>3.1120534349000001E-2</c:v>
                </c:pt>
                <c:pt idx="462">
                  <c:v>3.0986785146E-2</c:v>
                </c:pt>
                <c:pt idx="463">
                  <c:v>3.1234331022E-2</c:v>
                </c:pt>
                <c:pt idx="464">
                  <c:v>3.1709575315000002E-2</c:v>
                </c:pt>
                <c:pt idx="465">
                  <c:v>3.2064652684000002E-2</c:v>
                </c:pt>
                <c:pt idx="466">
                  <c:v>3.2344098534999997E-2</c:v>
                </c:pt>
                <c:pt idx="467">
                  <c:v>3.3306155099999998E-2</c:v>
                </c:pt>
                <c:pt idx="468">
                  <c:v>3.1813289267999999E-2</c:v>
                </c:pt>
                <c:pt idx="469">
                  <c:v>3.2495440488000002E-2</c:v>
                </c:pt>
                <c:pt idx="470">
                  <c:v>3.3693728452999998E-2</c:v>
                </c:pt>
                <c:pt idx="471">
                  <c:v>3.4134253727999997E-2</c:v>
                </c:pt>
                <c:pt idx="472">
                  <c:v>3.4608605692999998E-2</c:v>
                </c:pt>
                <c:pt idx="473">
                  <c:v>3.5369016741000001E-2</c:v>
                </c:pt>
                <c:pt idx="474">
                  <c:v>3.6290283474999997E-2</c:v>
                </c:pt>
                <c:pt idx="475">
                  <c:v>3.3941231209E-2</c:v>
                </c:pt>
                <c:pt idx="476">
                  <c:v>3.5319767441000002E-2</c:v>
                </c:pt>
                <c:pt idx="477">
                  <c:v>3.6278623397999997E-2</c:v>
                </c:pt>
                <c:pt idx="478">
                  <c:v>3.6484835544999997E-2</c:v>
                </c:pt>
                <c:pt idx="479">
                  <c:v>3.5728499350999997E-2</c:v>
                </c:pt>
                <c:pt idx="480">
                  <c:v>3.6497960082999999E-2</c:v>
                </c:pt>
                <c:pt idx="481">
                  <c:v>3.6651389844000001E-2</c:v>
                </c:pt>
                <c:pt idx="482">
                  <c:v>3.411984824E-2</c:v>
                </c:pt>
                <c:pt idx="483">
                  <c:v>3.5907171132000003E-2</c:v>
                </c:pt>
                <c:pt idx="484">
                  <c:v>3.5355438332E-2</c:v>
                </c:pt>
                <c:pt idx="485">
                  <c:v>3.4938923561E-2</c:v>
                </c:pt>
                <c:pt idx="486">
                  <c:v>3.6759081228999999E-2</c:v>
                </c:pt>
                <c:pt idx="487">
                  <c:v>3.9212594878000002E-2</c:v>
                </c:pt>
                <c:pt idx="488">
                  <c:v>4.0658276862999998E-2</c:v>
                </c:pt>
                <c:pt idx="489">
                  <c:v>3.9294941244999999E-2</c:v>
                </c:pt>
                <c:pt idx="490">
                  <c:v>4.3299456393000001E-2</c:v>
                </c:pt>
                <c:pt idx="491">
                  <c:v>4.3249938071999998E-2</c:v>
                </c:pt>
                <c:pt idx="492">
                  <c:v>4.5149577709000001E-2</c:v>
                </c:pt>
                <c:pt idx="493">
                  <c:v>4.6337777296999998E-2</c:v>
                </c:pt>
                <c:pt idx="494">
                  <c:v>4.4913576988999997E-2</c:v>
                </c:pt>
                <c:pt idx="495">
                  <c:v>3.9945177620000001E-2</c:v>
                </c:pt>
                <c:pt idx="496">
                  <c:v>3.4930900252999997E-2</c:v>
                </c:pt>
                <c:pt idx="497">
                  <c:v>3.3309860657E-2</c:v>
                </c:pt>
                <c:pt idx="498">
                  <c:v>2.9845386955000001E-2</c:v>
                </c:pt>
                <c:pt idx="499">
                  <c:v>2.7847996353000001E-2</c:v>
                </c:pt>
                <c:pt idx="500">
                  <c:v>2.6849048213E-2</c:v>
                </c:pt>
                <c:pt idx="501">
                  <c:v>2.5563417726000001E-2</c:v>
                </c:pt>
                <c:pt idx="502">
                  <c:v>2.3579001618999999E-2</c:v>
                </c:pt>
                <c:pt idx="503">
                  <c:v>2.0418839038E-2</c:v>
                </c:pt>
                <c:pt idx="504">
                  <c:v>1.7719489732999999E-2</c:v>
                </c:pt>
                <c:pt idx="505">
                  <c:v>1.5045836577E-2</c:v>
                </c:pt>
                <c:pt idx="506">
                  <c:v>1.304510413E-2</c:v>
                </c:pt>
                <c:pt idx="507">
                  <c:v>1.1656756343999999E-2</c:v>
                </c:pt>
                <c:pt idx="508">
                  <c:v>1.0592602412E-2</c:v>
                </c:pt>
                <c:pt idx="509">
                  <c:v>9.7553105670000004E-3</c:v>
                </c:pt>
                <c:pt idx="510">
                  <c:v>8.1144789990000004E-3</c:v>
                </c:pt>
                <c:pt idx="511">
                  <c:v>7.6550380009999999E-3</c:v>
                </c:pt>
                <c:pt idx="512">
                  <c:v>7.4285594589999998E-3</c:v>
                </c:pt>
                <c:pt idx="513">
                  <c:v>7.3975253059999999E-3</c:v>
                </c:pt>
                <c:pt idx="514">
                  <c:v>7.3366403330000001E-3</c:v>
                </c:pt>
                <c:pt idx="515">
                  <c:v>7.5434843819999998E-3</c:v>
                </c:pt>
                <c:pt idx="516">
                  <c:v>8.0505977429999997E-3</c:v>
                </c:pt>
                <c:pt idx="517">
                  <c:v>7.9330585489999998E-3</c:v>
                </c:pt>
                <c:pt idx="518">
                  <c:v>8.0016979730000003E-3</c:v>
                </c:pt>
                <c:pt idx="519">
                  <c:v>8.2171151700000007E-3</c:v>
                </c:pt>
                <c:pt idx="520">
                  <c:v>8.3037714530000001E-3</c:v>
                </c:pt>
                <c:pt idx="521">
                  <c:v>8.4841298010000007E-3</c:v>
                </c:pt>
                <c:pt idx="522">
                  <c:v>8.8758751799999994E-3</c:v>
                </c:pt>
                <c:pt idx="523">
                  <c:v>9.6554546130000005E-3</c:v>
                </c:pt>
                <c:pt idx="524">
                  <c:v>9.5109007029999994E-3</c:v>
                </c:pt>
                <c:pt idx="525">
                  <c:v>9.9050256190000002E-3</c:v>
                </c:pt>
                <c:pt idx="526">
                  <c:v>1.0755743299E-2</c:v>
                </c:pt>
                <c:pt idx="527">
                  <c:v>1.1432607052999999E-2</c:v>
                </c:pt>
                <c:pt idx="528">
                  <c:v>1.2250676469999999E-2</c:v>
                </c:pt>
                <c:pt idx="529">
                  <c:v>1.2948340734999999E-2</c:v>
                </c:pt>
                <c:pt idx="530">
                  <c:v>1.4118954116999999E-2</c:v>
                </c:pt>
                <c:pt idx="531">
                  <c:v>1.3865673483E-2</c:v>
                </c:pt>
                <c:pt idx="532">
                  <c:v>1.5557664093000001E-2</c:v>
                </c:pt>
                <c:pt idx="533">
                  <c:v>1.6987537287000001E-2</c:v>
                </c:pt>
                <c:pt idx="534">
                  <c:v>1.8219969559000002E-2</c:v>
                </c:pt>
                <c:pt idx="535">
                  <c:v>1.8962641491E-2</c:v>
                </c:pt>
                <c:pt idx="536">
                  <c:v>2.0297305961E-2</c:v>
                </c:pt>
                <c:pt idx="537">
                  <c:v>2.1207953121999999E-2</c:v>
                </c:pt>
                <c:pt idx="538">
                  <c:v>2.0561990174999999E-2</c:v>
                </c:pt>
                <c:pt idx="539">
                  <c:v>2.2749311013000002E-2</c:v>
                </c:pt>
                <c:pt idx="540">
                  <c:v>2.3816007205E-2</c:v>
                </c:pt>
                <c:pt idx="541">
                  <c:v>2.4471047185000001E-2</c:v>
                </c:pt>
                <c:pt idx="542">
                  <c:v>2.535566868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do_7_dne_7dni_shift7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8.6427474899999999E-3</c:v>
                </c:pt>
                <c:pt idx="1">
                  <c:v>-6.1731142990000001E-2</c:v>
                </c:pt>
                <c:pt idx="2">
                  <c:v>-6.3849271299999996E-2</c:v>
                </c:pt>
                <c:pt idx="3">
                  <c:v>-0.12484618539</c:v>
                </c:pt>
                <c:pt idx="4">
                  <c:v>-0.15345071684</c:v>
                </c:pt>
                <c:pt idx="5">
                  <c:v>-2.721811461E-2</c:v>
                </c:pt>
                <c:pt idx="6">
                  <c:v>-1.17416091E-2</c:v>
                </c:pt>
                <c:pt idx="7">
                  <c:v>-2.5885404900000001E-3</c:v>
                </c:pt>
                <c:pt idx="8">
                  <c:v>7.0734401579999995E-2</c:v>
                </c:pt>
                <c:pt idx="9">
                  <c:v>4.5785186110000001E-2</c:v>
                </c:pt>
                <c:pt idx="10">
                  <c:v>0.13644777637</c:v>
                </c:pt>
                <c:pt idx="11">
                  <c:v>-3.1696999169999997E-2</c:v>
                </c:pt>
                <c:pt idx="12">
                  <c:v>6.8911823950000006E-2</c:v>
                </c:pt>
                <c:pt idx="13">
                  <c:v>-6.1558685439999997E-2</c:v>
                </c:pt>
                <c:pt idx="14">
                  <c:v>-0.14857196088999999</c:v>
                </c:pt>
                <c:pt idx="15">
                  <c:v>-0.16322461838999999</c:v>
                </c:pt>
                <c:pt idx="16">
                  <c:v>-0.23946090953999999</c:v>
                </c:pt>
                <c:pt idx="17">
                  <c:v>-0.23592952141000001</c:v>
                </c:pt>
                <c:pt idx="18">
                  <c:v>-0.31213155662999997</c:v>
                </c:pt>
                <c:pt idx="19">
                  <c:v>-0.19096731471</c:v>
                </c:pt>
                <c:pt idx="20">
                  <c:v>-8.9021763219999994E-2</c:v>
                </c:pt>
                <c:pt idx="21">
                  <c:v>3.5360913450000003E-2</c:v>
                </c:pt>
                <c:pt idx="22">
                  <c:v>0.16815068976</c:v>
                </c:pt>
                <c:pt idx="23">
                  <c:v>0.22377029211999999</c:v>
                </c:pt>
                <c:pt idx="24">
                  <c:v>0.20595418516</c:v>
                </c:pt>
                <c:pt idx="25">
                  <c:v>0.2164092219</c:v>
                </c:pt>
                <c:pt idx="26">
                  <c:v>0.17270809951999999</c:v>
                </c:pt>
                <c:pt idx="27">
                  <c:v>0.15668218844000001</c:v>
                </c:pt>
                <c:pt idx="28">
                  <c:v>5.5177382720000001E-2</c:v>
                </c:pt>
                <c:pt idx="29">
                  <c:v>9.7284203499999999E-2</c:v>
                </c:pt>
                <c:pt idx="30">
                  <c:v>0.11838822138000001</c:v>
                </c:pt>
                <c:pt idx="31">
                  <c:v>9.7116488850000002E-2</c:v>
                </c:pt>
                <c:pt idx="32">
                  <c:v>0.16710705418999999</c:v>
                </c:pt>
                <c:pt idx="33">
                  <c:v>0.20825389553000001</c:v>
                </c:pt>
                <c:pt idx="34">
                  <c:v>0.33258187849999998</c:v>
                </c:pt>
                <c:pt idx="35">
                  <c:v>0.30671426728000001</c:v>
                </c:pt>
                <c:pt idx="36">
                  <c:v>0.35331871662999997</c:v>
                </c:pt>
                <c:pt idx="37">
                  <c:v>0.32627437882999999</c:v>
                </c:pt>
                <c:pt idx="38">
                  <c:v>0.27628806018000002</c:v>
                </c:pt>
                <c:pt idx="39">
                  <c:v>0.26913357935999999</c:v>
                </c:pt>
                <c:pt idx="40">
                  <c:v>0.25218479706000002</c:v>
                </c:pt>
                <c:pt idx="41">
                  <c:v>0.16784492802000001</c:v>
                </c:pt>
                <c:pt idx="42">
                  <c:v>0.10214229459</c:v>
                </c:pt>
                <c:pt idx="43">
                  <c:v>8.5318209330000006E-2</c:v>
                </c:pt>
                <c:pt idx="44">
                  <c:v>9.8776251099999997E-3</c:v>
                </c:pt>
                <c:pt idx="45">
                  <c:v>-3.1370343119999998E-2</c:v>
                </c:pt>
                <c:pt idx="46">
                  <c:v>-5.374672086E-2</c:v>
                </c:pt>
                <c:pt idx="47">
                  <c:v>1.6387477000000001E-4</c:v>
                </c:pt>
                <c:pt idx="48">
                  <c:v>-3.3449648380000002E-2</c:v>
                </c:pt>
                <c:pt idx="49">
                  <c:v>-6.6233261870000004E-2</c:v>
                </c:pt>
                <c:pt idx="50">
                  <c:v>-6.7389284879999997E-2</c:v>
                </c:pt>
                <c:pt idx="51">
                  <c:v>-0.10073222795</c:v>
                </c:pt>
                <c:pt idx="52">
                  <c:v>-0.11807297044999999</c:v>
                </c:pt>
                <c:pt idx="53">
                  <c:v>-0.11873248637</c:v>
                </c:pt>
                <c:pt idx="54">
                  <c:v>-3.9819969529999999E-2</c:v>
                </c:pt>
                <c:pt idx="55">
                  <c:v>-3.8298713560000003E-2</c:v>
                </c:pt>
                <c:pt idx="56">
                  <c:v>3.0332227100000001E-3</c:v>
                </c:pt>
                <c:pt idx="57">
                  <c:v>3.7649253780000003E-2</c:v>
                </c:pt>
                <c:pt idx="58">
                  <c:v>2.5015305700000001E-2</c:v>
                </c:pt>
                <c:pt idx="59">
                  <c:v>6.7568109899999998E-3</c:v>
                </c:pt>
                <c:pt idx="60">
                  <c:v>-2.0484712599999999E-3</c:v>
                </c:pt>
                <c:pt idx="61">
                  <c:v>5.9148585009999997E-2</c:v>
                </c:pt>
                <c:pt idx="62">
                  <c:v>2.104626226E-2</c:v>
                </c:pt>
                <c:pt idx="63">
                  <c:v>1.654893441E-2</c:v>
                </c:pt>
                <c:pt idx="64">
                  <c:v>3.067927983E-2</c:v>
                </c:pt>
                <c:pt idx="65">
                  <c:v>4.6352608259999997E-2</c:v>
                </c:pt>
                <c:pt idx="66">
                  <c:v>3.3290872610000001E-2</c:v>
                </c:pt>
                <c:pt idx="67">
                  <c:v>2.7579291320000001E-2</c:v>
                </c:pt>
                <c:pt idx="68">
                  <c:v>9.1994636229999996E-2</c:v>
                </c:pt>
                <c:pt idx="69">
                  <c:v>8.4191737500000002E-2</c:v>
                </c:pt>
                <c:pt idx="70">
                  <c:v>4.7116301069999998E-2</c:v>
                </c:pt>
                <c:pt idx="71">
                  <c:v>3.4611151040000003E-2</c:v>
                </c:pt>
                <c:pt idx="72">
                  <c:v>1.6222341769999999E-2</c:v>
                </c:pt>
                <c:pt idx="73">
                  <c:v>-9.46156932E-3</c:v>
                </c:pt>
                <c:pt idx="74">
                  <c:v>-1.29409448E-3</c:v>
                </c:pt>
                <c:pt idx="75">
                  <c:v>4.033187287E-2</c:v>
                </c:pt>
                <c:pt idx="76">
                  <c:v>3.1435796240000001E-2</c:v>
                </c:pt>
                <c:pt idx="77">
                  <c:v>1.9433648979999999E-2</c:v>
                </c:pt>
                <c:pt idx="78">
                  <c:v>9.5605692150000005E-2</c:v>
                </c:pt>
                <c:pt idx="79">
                  <c:v>0.1498347401</c:v>
                </c:pt>
                <c:pt idx="80">
                  <c:v>0.15906829123999999</c:v>
                </c:pt>
                <c:pt idx="81">
                  <c:v>0.17862514659000001</c:v>
                </c:pt>
                <c:pt idx="82">
                  <c:v>0.25574726733000003</c:v>
                </c:pt>
                <c:pt idx="83">
                  <c:v>0.2351978143</c:v>
                </c:pt>
                <c:pt idx="84">
                  <c:v>0.19225990325</c:v>
                </c:pt>
                <c:pt idx="85">
                  <c:v>0.13089489004999999</c:v>
                </c:pt>
                <c:pt idx="86">
                  <c:v>7.7751116420000002E-2</c:v>
                </c:pt>
                <c:pt idx="87">
                  <c:v>2.7186998569999999E-2</c:v>
                </c:pt>
                <c:pt idx="88">
                  <c:v>1.745744778E-2</c:v>
                </c:pt>
                <c:pt idx="89">
                  <c:v>3.8128975080000002E-2</c:v>
                </c:pt>
                <c:pt idx="90">
                  <c:v>-3.2098470189999999E-2</c:v>
                </c:pt>
                <c:pt idx="91">
                  <c:v>-1.9870984590000002E-2</c:v>
                </c:pt>
                <c:pt idx="92">
                  <c:v>-5.0529562299999999E-3</c:v>
                </c:pt>
                <c:pt idx="93">
                  <c:v>9.2096707099999994E-3</c:v>
                </c:pt>
                <c:pt idx="94">
                  <c:v>1.1118656080000001E-2</c:v>
                </c:pt>
                <c:pt idx="95">
                  <c:v>4.9356165709999997E-2</c:v>
                </c:pt>
                <c:pt idx="96">
                  <c:v>0.1150912442</c:v>
                </c:pt>
                <c:pt idx="97">
                  <c:v>9.4314034039999994E-2</c:v>
                </c:pt>
                <c:pt idx="98">
                  <c:v>8.3415033799999996E-2</c:v>
                </c:pt>
                <c:pt idx="99">
                  <c:v>6.8392592730000007E-2</c:v>
                </c:pt>
                <c:pt idx="100">
                  <c:v>1.484425889E-2</c:v>
                </c:pt>
                <c:pt idx="101">
                  <c:v>-8.5580444499999998E-3</c:v>
                </c:pt>
                <c:pt idx="102">
                  <c:v>1.0838073599999999E-2</c:v>
                </c:pt>
                <c:pt idx="103">
                  <c:v>2.8239442489999999E-2</c:v>
                </c:pt>
                <c:pt idx="104">
                  <c:v>-2.0027750449999999E-2</c:v>
                </c:pt>
                <c:pt idx="105">
                  <c:v>-4.0371978119999999E-2</c:v>
                </c:pt>
                <c:pt idx="106">
                  <c:v>-3.097648087E-2</c:v>
                </c:pt>
                <c:pt idx="107">
                  <c:v>-9.1413616180000004E-2</c:v>
                </c:pt>
                <c:pt idx="108">
                  <c:v>-0.14010074839</c:v>
                </c:pt>
                <c:pt idx="109">
                  <c:v>-0.13499549113000001</c:v>
                </c:pt>
                <c:pt idx="110">
                  <c:v>-7.4672053560000007E-2</c:v>
                </c:pt>
                <c:pt idx="111">
                  <c:v>-0.12697232290999999</c:v>
                </c:pt>
                <c:pt idx="112">
                  <c:v>-0.15354327574000001</c:v>
                </c:pt>
                <c:pt idx="113">
                  <c:v>-0.15081647256</c:v>
                </c:pt>
                <c:pt idx="114">
                  <c:v>-0.18481158904</c:v>
                </c:pt>
                <c:pt idx="115">
                  <c:v>-0.19827851136999999</c:v>
                </c:pt>
                <c:pt idx="116">
                  <c:v>-0.20590038734999999</c:v>
                </c:pt>
                <c:pt idx="117">
                  <c:v>-0.15031325784999999</c:v>
                </c:pt>
                <c:pt idx="118">
                  <c:v>-0.19129891093000001</c:v>
                </c:pt>
                <c:pt idx="119">
                  <c:v>-0.21622874446000001</c:v>
                </c:pt>
                <c:pt idx="120">
                  <c:v>-0.18252083698999999</c:v>
                </c:pt>
                <c:pt idx="121">
                  <c:v>-0.13607346121</c:v>
                </c:pt>
                <c:pt idx="122">
                  <c:v>-6.9203033760000005E-2</c:v>
                </c:pt>
                <c:pt idx="123">
                  <c:v>1.7075543209999999E-2</c:v>
                </c:pt>
                <c:pt idx="124">
                  <c:v>0.12825449189999999</c:v>
                </c:pt>
                <c:pt idx="125">
                  <c:v>0.14327904178</c:v>
                </c:pt>
                <c:pt idx="126">
                  <c:v>0.1336280708</c:v>
                </c:pt>
                <c:pt idx="127">
                  <c:v>0.12369281606</c:v>
                </c:pt>
                <c:pt idx="128">
                  <c:v>7.6470530290000005E-2</c:v>
                </c:pt>
                <c:pt idx="129">
                  <c:v>1.929356946E-2</c:v>
                </c:pt>
                <c:pt idx="130">
                  <c:v>-9.1430663400000004E-3</c:v>
                </c:pt>
                <c:pt idx="131">
                  <c:v>7.9865858800000009E-3</c:v>
                </c:pt>
                <c:pt idx="132">
                  <c:v>-7.3079402199999997E-3</c:v>
                </c:pt>
                <c:pt idx="133">
                  <c:v>-5.5836262490000003E-2</c:v>
                </c:pt>
                <c:pt idx="134">
                  <c:v>-8.7111040979999999E-2</c:v>
                </c:pt>
                <c:pt idx="135">
                  <c:v>-0.10652897231</c:v>
                </c:pt>
                <c:pt idx="136">
                  <c:v>-0.11498017452000001</c:v>
                </c:pt>
                <c:pt idx="137">
                  <c:v>-0.10902035743000001</c:v>
                </c:pt>
                <c:pt idx="138">
                  <c:v>-8.2121026809999997E-2</c:v>
                </c:pt>
                <c:pt idx="139">
                  <c:v>-7.0043591210000006E-2</c:v>
                </c:pt>
                <c:pt idx="140">
                  <c:v>-7.9141901279999996E-2</c:v>
                </c:pt>
                <c:pt idx="141">
                  <c:v>-4.5490065170000003E-2</c:v>
                </c:pt>
                <c:pt idx="142">
                  <c:v>3.3579023199999999E-3</c:v>
                </c:pt>
                <c:pt idx="143">
                  <c:v>7.1211159349999997E-2</c:v>
                </c:pt>
                <c:pt idx="144">
                  <c:v>0.10848669387</c:v>
                </c:pt>
                <c:pt idx="145">
                  <c:v>0.11834966138</c:v>
                </c:pt>
                <c:pt idx="146">
                  <c:v>0.10337907257999999</c:v>
                </c:pt>
                <c:pt idx="147">
                  <c:v>6.8520346600000004E-2</c:v>
                </c:pt>
                <c:pt idx="148">
                  <c:v>7.7943291109999993E-2</c:v>
                </c:pt>
                <c:pt idx="149">
                  <c:v>5.2467625560000002E-2</c:v>
                </c:pt>
                <c:pt idx="150">
                  <c:v>5.4338716129999999E-2</c:v>
                </c:pt>
                <c:pt idx="151">
                  <c:v>8.0536807759999995E-2</c:v>
                </c:pt>
                <c:pt idx="152">
                  <c:v>8.4819191500000002E-2</c:v>
                </c:pt>
                <c:pt idx="153">
                  <c:v>4.7783687089999999E-2</c:v>
                </c:pt>
                <c:pt idx="154">
                  <c:v>1.869320843E-2</c:v>
                </c:pt>
                <c:pt idx="155">
                  <c:v>2.082185542E-2</c:v>
                </c:pt>
                <c:pt idx="156">
                  <c:v>-1.531057949E-2</c:v>
                </c:pt>
                <c:pt idx="157">
                  <c:v>-2.8760395840000001E-2</c:v>
                </c:pt>
                <c:pt idx="158">
                  <c:v>5.24926421E-3</c:v>
                </c:pt>
                <c:pt idx="159">
                  <c:v>5.0698500549999997E-2</c:v>
                </c:pt>
                <c:pt idx="160">
                  <c:v>4.0230363620000001E-2</c:v>
                </c:pt>
                <c:pt idx="161">
                  <c:v>1.4916082190000001E-2</c:v>
                </c:pt>
                <c:pt idx="162">
                  <c:v>2.265721763E-2</c:v>
                </c:pt>
                <c:pt idx="163">
                  <c:v>-3.5591885699999999E-3</c:v>
                </c:pt>
                <c:pt idx="164">
                  <c:v>-9.5277328499999998E-3</c:v>
                </c:pt>
                <c:pt idx="165">
                  <c:v>4.37234515E-3</c:v>
                </c:pt>
                <c:pt idx="166">
                  <c:v>-1.6108390760000001E-2</c:v>
                </c:pt>
                <c:pt idx="167">
                  <c:v>-4.3020530199999997E-2</c:v>
                </c:pt>
                <c:pt idx="168">
                  <c:v>-6.126390231E-2</c:v>
                </c:pt>
                <c:pt idx="169">
                  <c:v>-3.2099899950000003E-2</c:v>
                </c:pt>
                <c:pt idx="170">
                  <c:v>-5.8415899969999997E-2</c:v>
                </c:pt>
                <c:pt idx="171">
                  <c:v>-7.5626841919999993E-2</c:v>
                </c:pt>
                <c:pt idx="172">
                  <c:v>-2.9697243139999999E-2</c:v>
                </c:pt>
                <c:pt idx="173">
                  <c:v>1.209965851E-2</c:v>
                </c:pt>
                <c:pt idx="174">
                  <c:v>2.7043540370000001E-2</c:v>
                </c:pt>
                <c:pt idx="175">
                  <c:v>-5.0921847400000001E-3</c:v>
                </c:pt>
                <c:pt idx="176">
                  <c:v>-2.1162101700000001E-3</c:v>
                </c:pt>
                <c:pt idx="177">
                  <c:v>-1.2386653589999999E-2</c:v>
                </c:pt>
                <c:pt idx="178">
                  <c:v>-1.7225493639999999E-2</c:v>
                </c:pt>
                <c:pt idx="179">
                  <c:v>8.1387344900000005E-3</c:v>
                </c:pt>
                <c:pt idx="180">
                  <c:v>-1.18140504E-3</c:v>
                </c:pt>
                <c:pt idx="181">
                  <c:v>-4.7270184260000001E-2</c:v>
                </c:pt>
                <c:pt idx="182">
                  <c:v>-4.8981794709999998E-2</c:v>
                </c:pt>
                <c:pt idx="183">
                  <c:v>-4.9580378160000001E-2</c:v>
                </c:pt>
                <c:pt idx="184">
                  <c:v>-7.228954001E-2</c:v>
                </c:pt>
                <c:pt idx="185">
                  <c:v>-9.5015346479999999E-2</c:v>
                </c:pt>
                <c:pt idx="186">
                  <c:v>-7.2257062839999997E-2</c:v>
                </c:pt>
                <c:pt idx="187">
                  <c:v>-1.0343907039999999E-2</c:v>
                </c:pt>
                <c:pt idx="188">
                  <c:v>-2.707660957E-2</c:v>
                </c:pt>
                <c:pt idx="189">
                  <c:v>-1.9421442149999999E-2</c:v>
                </c:pt>
                <c:pt idx="190">
                  <c:v>-2.4186684930000001E-2</c:v>
                </c:pt>
                <c:pt idx="191">
                  <c:v>-3.4503594630000002E-2</c:v>
                </c:pt>
                <c:pt idx="192">
                  <c:v>-2.6259416210000001E-2</c:v>
                </c:pt>
                <c:pt idx="193">
                  <c:v>-5.2669906999999998E-3</c:v>
                </c:pt>
                <c:pt idx="194">
                  <c:v>2.7326966080000001E-2</c:v>
                </c:pt>
                <c:pt idx="195">
                  <c:v>-2.9073243549999999E-2</c:v>
                </c:pt>
                <c:pt idx="196">
                  <c:v>-2.244751419E-2</c:v>
                </c:pt>
                <c:pt idx="197">
                  <c:v>2.7647998700000001E-3</c:v>
                </c:pt>
                <c:pt idx="198">
                  <c:v>1.717605178E-2</c:v>
                </c:pt>
                <c:pt idx="199">
                  <c:v>1.346623691E-2</c:v>
                </c:pt>
                <c:pt idx="200">
                  <c:v>3.234964748E-2</c:v>
                </c:pt>
                <c:pt idx="201">
                  <c:v>7.5521354720000003E-2</c:v>
                </c:pt>
                <c:pt idx="202">
                  <c:v>5.2754866130000001E-2</c:v>
                </c:pt>
                <c:pt idx="203">
                  <c:v>7.3380751359999996E-2</c:v>
                </c:pt>
                <c:pt idx="204">
                  <c:v>5.9279657710000003E-2</c:v>
                </c:pt>
                <c:pt idx="205">
                  <c:v>3.5342433819999998E-2</c:v>
                </c:pt>
                <c:pt idx="206">
                  <c:v>2.4032014890000002E-2</c:v>
                </c:pt>
                <c:pt idx="207">
                  <c:v>5.3974200649999998E-2</c:v>
                </c:pt>
                <c:pt idx="208">
                  <c:v>8.9824069840000006E-2</c:v>
                </c:pt>
                <c:pt idx="209">
                  <c:v>3.7889863060000001E-2</c:v>
                </c:pt>
                <c:pt idx="210">
                  <c:v>4.9011022949999997E-2</c:v>
                </c:pt>
                <c:pt idx="211">
                  <c:v>6.9992273869999996E-2</c:v>
                </c:pt>
                <c:pt idx="212">
                  <c:v>9.2550242330000004E-2</c:v>
                </c:pt>
                <c:pt idx="213">
                  <c:v>0.1165441395</c:v>
                </c:pt>
                <c:pt idx="214">
                  <c:v>0.13355299381999999</c:v>
                </c:pt>
                <c:pt idx="215">
                  <c:v>0.16182049668000001</c:v>
                </c:pt>
                <c:pt idx="216">
                  <c:v>9.2753320070000006E-2</c:v>
                </c:pt>
                <c:pt idx="217">
                  <c:v>9.8573403379999994E-2</c:v>
                </c:pt>
                <c:pt idx="218">
                  <c:v>7.4231193289999997E-2</c:v>
                </c:pt>
                <c:pt idx="219">
                  <c:v>3.5017610540000001E-2</c:v>
                </c:pt>
                <c:pt idx="220">
                  <c:v>5.5092450920000001E-2</c:v>
                </c:pt>
                <c:pt idx="221">
                  <c:v>6.9151084759999995E-2</c:v>
                </c:pt>
                <c:pt idx="222">
                  <c:v>0.11659408504</c:v>
                </c:pt>
                <c:pt idx="223">
                  <c:v>8.1481004029999998E-2</c:v>
                </c:pt>
                <c:pt idx="224">
                  <c:v>9.1579221959999998E-2</c:v>
                </c:pt>
                <c:pt idx="225">
                  <c:v>7.632572051E-2</c:v>
                </c:pt>
                <c:pt idx="226">
                  <c:v>4.1640316259999997E-2</c:v>
                </c:pt>
                <c:pt idx="227">
                  <c:v>5.1899013619999997E-2</c:v>
                </c:pt>
                <c:pt idx="228">
                  <c:v>3.7927219800000002E-2</c:v>
                </c:pt>
                <c:pt idx="229">
                  <c:v>6.9820014799999996E-3</c:v>
                </c:pt>
                <c:pt idx="230">
                  <c:v>-7.8797565740000006E-2</c:v>
                </c:pt>
                <c:pt idx="231">
                  <c:v>-7.5079128280000004E-2</c:v>
                </c:pt>
                <c:pt idx="232">
                  <c:v>-4.8409762580000001E-2</c:v>
                </c:pt>
                <c:pt idx="233">
                  <c:v>-4.2138506639999997E-2</c:v>
                </c:pt>
                <c:pt idx="234">
                  <c:v>-1.2564025599999999E-3</c:v>
                </c:pt>
                <c:pt idx="235">
                  <c:v>3.062470762E-2</c:v>
                </c:pt>
                <c:pt idx="236">
                  <c:v>7.3759585360000005E-2</c:v>
                </c:pt>
                <c:pt idx="237">
                  <c:v>6.9298323580000001E-2</c:v>
                </c:pt>
                <c:pt idx="238">
                  <c:v>8.3141814009999995E-2</c:v>
                </c:pt>
                <c:pt idx="239">
                  <c:v>3.8963360959999999E-2</c:v>
                </c:pt>
                <c:pt idx="240">
                  <c:v>-2.978318479E-2</c:v>
                </c:pt>
                <c:pt idx="241">
                  <c:v>-2.630270627E-2</c:v>
                </c:pt>
                <c:pt idx="242">
                  <c:v>7.7066799999999999E-5</c:v>
                </c:pt>
                <c:pt idx="243">
                  <c:v>-1.2707335199999999E-3</c:v>
                </c:pt>
                <c:pt idx="244">
                  <c:v>-7.5790672160000003E-2</c:v>
                </c:pt>
                <c:pt idx="245">
                  <c:v>-5.463292032E-2</c:v>
                </c:pt>
                <c:pt idx="246">
                  <c:v>-4.1857476079999997E-2</c:v>
                </c:pt>
                <c:pt idx="247">
                  <c:v>-5.7257955319999998E-2</c:v>
                </c:pt>
                <c:pt idx="248">
                  <c:v>-2.62398176E-2</c:v>
                </c:pt>
                <c:pt idx="249">
                  <c:v>1.897644746E-2</c:v>
                </c:pt>
                <c:pt idx="250">
                  <c:v>2.7513680200000001E-2</c:v>
                </c:pt>
                <c:pt idx="251">
                  <c:v>-3.096212097E-2</c:v>
                </c:pt>
                <c:pt idx="252">
                  <c:v>-7.6659814399999996E-3</c:v>
                </c:pt>
                <c:pt idx="253">
                  <c:v>1.531583156E-2</c:v>
                </c:pt>
                <c:pt idx="254">
                  <c:v>-4.1475318609999999E-2</c:v>
                </c:pt>
                <c:pt idx="255">
                  <c:v>-6.8325587229999998E-2</c:v>
                </c:pt>
                <c:pt idx="256">
                  <c:v>-3.1564334669999999E-2</c:v>
                </c:pt>
                <c:pt idx="257">
                  <c:v>-4.8266911800000003E-3</c:v>
                </c:pt>
                <c:pt idx="258">
                  <c:v>-2.9059040590000002E-2</c:v>
                </c:pt>
                <c:pt idx="259">
                  <c:v>-1.9088267879999999E-2</c:v>
                </c:pt>
                <c:pt idx="260">
                  <c:v>1.2792073169999999E-2</c:v>
                </c:pt>
                <c:pt idx="261">
                  <c:v>-4.5199215709999997E-2</c:v>
                </c:pt>
                <c:pt idx="262">
                  <c:v>-1.9799598910000001E-2</c:v>
                </c:pt>
                <c:pt idx="263">
                  <c:v>9.5911347700000007E-3</c:v>
                </c:pt>
                <c:pt idx="264">
                  <c:v>-4.0374650640000002E-2</c:v>
                </c:pt>
                <c:pt idx="265">
                  <c:v>-0.10979565963</c:v>
                </c:pt>
                <c:pt idx="266">
                  <c:v>-0.10529514991</c:v>
                </c:pt>
                <c:pt idx="267">
                  <c:v>-3.8770070769999998E-2</c:v>
                </c:pt>
                <c:pt idx="268">
                  <c:v>-0.1078264957</c:v>
                </c:pt>
                <c:pt idx="269">
                  <c:v>-8.7147728640000005E-2</c:v>
                </c:pt>
                <c:pt idx="270">
                  <c:v>-2.2980745649999999E-2</c:v>
                </c:pt>
                <c:pt idx="271">
                  <c:v>-6.8802357399999998E-3</c:v>
                </c:pt>
                <c:pt idx="272">
                  <c:v>9.7998280700000006E-3</c:v>
                </c:pt>
                <c:pt idx="273">
                  <c:v>5.8506174799999996E-3</c:v>
                </c:pt>
                <c:pt idx="274">
                  <c:v>-1.091155443E-2</c:v>
                </c:pt>
                <c:pt idx="275">
                  <c:v>-7.0047433729999997E-2</c:v>
                </c:pt>
                <c:pt idx="276">
                  <c:v>-6.1873661269999998E-2</c:v>
                </c:pt>
                <c:pt idx="277">
                  <c:v>-2.5267707859999999E-2</c:v>
                </c:pt>
                <c:pt idx="278">
                  <c:v>-5.7048031950000001E-2</c:v>
                </c:pt>
                <c:pt idx="279">
                  <c:v>-8.4816886359999996E-2</c:v>
                </c:pt>
                <c:pt idx="280">
                  <c:v>-9.6672974810000006E-2</c:v>
                </c:pt>
                <c:pt idx="281">
                  <c:v>-0.1714338547</c:v>
                </c:pt>
                <c:pt idx="282">
                  <c:v>-0.14549102642</c:v>
                </c:pt>
                <c:pt idx="283">
                  <c:v>-0.16347439324999999</c:v>
                </c:pt>
                <c:pt idx="284">
                  <c:v>-0.16913472964000001</c:v>
                </c:pt>
                <c:pt idx="285">
                  <c:v>-0.18754695900000001</c:v>
                </c:pt>
                <c:pt idx="286">
                  <c:v>-0.26564179982000002</c:v>
                </c:pt>
                <c:pt idx="287">
                  <c:v>-0.1880025562</c:v>
                </c:pt>
                <c:pt idx="288">
                  <c:v>-0.19873903508999999</c:v>
                </c:pt>
                <c:pt idx="289">
                  <c:v>-0.15270064925999999</c:v>
                </c:pt>
                <c:pt idx="290">
                  <c:v>-0.17840193704999999</c:v>
                </c:pt>
                <c:pt idx="291">
                  <c:v>-0.17731363405</c:v>
                </c:pt>
                <c:pt idx="292">
                  <c:v>-3.285849951E-2</c:v>
                </c:pt>
                <c:pt idx="293">
                  <c:v>-6.4801955440000003E-2</c:v>
                </c:pt>
                <c:pt idx="294">
                  <c:v>0.23943661972999999</c:v>
                </c:pt>
                <c:pt idx="295">
                  <c:v>0.19892905782</c:v>
                </c:pt>
                <c:pt idx="296">
                  <c:v>0.2403686827</c:v>
                </c:pt>
                <c:pt idx="297">
                  <c:v>0.34004315757999998</c:v>
                </c:pt>
                <c:pt idx="298">
                  <c:v>0.29093750001000002</c:v>
                </c:pt>
                <c:pt idx="299">
                  <c:v>0.27059874318999999</c:v>
                </c:pt>
                <c:pt idx="300">
                  <c:v>-0.10335871025</c:v>
                </c:pt>
                <c:pt idx="301">
                  <c:v>-5.7627603899999998E-3</c:v>
                </c:pt>
                <c:pt idx="302">
                  <c:v>-0.28858272340000002</c:v>
                </c:pt>
                <c:pt idx="303">
                  <c:v>-0.35681917212000003</c:v>
                </c:pt>
                <c:pt idx="304">
                  <c:v>-0.33619281046999999</c:v>
                </c:pt>
                <c:pt idx="305">
                  <c:v>-0.37334912794000003</c:v>
                </c:pt>
                <c:pt idx="306">
                  <c:v>-0.32199406234</c:v>
                </c:pt>
                <c:pt idx="307">
                  <c:v>-0.48028368794999998</c:v>
                </c:pt>
                <c:pt idx="308">
                  <c:v>-0.22698434126</c:v>
                </c:pt>
                <c:pt idx="309">
                  <c:v>-0.34468741238</c:v>
                </c:pt>
                <c:pt idx="310">
                  <c:v>-0.35481043173999999</c:v>
                </c:pt>
                <c:pt idx="311">
                  <c:v>-0.33334720200000001</c:v>
                </c:pt>
                <c:pt idx="312">
                  <c:v>-0.41394936795999998</c:v>
                </c:pt>
                <c:pt idx="313">
                  <c:v>-0.31994818654000001</c:v>
                </c:pt>
                <c:pt idx="314">
                  <c:v>-0.48800884648999998</c:v>
                </c:pt>
                <c:pt idx="315">
                  <c:v>-0.27272727274000003</c:v>
                </c:pt>
                <c:pt idx="316">
                  <c:v>-0.39001705661000002</c:v>
                </c:pt>
                <c:pt idx="317">
                  <c:v>-0.287661895</c:v>
                </c:pt>
                <c:pt idx="318">
                  <c:v>-0.14614071039000001</c:v>
                </c:pt>
                <c:pt idx="319">
                  <c:v>-7.9110602119999998E-2</c:v>
                </c:pt>
                <c:pt idx="320">
                  <c:v>0.23761503064</c:v>
                </c:pt>
                <c:pt idx="321">
                  <c:v>4.5803620429999997E-2</c:v>
                </c:pt>
                <c:pt idx="322">
                  <c:v>0.37157360411000001</c:v>
                </c:pt>
                <c:pt idx="323">
                  <c:v>0.24353029169000001</c:v>
                </c:pt>
                <c:pt idx="324">
                  <c:v>0.17501375894000001</c:v>
                </c:pt>
                <c:pt idx="325">
                  <c:v>2.7271721089999999E-2</c:v>
                </c:pt>
                <c:pt idx="326">
                  <c:v>-9.9921629899999993E-3</c:v>
                </c:pt>
                <c:pt idx="327">
                  <c:v>0.12841327107</c:v>
                </c:pt>
                <c:pt idx="328">
                  <c:v>-1.1394497619999999E-2</c:v>
                </c:pt>
                <c:pt idx="329">
                  <c:v>0.12854516806999999</c:v>
                </c:pt>
                <c:pt idx="330">
                  <c:v>8.5910652919999997E-2</c:v>
                </c:pt>
                <c:pt idx="331">
                  <c:v>0.29156399886000001</c:v>
                </c:pt>
                <c:pt idx="332">
                  <c:v>0.27981901552999999</c:v>
                </c:pt>
                <c:pt idx="333">
                  <c:v>0.26678884922000001</c:v>
                </c:pt>
                <c:pt idx="334">
                  <c:v>0.48646005719000002</c:v>
                </c:pt>
                <c:pt idx="335">
                  <c:v>0.33945209287</c:v>
                </c:pt>
                <c:pt idx="336">
                  <c:v>0.43005714288000002</c:v>
                </c:pt>
                <c:pt idx="337">
                  <c:v>0.28597443404</c:v>
                </c:pt>
                <c:pt idx="338">
                  <c:v>0.36057616104000001</c:v>
                </c:pt>
                <c:pt idx="339">
                  <c:v>0.26819131162999998</c:v>
                </c:pt>
                <c:pt idx="340">
                  <c:v>0.19278273812999999</c:v>
                </c:pt>
                <c:pt idx="341">
                  <c:v>0.29190174763999999</c:v>
                </c:pt>
                <c:pt idx="342">
                  <c:v>5.1015982109999997E-2</c:v>
                </c:pt>
                <c:pt idx="343">
                  <c:v>1.6120479359999999E-2</c:v>
                </c:pt>
                <c:pt idx="344">
                  <c:v>-5.4216225829999999E-2</c:v>
                </c:pt>
                <c:pt idx="345">
                  <c:v>-3.8468855830000002E-2</c:v>
                </c:pt>
                <c:pt idx="346">
                  <c:v>-0.11007553835</c:v>
                </c:pt>
                <c:pt idx="347">
                  <c:v>-0.21831637373000001</c:v>
                </c:pt>
                <c:pt idx="348">
                  <c:v>-9.0671885199999996E-2</c:v>
                </c:pt>
                <c:pt idx="349">
                  <c:v>-0.19140725493999999</c:v>
                </c:pt>
                <c:pt idx="350">
                  <c:v>-0.20427341265000001</c:v>
                </c:pt>
                <c:pt idx="351">
                  <c:v>-0.23430826031999999</c:v>
                </c:pt>
                <c:pt idx="352">
                  <c:v>-0.16473616474</c:v>
                </c:pt>
                <c:pt idx="353">
                  <c:v>-7.6881355940000007E-2</c:v>
                </c:pt>
                <c:pt idx="354">
                  <c:v>1.969914041E-2</c:v>
                </c:pt>
                <c:pt idx="355">
                  <c:v>0.30555291886000002</c:v>
                </c:pt>
                <c:pt idx="356">
                  <c:v>0.24997291735999999</c:v>
                </c:pt>
                <c:pt idx="357">
                  <c:v>0.42491497088000002</c:v>
                </c:pt>
                <c:pt idx="358">
                  <c:v>0.35128036767999998</c:v>
                </c:pt>
                <c:pt idx="359">
                  <c:v>0.35180060383</c:v>
                </c:pt>
                <c:pt idx="360">
                  <c:v>0.23866434885999999</c:v>
                </c:pt>
                <c:pt idx="361">
                  <c:v>0.16086326857</c:v>
                </c:pt>
                <c:pt idx="362">
                  <c:v>0.14161971239000001</c:v>
                </c:pt>
                <c:pt idx="363">
                  <c:v>-8.5278355710000003E-2</c:v>
                </c:pt>
                <c:pt idx="364">
                  <c:v>-0.11195335275</c:v>
                </c:pt>
                <c:pt idx="365">
                  <c:v>-0.25786261525999998</c:v>
                </c:pt>
                <c:pt idx="366">
                  <c:v>-0.20516418749000001</c:v>
                </c:pt>
                <c:pt idx="367">
                  <c:v>-0.22395526378</c:v>
                </c:pt>
                <c:pt idx="368">
                  <c:v>-0.15372822301</c:v>
                </c:pt>
                <c:pt idx="369">
                  <c:v>-0.13819380940000001</c:v>
                </c:pt>
                <c:pt idx="370">
                  <c:v>-0.21372191865000001</c:v>
                </c:pt>
                <c:pt idx="371">
                  <c:v>3.1814136790000003E-2</c:v>
                </c:pt>
                <c:pt idx="372">
                  <c:v>-1.87750332E-3</c:v>
                </c:pt>
                <c:pt idx="373">
                  <c:v>0.20521260522000001</c:v>
                </c:pt>
                <c:pt idx="374">
                  <c:v>0.21411026201</c:v>
                </c:pt>
                <c:pt idx="375">
                  <c:v>0.34302989127</c:v>
                </c:pt>
                <c:pt idx="376">
                  <c:v>0.44793027228999999</c:v>
                </c:pt>
                <c:pt idx="377">
                  <c:v>0.20445347907</c:v>
                </c:pt>
                <c:pt idx="378">
                  <c:v>0.24049799090000001</c:v>
                </c:pt>
                <c:pt idx="379">
                  <c:v>4.4006807680000003E-2</c:v>
                </c:pt>
                <c:pt idx="380">
                  <c:v>2.5629541709999999E-2</c:v>
                </c:pt>
                <c:pt idx="381">
                  <c:v>-3.749451585E-2</c:v>
                </c:pt>
                <c:pt idx="382">
                  <c:v>3.8911960150000001E-2</c:v>
                </c:pt>
                <c:pt idx="383">
                  <c:v>0.12208793566999999</c:v>
                </c:pt>
                <c:pt idx="384">
                  <c:v>9.5524047799999998E-2</c:v>
                </c:pt>
                <c:pt idx="385">
                  <c:v>0.15057122721999999</c:v>
                </c:pt>
                <c:pt idx="386">
                  <c:v>7.8994396930000002E-2</c:v>
                </c:pt>
                <c:pt idx="387">
                  <c:v>0.21589347319999999</c:v>
                </c:pt>
                <c:pt idx="388">
                  <c:v>0.20136016909000001</c:v>
                </c:pt>
                <c:pt idx="389">
                  <c:v>0.14407353154999999</c:v>
                </c:pt>
                <c:pt idx="390">
                  <c:v>0.11523341182999999</c:v>
                </c:pt>
                <c:pt idx="391">
                  <c:v>-4.0166370600000001E-2</c:v>
                </c:pt>
                <c:pt idx="392">
                  <c:v>-7.9283193040000005E-2</c:v>
                </c:pt>
                <c:pt idx="393">
                  <c:v>-0.16464587850000001</c:v>
                </c:pt>
                <c:pt idx="394">
                  <c:v>-9.2848793339999999E-2</c:v>
                </c:pt>
                <c:pt idx="395">
                  <c:v>-0.19518272423999999</c:v>
                </c:pt>
                <c:pt idx="396">
                  <c:v>-0.14337764035</c:v>
                </c:pt>
                <c:pt idx="397">
                  <c:v>1.1664746400000001E-3</c:v>
                </c:pt>
                <c:pt idx="398">
                  <c:v>2.4993688449999999E-2</c:v>
                </c:pt>
                <c:pt idx="399">
                  <c:v>0.1369846304</c:v>
                </c:pt>
                <c:pt idx="400">
                  <c:v>0.110736239</c:v>
                </c:pt>
                <c:pt idx="401">
                  <c:v>0.31636545420000001</c:v>
                </c:pt>
                <c:pt idx="402">
                  <c:v>0.17166420026000001</c:v>
                </c:pt>
                <c:pt idx="403">
                  <c:v>0.1187969925</c:v>
                </c:pt>
                <c:pt idx="404">
                  <c:v>0.13065264004999999</c:v>
                </c:pt>
                <c:pt idx="405">
                  <c:v>1.2347606880000001E-2</c:v>
                </c:pt>
                <c:pt idx="406">
                  <c:v>1.440618892E-2</c:v>
                </c:pt>
                <c:pt idx="407">
                  <c:v>-2.3240685470000001E-2</c:v>
                </c:pt>
                <c:pt idx="408">
                  <c:v>5.4674228199999998E-3</c:v>
                </c:pt>
                <c:pt idx="409">
                  <c:v>-4.6020849230000001E-2</c:v>
                </c:pt>
                <c:pt idx="410">
                  <c:v>6.5500398700000004E-2</c:v>
                </c:pt>
                <c:pt idx="411">
                  <c:v>0.17641775295000001</c:v>
                </c:pt>
                <c:pt idx="412">
                  <c:v>0.12802691679</c:v>
                </c:pt>
                <c:pt idx="413">
                  <c:v>0.10067704003</c:v>
                </c:pt>
                <c:pt idx="414">
                  <c:v>2.8838318259999999E-2</c:v>
                </c:pt>
                <c:pt idx="415">
                  <c:v>7.8997406290000002E-2</c:v>
                </c:pt>
                <c:pt idx="416">
                  <c:v>2.3792749160000001E-2</c:v>
                </c:pt>
                <c:pt idx="417">
                  <c:v>-1.072276151E-2</c:v>
                </c:pt>
                <c:pt idx="418">
                  <c:v>-1.5212430420000001E-2</c:v>
                </c:pt>
                <c:pt idx="419">
                  <c:v>-4.7481176540000003E-2</c:v>
                </c:pt>
                <c:pt idx="420">
                  <c:v>-3.4402225309999999E-2</c:v>
                </c:pt>
                <c:pt idx="421">
                  <c:v>-8.7828235180000006E-2</c:v>
                </c:pt>
                <c:pt idx="422">
                  <c:v>-8.6415630460000004E-2</c:v>
                </c:pt>
                <c:pt idx="423">
                  <c:v>-0.15379177281</c:v>
                </c:pt>
                <c:pt idx="424">
                  <c:v>-0.17385270992999999</c:v>
                </c:pt>
                <c:pt idx="425">
                  <c:v>-8.390018967E-2</c:v>
                </c:pt>
                <c:pt idx="426">
                  <c:v>-9.0154480989999994E-2</c:v>
                </c:pt>
                <c:pt idx="427">
                  <c:v>-6.0937137080000002E-2</c:v>
                </c:pt>
                <c:pt idx="428">
                  <c:v>-6.1478463230000002E-2</c:v>
                </c:pt>
                <c:pt idx="429">
                  <c:v>2.9012584479999999E-2</c:v>
                </c:pt>
                <c:pt idx="430">
                  <c:v>2.2993286700000001E-2</c:v>
                </c:pt>
                <c:pt idx="431">
                  <c:v>2.9944346229999998E-2</c:v>
                </c:pt>
                <c:pt idx="432">
                  <c:v>0.13712382474000001</c:v>
                </c:pt>
                <c:pt idx="433">
                  <c:v>8.3266042149999997E-2</c:v>
                </c:pt>
                <c:pt idx="434">
                  <c:v>9.9545075280000006E-2</c:v>
                </c:pt>
                <c:pt idx="435">
                  <c:v>4.780701834E-2</c:v>
                </c:pt>
                <c:pt idx="436">
                  <c:v>5.2520668649999998E-2</c:v>
                </c:pt>
                <c:pt idx="437">
                  <c:v>-2.3704781210000001E-2</c:v>
                </c:pt>
                <c:pt idx="438">
                  <c:v>-3.5659877309999997E-2</c:v>
                </c:pt>
                <c:pt idx="439">
                  <c:v>4.4160093659999997E-2</c:v>
                </c:pt>
                <c:pt idx="440">
                  <c:v>-2.8913009619999999E-2</c:v>
                </c:pt>
                <c:pt idx="441">
                  <c:v>-2.9073527460000002E-2</c:v>
                </c:pt>
                <c:pt idx="442">
                  <c:v>-4.0010334039999998E-2</c:v>
                </c:pt>
                <c:pt idx="443">
                  <c:v>-4.6602210319999997E-2</c:v>
                </c:pt>
                <c:pt idx="444">
                  <c:v>-8.6263942869999999E-2</c:v>
                </c:pt>
                <c:pt idx="445">
                  <c:v>-9.3696682769999998E-2</c:v>
                </c:pt>
                <c:pt idx="446">
                  <c:v>4.7766743400000002E-3</c:v>
                </c:pt>
                <c:pt idx="447">
                  <c:v>-7.1866710139999998E-2</c:v>
                </c:pt>
                <c:pt idx="448">
                  <c:v>-8.6459295929999999E-2</c:v>
                </c:pt>
                <c:pt idx="449">
                  <c:v>-4.8671482269999997E-2</c:v>
                </c:pt>
                <c:pt idx="450">
                  <c:v>-7.3142275369999996E-2</c:v>
                </c:pt>
                <c:pt idx="451">
                  <c:v>-0.10061684911</c:v>
                </c:pt>
                <c:pt idx="452">
                  <c:v>-0.13195884419000001</c:v>
                </c:pt>
                <c:pt idx="453">
                  <c:v>-1.956585152E-2</c:v>
                </c:pt>
                <c:pt idx="454">
                  <c:v>-8.0246474629999995E-2</c:v>
                </c:pt>
                <c:pt idx="455">
                  <c:v>-8.6035097860000007E-2</c:v>
                </c:pt>
                <c:pt idx="456">
                  <c:v>-6.7405174479999996E-2</c:v>
                </c:pt>
                <c:pt idx="457">
                  <c:v>-8.2978872240000001E-2</c:v>
                </c:pt>
                <c:pt idx="458">
                  <c:v>-7.3943809530000001E-2</c:v>
                </c:pt>
                <c:pt idx="459">
                  <c:v>-8.7835994429999995E-2</c:v>
                </c:pt>
                <c:pt idx="460">
                  <c:v>8.2257304899999995E-3</c:v>
                </c:pt>
                <c:pt idx="461">
                  <c:v>-6.4375964229999999E-2</c:v>
                </c:pt>
                <c:pt idx="462">
                  <c:v>-5.7324502579999999E-2</c:v>
                </c:pt>
                <c:pt idx="463">
                  <c:v>-2.236095036E-2</c:v>
                </c:pt>
                <c:pt idx="464">
                  <c:v>-1.6303587429999999E-2</c:v>
                </c:pt>
                <c:pt idx="465">
                  <c:v>-2.74692814E-2</c:v>
                </c:pt>
                <c:pt idx="466">
                  <c:v>-3.007496191E-2</c:v>
                </c:pt>
                <c:pt idx="467">
                  <c:v>7.023082336E-2</c:v>
                </c:pt>
                <c:pt idx="468">
                  <c:v>2.6672793510000001E-2</c:v>
                </c:pt>
                <c:pt idx="469">
                  <c:v>4.0375747599999998E-2</c:v>
                </c:pt>
                <c:pt idx="470">
                  <c:v>6.2572680909999998E-2</c:v>
                </c:pt>
                <c:pt idx="471">
                  <c:v>6.4544626889999998E-2</c:v>
                </c:pt>
                <c:pt idx="472">
                  <c:v>7.0012993420000003E-2</c:v>
                </c:pt>
                <c:pt idx="473">
                  <c:v>6.1936348840000002E-2</c:v>
                </c:pt>
                <c:pt idx="474">
                  <c:v>0.14072717125</c:v>
                </c:pt>
                <c:pt idx="475">
                  <c:v>4.4492110250000001E-2</c:v>
                </c:pt>
                <c:pt idx="476">
                  <c:v>4.8259396109999998E-2</c:v>
                </c:pt>
                <c:pt idx="477">
                  <c:v>6.2821636200000003E-2</c:v>
                </c:pt>
                <c:pt idx="478">
                  <c:v>5.421281251E-2</c:v>
                </c:pt>
                <c:pt idx="479">
                  <c:v>1.0163771659999999E-2</c:v>
                </c:pt>
                <c:pt idx="480">
                  <c:v>5.72265047E-3</c:v>
                </c:pt>
                <c:pt idx="481">
                  <c:v>7.9848565839999996E-2</c:v>
                </c:pt>
                <c:pt idx="482">
                  <c:v>-3.3973020999999999E-2</c:v>
                </c:pt>
                <c:pt idx="483">
                  <c:v>-1.023887433E-2</c:v>
                </c:pt>
                <c:pt idx="484">
                  <c:v>-3.0955250199999999E-2</c:v>
                </c:pt>
                <c:pt idx="485">
                  <c:v>-2.209932698E-2</c:v>
                </c:pt>
                <c:pt idx="486">
                  <c:v>7.1544038400000003E-3</c:v>
                </c:pt>
                <c:pt idx="487">
                  <c:v>6.9880161290000006E-2</c:v>
                </c:pt>
                <c:pt idx="488">
                  <c:v>0.19163123402000001</c:v>
                </c:pt>
                <c:pt idx="489">
                  <c:v>9.434800921E-2</c:v>
                </c:pt>
                <c:pt idx="490">
                  <c:v>0.22469013072999999</c:v>
                </c:pt>
                <c:pt idx="491">
                  <c:v>0.23787265501999999</c:v>
                </c:pt>
                <c:pt idx="492">
                  <c:v>0.22825642533000001</c:v>
                </c:pt>
                <c:pt idx="493">
                  <c:v>0.18170647571000001</c:v>
                </c:pt>
                <c:pt idx="494">
                  <c:v>0.10466011976</c:v>
                </c:pt>
                <c:pt idx="495">
                  <c:v>1.6547584859999999E-2</c:v>
                </c:pt>
                <c:pt idx="496">
                  <c:v>-0.19327162133</c:v>
                </c:pt>
                <c:pt idx="497">
                  <c:v>-0.22982870861999999</c:v>
                </c:pt>
                <c:pt idx="498">
                  <c:v>-0.33896642074</c:v>
                </c:pt>
                <c:pt idx="499">
                  <c:v>-0.39902174903999998</c:v>
                </c:pt>
                <c:pt idx="500">
                  <c:v>-0.40220641478000002</c:v>
                </c:pt>
                <c:pt idx="501">
                  <c:v>-0.36003745008999999</c:v>
                </c:pt>
                <c:pt idx="502">
                  <c:v>-0.32498156507999998</c:v>
                </c:pt>
                <c:pt idx="503">
                  <c:v>-0.38700316857</c:v>
                </c:pt>
                <c:pt idx="504">
                  <c:v>-0.40629050110999998</c:v>
                </c:pt>
                <c:pt idx="505">
                  <c:v>-0.45971565112000001</c:v>
                </c:pt>
                <c:pt idx="506">
                  <c:v>-0.51413159876000003</c:v>
                </c:pt>
                <c:pt idx="507">
                  <c:v>-0.54400634262000003</c:v>
                </c:pt>
                <c:pt idx="508">
                  <c:v>-0.55076119916999999</c:v>
                </c:pt>
                <c:pt idx="509">
                  <c:v>-0.52223970477000003</c:v>
                </c:pt>
                <c:pt idx="510">
                  <c:v>-0.54205910433000004</c:v>
                </c:pt>
                <c:pt idx="511">
                  <c:v>-0.49121885235000001</c:v>
                </c:pt>
                <c:pt idx="512">
                  <c:v>-0.43054809030000002</c:v>
                </c:pt>
                <c:pt idx="513">
                  <c:v>-0.36538732665000001</c:v>
                </c:pt>
                <c:pt idx="514">
                  <c:v>-0.30738075048000002</c:v>
                </c:pt>
                <c:pt idx="515">
                  <c:v>-0.22673047360000001</c:v>
                </c:pt>
                <c:pt idx="516">
                  <c:v>-7.8725024700000007E-3</c:v>
                </c:pt>
                <c:pt idx="517">
                  <c:v>3.6318637209999997E-2</c:v>
                </c:pt>
                <c:pt idx="518">
                  <c:v>7.7153385810000003E-2</c:v>
                </c:pt>
                <c:pt idx="519">
                  <c:v>0.11079243801999999</c:v>
                </c:pt>
                <c:pt idx="520">
                  <c:v>0.13182207060000001</c:v>
                </c:pt>
                <c:pt idx="521">
                  <c:v>0.12469640969</c:v>
                </c:pt>
                <c:pt idx="522">
                  <c:v>0.10251132440999999</c:v>
                </c:pt>
                <c:pt idx="523">
                  <c:v>0.21711626774000001</c:v>
                </c:pt>
                <c:pt idx="524">
                  <c:v>0.18861030934</c:v>
                </c:pt>
                <c:pt idx="525">
                  <c:v>0.20541399432999999</c:v>
                </c:pt>
                <c:pt idx="526">
                  <c:v>0.29528411996999998</c:v>
                </c:pt>
                <c:pt idx="527">
                  <c:v>0.34752854106999997</c:v>
                </c:pt>
                <c:pt idx="528">
                  <c:v>0.38022180590999999</c:v>
                </c:pt>
                <c:pt idx="529">
                  <c:v>0.34103895196</c:v>
                </c:pt>
                <c:pt idx="530">
                  <c:v>0.48450231559000001</c:v>
                </c:pt>
                <c:pt idx="531">
                  <c:v>0.39986245530999998</c:v>
                </c:pt>
                <c:pt idx="532">
                  <c:v>0.44645178491999998</c:v>
                </c:pt>
                <c:pt idx="533">
                  <c:v>0.48588482120999998</c:v>
                </c:pt>
                <c:pt idx="534">
                  <c:v>0.48726232412999998</c:v>
                </c:pt>
                <c:pt idx="535">
                  <c:v>0.46448428251000001</c:v>
                </c:pt>
                <c:pt idx="536">
                  <c:v>0.43759274184000002</c:v>
                </c:pt>
                <c:pt idx="537">
                  <c:v>0.52952924702000004</c:v>
                </c:pt>
                <c:pt idx="538">
                  <c:v>0.32166307564000002</c:v>
                </c:pt>
                <c:pt idx="539">
                  <c:v>0.33917651678999999</c:v>
                </c:pt>
                <c:pt idx="540">
                  <c:v>0.3071375958</c:v>
                </c:pt>
                <c:pt idx="541">
                  <c:v>0.29048725603999997</c:v>
                </c:pt>
                <c:pt idx="542">
                  <c:v>0.24921350344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do_7_dne_7dni_shift7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1.0187449062E-2</c:v>
                </c:pt>
                <c:pt idx="1">
                  <c:v>1.0437575270000001E-2</c:v>
                </c:pt>
                <c:pt idx="2">
                  <c:v>9.5238095230000003E-3</c:v>
                </c:pt>
                <c:pt idx="3">
                  <c:v>9.8270440250000004E-3</c:v>
                </c:pt>
                <c:pt idx="4">
                  <c:v>8.5106382970000002E-3</c:v>
                </c:pt>
                <c:pt idx="5">
                  <c:v>9.6118299440000003E-3</c:v>
                </c:pt>
                <c:pt idx="6">
                  <c:v>8.8345225949999998E-3</c:v>
                </c:pt>
                <c:pt idx="7">
                  <c:v>7.7543424309999996E-3</c:v>
                </c:pt>
                <c:pt idx="8">
                  <c:v>7.7076791319999997E-3</c:v>
                </c:pt>
                <c:pt idx="9">
                  <c:v>7.8481012650000008E-3</c:v>
                </c:pt>
                <c:pt idx="10">
                  <c:v>8.8183421510000005E-3</c:v>
                </c:pt>
                <c:pt idx="11">
                  <c:v>8.3764474000000005E-3</c:v>
                </c:pt>
                <c:pt idx="12">
                  <c:v>9.8964326809999996E-3</c:v>
                </c:pt>
                <c:pt idx="13">
                  <c:v>7.619047619E-3</c:v>
                </c:pt>
                <c:pt idx="14">
                  <c:v>6.9362206049999996E-3</c:v>
                </c:pt>
                <c:pt idx="15">
                  <c:v>6.9183335830000003E-3</c:v>
                </c:pt>
                <c:pt idx="16">
                  <c:v>6.7421790719999998E-3</c:v>
                </c:pt>
                <c:pt idx="17">
                  <c:v>6.1304561050000003E-3</c:v>
                </c:pt>
                <c:pt idx="18">
                  <c:v>6.0405069279999999E-3</c:v>
                </c:pt>
                <c:pt idx="19">
                  <c:v>5.9596071069999996E-3</c:v>
                </c:pt>
                <c:pt idx="20">
                  <c:v>6.7806603769999998E-3</c:v>
                </c:pt>
                <c:pt idx="21">
                  <c:v>6.9967707210000004E-3</c:v>
                </c:pt>
                <c:pt idx="22">
                  <c:v>7.7011056039999999E-3</c:v>
                </c:pt>
                <c:pt idx="23">
                  <c:v>8.0202312130000005E-3</c:v>
                </c:pt>
                <c:pt idx="24">
                  <c:v>7.962334695E-3</c:v>
                </c:pt>
                <c:pt idx="25">
                  <c:v>8.9992800570000003E-3</c:v>
                </c:pt>
                <c:pt idx="26">
                  <c:v>9.3304061470000001E-3</c:v>
                </c:pt>
                <c:pt idx="27">
                  <c:v>9.4132412919999998E-3</c:v>
                </c:pt>
                <c:pt idx="28">
                  <c:v>9.0557836270000001E-3</c:v>
                </c:pt>
                <c:pt idx="29">
                  <c:v>1.0209378785000001E-2</c:v>
                </c:pt>
                <c:pt idx="30">
                  <c:v>9.5004954239999995E-3</c:v>
                </c:pt>
                <c:pt idx="31">
                  <c:v>9.395184967E-3</c:v>
                </c:pt>
                <c:pt idx="32">
                  <c:v>1.0558624923E-2</c:v>
                </c:pt>
                <c:pt idx="33">
                  <c:v>1.0729355033E-2</c:v>
                </c:pt>
                <c:pt idx="34">
                  <c:v>1.1185944363E-2</c:v>
                </c:pt>
                <c:pt idx="35">
                  <c:v>1.1752682677E-2</c:v>
                </c:pt>
                <c:pt idx="36">
                  <c:v>1.1907926213000001E-2</c:v>
                </c:pt>
                <c:pt idx="37">
                  <c:v>1.2131979695E-2</c:v>
                </c:pt>
                <c:pt idx="38">
                  <c:v>1.2791962297E-2</c:v>
                </c:pt>
                <c:pt idx="39">
                  <c:v>1.3198393239E-2</c:v>
                </c:pt>
                <c:pt idx="40">
                  <c:v>1.425098899E-2</c:v>
                </c:pt>
                <c:pt idx="41">
                  <c:v>1.3785965638000001E-2</c:v>
                </c:pt>
                <c:pt idx="42">
                  <c:v>1.3440371971E-2</c:v>
                </c:pt>
                <c:pt idx="43">
                  <c:v>1.3134208947000001E-2</c:v>
                </c:pt>
                <c:pt idx="44">
                  <c:v>1.2559450914999999E-2</c:v>
                </c:pt>
                <c:pt idx="45">
                  <c:v>1.215408149E-2</c:v>
                </c:pt>
                <c:pt idx="46">
                  <c:v>1.2573620052E-2</c:v>
                </c:pt>
                <c:pt idx="47">
                  <c:v>1.3060994072000001E-2</c:v>
                </c:pt>
                <c:pt idx="48">
                  <c:v>1.168002173E-2</c:v>
                </c:pt>
                <c:pt idx="49">
                  <c:v>1.1022247482E-2</c:v>
                </c:pt>
                <c:pt idx="50">
                  <c:v>1.0102139715E-2</c:v>
                </c:pt>
                <c:pt idx="51">
                  <c:v>9.6694855290000003E-3</c:v>
                </c:pt>
                <c:pt idx="52">
                  <c:v>9.3512958939999998E-3</c:v>
                </c:pt>
                <c:pt idx="53">
                  <c:v>9.6862005040000004E-3</c:v>
                </c:pt>
                <c:pt idx="54">
                  <c:v>9.9918276710000004E-3</c:v>
                </c:pt>
                <c:pt idx="55">
                  <c:v>9.4718120519999994E-3</c:v>
                </c:pt>
                <c:pt idx="56">
                  <c:v>9.0302861900000003E-3</c:v>
                </c:pt>
                <c:pt idx="57">
                  <c:v>8.9746037799999998E-3</c:v>
                </c:pt>
                <c:pt idx="58">
                  <c:v>8.7890187639999996E-3</c:v>
                </c:pt>
                <c:pt idx="59">
                  <c:v>8.7776368739999992E-3</c:v>
                </c:pt>
                <c:pt idx="60">
                  <c:v>9.1406039960000001E-3</c:v>
                </c:pt>
                <c:pt idx="61">
                  <c:v>9.3768520870000007E-3</c:v>
                </c:pt>
                <c:pt idx="62">
                  <c:v>8.9442283760000005E-3</c:v>
                </c:pt>
                <c:pt idx="63">
                  <c:v>8.5573741859999997E-3</c:v>
                </c:pt>
                <c:pt idx="64">
                  <c:v>8.8286471300000006E-3</c:v>
                </c:pt>
                <c:pt idx="65">
                  <c:v>8.9666484409999993E-3</c:v>
                </c:pt>
                <c:pt idx="66">
                  <c:v>9.4239214669999995E-3</c:v>
                </c:pt>
                <c:pt idx="67">
                  <c:v>9.696983038E-3</c:v>
                </c:pt>
                <c:pt idx="68">
                  <c:v>1.0151518417000001E-2</c:v>
                </c:pt>
                <c:pt idx="69">
                  <c:v>9.5762559579999993E-3</c:v>
                </c:pt>
                <c:pt idx="70">
                  <c:v>8.9998732409999997E-3</c:v>
                </c:pt>
                <c:pt idx="71">
                  <c:v>9.2807180170000007E-3</c:v>
                </c:pt>
                <c:pt idx="72">
                  <c:v>9.2909744810000007E-3</c:v>
                </c:pt>
                <c:pt idx="73">
                  <c:v>9.4242631930000001E-3</c:v>
                </c:pt>
                <c:pt idx="74">
                  <c:v>9.5706383349999993E-3</c:v>
                </c:pt>
                <c:pt idx="75">
                  <c:v>9.7828831099999996E-3</c:v>
                </c:pt>
                <c:pt idx="76">
                  <c:v>9.1477301479999992E-3</c:v>
                </c:pt>
                <c:pt idx="77">
                  <c:v>9.1741909970000004E-3</c:v>
                </c:pt>
                <c:pt idx="78">
                  <c:v>1.0159822386E-2</c:v>
                </c:pt>
                <c:pt idx="79">
                  <c:v>1.0316412913999999E-2</c:v>
                </c:pt>
                <c:pt idx="80">
                  <c:v>1.0970356307999999E-2</c:v>
                </c:pt>
                <c:pt idx="81">
                  <c:v>1.1316746333E-2</c:v>
                </c:pt>
                <c:pt idx="82">
                  <c:v>1.1681046368999999E-2</c:v>
                </c:pt>
                <c:pt idx="83">
                  <c:v>1.1620782615E-2</c:v>
                </c:pt>
                <c:pt idx="84">
                  <c:v>1.2108936395E-2</c:v>
                </c:pt>
                <c:pt idx="85">
                  <c:v>1.2566322256E-2</c:v>
                </c:pt>
                <c:pt idx="86">
                  <c:v>1.2662869435E-2</c:v>
                </c:pt>
                <c:pt idx="87">
                  <c:v>1.3745236799000001E-2</c:v>
                </c:pt>
                <c:pt idx="88">
                  <c:v>1.3831786679000001E-2</c:v>
                </c:pt>
                <c:pt idx="89">
                  <c:v>1.3136288998E-2</c:v>
                </c:pt>
                <c:pt idx="90">
                  <c:v>1.2331656660000001E-2</c:v>
                </c:pt>
                <c:pt idx="91">
                  <c:v>1.2054910915E-2</c:v>
                </c:pt>
                <c:pt idx="92">
                  <c:v>1.1741628909000001E-2</c:v>
                </c:pt>
                <c:pt idx="93">
                  <c:v>1.1787417005E-2</c:v>
                </c:pt>
                <c:pt idx="94">
                  <c:v>1.2045864466999999E-2</c:v>
                </c:pt>
                <c:pt idx="95">
                  <c:v>1.2339704813999999E-2</c:v>
                </c:pt>
                <c:pt idx="96">
                  <c:v>1.2388695315E-2</c:v>
                </c:pt>
                <c:pt idx="97">
                  <c:v>1.2233473803E-2</c:v>
                </c:pt>
                <c:pt idx="98">
                  <c:v>1.2459833431E-2</c:v>
                </c:pt>
                <c:pt idx="99">
                  <c:v>1.2453217633E-2</c:v>
                </c:pt>
                <c:pt idx="100">
                  <c:v>1.2366061312E-2</c:v>
                </c:pt>
                <c:pt idx="101">
                  <c:v>1.3079587101E-2</c:v>
                </c:pt>
                <c:pt idx="102">
                  <c:v>1.3837147418E-2</c:v>
                </c:pt>
                <c:pt idx="103">
                  <c:v>1.3647088833000001E-2</c:v>
                </c:pt>
                <c:pt idx="104">
                  <c:v>1.2959220068E-2</c:v>
                </c:pt>
                <c:pt idx="105">
                  <c:v>1.2786697247E-2</c:v>
                </c:pt>
                <c:pt idx="106">
                  <c:v>1.2598077135E-2</c:v>
                </c:pt>
                <c:pt idx="107">
                  <c:v>1.1936901169E-2</c:v>
                </c:pt>
                <c:pt idx="108">
                  <c:v>1.1801580811999999E-2</c:v>
                </c:pt>
                <c:pt idx="109">
                  <c:v>1.1561837455E-2</c:v>
                </c:pt>
                <c:pt idx="110">
                  <c:v>1.1561279852999999E-2</c:v>
                </c:pt>
                <c:pt idx="111">
                  <c:v>1.0764162761E-2</c:v>
                </c:pt>
                <c:pt idx="112">
                  <c:v>1.0260353729000001E-2</c:v>
                </c:pt>
                <c:pt idx="113">
                  <c:v>9.9323572219999993E-3</c:v>
                </c:pt>
                <c:pt idx="114">
                  <c:v>9.2361558270000008E-3</c:v>
                </c:pt>
                <c:pt idx="115">
                  <c:v>9.1923431260000008E-3</c:v>
                </c:pt>
                <c:pt idx="116">
                  <c:v>9.4219296439999999E-3</c:v>
                </c:pt>
                <c:pt idx="117">
                  <c:v>8.939529941E-3</c:v>
                </c:pt>
                <c:pt idx="118">
                  <c:v>8.0176255229999997E-3</c:v>
                </c:pt>
                <c:pt idx="119">
                  <c:v>7.564160288E-3</c:v>
                </c:pt>
                <c:pt idx="120">
                  <c:v>7.7610798570000002E-3</c:v>
                </c:pt>
                <c:pt idx="121">
                  <c:v>8.2856203830000003E-3</c:v>
                </c:pt>
                <c:pt idx="122">
                  <c:v>9.0961538460000001E-3</c:v>
                </c:pt>
                <c:pt idx="123">
                  <c:v>1.0091197462E-2</c:v>
                </c:pt>
                <c:pt idx="124">
                  <c:v>1.0356533576000001E-2</c:v>
                </c:pt>
                <c:pt idx="125">
                  <c:v>9.8944491979999997E-3</c:v>
                </c:pt>
                <c:pt idx="126">
                  <c:v>9.7426243240000005E-3</c:v>
                </c:pt>
                <c:pt idx="127">
                  <c:v>9.7590813669999991E-3</c:v>
                </c:pt>
                <c:pt idx="128">
                  <c:v>1.0054921841E-2</c:v>
                </c:pt>
                <c:pt idx="129">
                  <c:v>1.0104591384E-2</c:v>
                </c:pt>
                <c:pt idx="130">
                  <c:v>1.0028466219E-2</c:v>
                </c:pt>
                <c:pt idx="131">
                  <c:v>9.4068004050000004E-3</c:v>
                </c:pt>
                <c:pt idx="132">
                  <c:v>8.7914232129999992E-3</c:v>
                </c:pt>
                <c:pt idx="133">
                  <c:v>8.6450096170000001E-3</c:v>
                </c:pt>
                <c:pt idx="134">
                  <c:v>8.5293442240000003E-3</c:v>
                </c:pt>
                <c:pt idx="135">
                  <c:v>8.7967223170000008E-3</c:v>
                </c:pt>
                <c:pt idx="136">
                  <c:v>8.5140845799999993E-3</c:v>
                </c:pt>
                <c:pt idx="137">
                  <c:v>8.2595376740000007E-3</c:v>
                </c:pt>
                <c:pt idx="138">
                  <c:v>8.1176553940000007E-3</c:v>
                </c:pt>
                <c:pt idx="139">
                  <c:v>7.9585204810000004E-3</c:v>
                </c:pt>
                <c:pt idx="140">
                  <c:v>8.0791041959999994E-3</c:v>
                </c:pt>
                <c:pt idx="141">
                  <c:v>8.6491195319999999E-3</c:v>
                </c:pt>
                <c:pt idx="142">
                  <c:v>9.1288750870000008E-3</c:v>
                </c:pt>
                <c:pt idx="143">
                  <c:v>9.4473806350000005E-3</c:v>
                </c:pt>
                <c:pt idx="144">
                  <c:v>9.744574043E-3</c:v>
                </c:pt>
                <c:pt idx="145">
                  <c:v>9.7019450530000002E-3</c:v>
                </c:pt>
                <c:pt idx="146">
                  <c:v>9.6887207780000009E-3</c:v>
                </c:pt>
                <c:pt idx="147">
                  <c:v>1.0045381868999999E-2</c:v>
                </c:pt>
                <c:pt idx="148">
                  <c:v>9.9733588349999996E-3</c:v>
                </c:pt>
                <c:pt idx="149">
                  <c:v>9.7070902480000006E-3</c:v>
                </c:pt>
                <c:pt idx="150">
                  <c:v>9.939249818E-3</c:v>
                </c:pt>
                <c:pt idx="151">
                  <c:v>1.0218892201E-2</c:v>
                </c:pt>
                <c:pt idx="152">
                  <c:v>1.0209059863000001E-2</c:v>
                </c:pt>
                <c:pt idx="153">
                  <c:v>9.8840992630000006E-3</c:v>
                </c:pt>
                <c:pt idx="154">
                  <c:v>9.7539984220000008E-3</c:v>
                </c:pt>
                <c:pt idx="155">
                  <c:v>9.7538151450000006E-3</c:v>
                </c:pt>
                <c:pt idx="156">
                  <c:v>1.0116509358E-2</c:v>
                </c:pt>
                <c:pt idx="157">
                  <c:v>1.0518974835E-2</c:v>
                </c:pt>
                <c:pt idx="158">
                  <c:v>1.0869347638E-2</c:v>
                </c:pt>
                <c:pt idx="159">
                  <c:v>1.0637909641000001E-2</c:v>
                </c:pt>
                <c:pt idx="160">
                  <c:v>1.0322127622000001E-2</c:v>
                </c:pt>
                <c:pt idx="161">
                  <c:v>1.0463274082E-2</c:v>
                </c:pt>
                <c:pt idx="162">
                  <c:v>1.0769851432E-2</c:v>
                </c:pt>
                <c:pt idx="163">
                  <c:v>1.1074081788E-2</c:v>
                </c:pt>
                <c:pt idx="164">
                  <c:v>1.1219628832000001E-2</c:v>
                </c:pt>
                <c:pt idx="165">
                  <c:v>1.1429546229E-2</c:v>
                </c:pt>
                <c:pt idx="166">
                  <c:v>1.1087353863999999E-2</c:v>
                </c:pt>
                <c:pt idx="167">
                  <c:v>1.0860484544E-2</c:v>
                </c:pt>
                <c:pt idx="168">
                  <c:v>1.1033001366E-2</c:v>
                </c:pt>
                <c:pt idx="169">
                  <c:v>1.1264038939E-2</c:v>
                </c:pt>
                <c:pt idx="170">
                  <c:v>1.1032757051E-2</c:v>
                </c:pt>
                <c:pt idx="171">
                  <c:v>1.0904017088E-2</c:v>
                </c:pt>
                <c:pt idx="172">
                  <c:v>1.1459428632E-2</c:v>
                </c:pt>
                <c:pt idx="173">
                  <c:v>1.1266120139E-2</c:v>
                </c:pt>
                <c:pt idx="174">
                  <c:v>1.107120596E-2</c:v>
                </c:pt>
                <c:pt idx="175">
                  <c:v>1.0951051006000001E-2</c:v>
                </c:pt>
                <c:pt idx="176">
                  <c:v>1.0686957636E-2</c:v>
                </c:pt>
                <c:pt idx="177">
                  <c:v>1.0326642184E-2</c:v>
                </c:pt>
                <c:pt idx="178">
                  <c:v>1.077224796E-2</c:v>
                </c:pt>
                <c:pt idx="179">
                  <c:v>1.1155849965999999E-2</c:v>
                </c:pt>
                <c:pt idx="180">
                  <c:v>1.0621492146E-2</c:v>
                </c:pt>
                <c:pt idx="181">
                  <c:v>1.0011084121E-2</c:v>
                </c:pt>
                <c:pt idx="182">
                  <c:v>1.0022206977999999E-2</c:v>
                </c:pt>
                <c:pt idx="183">
                  <c:v>1.0260642628E-2</c:v>
                </c:pt>
                <c:pt idx="184">
                  <c:v>1.0068018410999999E-2</c:v>
                </c:pt>
                <c:pt idx="185">
                  <c:v>1.0264963675000001E-2</c:v>
                </c:pt>
                <c:pt idx="186">
                  <c:v>1.0407224242E-2</c:v>
                </c:pt>
                <c:pt idx="187">
                  <c:v>1.0372357144E-2</c:v>
                </c:pt>
                <c:pt idx="188">
                  <c:v>1.0048506610999999E-2</c:v>
                </c:pt>
                <c:pt idx="189">
                  <c:v>1.0168544371E-2</c:v>
                </c:pt>
                <c:pt idx="190">
                  <c:v>9.9150001479999996E-3</c:v>
                </c:pt>
                <c:pt idx="191">
                  <c:v>9.5948292300000008E-3</c:v>
                </c:pt>
                <c:pt idx="192">
                  <c:v>9.8357514659999992E-3</c:v>
                </c:pt>
                <c:pt idx="193">
                  <c:v>1.0157750419E-2</c:v>
                </c:pt>
                <c:pt idx="194">
                  <c:v>1.0116553509E-2</c:v>
                </c:pt>
                <c:pt idx="195">
                  <c:v>9.4241682030000006E-3</c:v>
                </c:pt>
                <c:pt idx="196">
                  <c:v>9.3622725159999993E-3</c:v>
                </c:pt>
                <c:pt idx="197">
                  <c:v>9.687755365E-3</c:v>
                </c:pt>
                <c:pt idx="198">
                  <c:v>1.0265642245E-2</c:v>
                </c:pt>
                <c:pt idx="199">
                  <c:v>1.0667461946E-2</c:v>
                </c:pt>
                <c:pt idx="200">
                  <c:v>1.099562632E-2</c:v>
                </c:pt>
                <c:pt idx="201">
                  <c:v>1.0800068139E-2</c:v>
                </c:pt>
                <c:pt idx="202">
                  <c:v>1.000678055E-2</c:v>
                </c:pt>
                <c:pt idx="203">
                  <c:v>1.0508636146E-2</c:v>
                </c:pt>
                <c:pt idx="204">
                  <c:v>1.0658627197E-2</c:v>
                </c:pt>
                <c:pt idx="205">
                  <c:v>1.0505827166999999E-2</c:v>
                </c:pt>
                <c:pt idx="206">
                  <c:v>1.0294920807999999E-2</c:v>
                </c:pt>
                <c:pt idx="207">
                  <c:v>1.0220595739000001E-2</c:v>
                </c:pt>
                <c:pt idx="208">
                  <c:v>1.0339995374000001E-2</c:v>
                </c:pt>
                <c:pt idx="209">
                  <c:v>1.0035075363999999E-2</c:v>
                </c:pt>
                <c:pt idx="210">
                  <c:v>1.0606060606000001E-2</c:v>
                </c:pt>
                <c:pt idx="211">
                  <c:v>1.0727185352999999E-2</c:v>
                </c:pt>
                <c:pt idx="212">
                  <c:v>1.1066692667E-2</c:v>
                </c:pt>
                <c:pt idx="213">
                  <c:v>1.1261543979E-2</c:v>
                </c:pt>
                <c:pt idx="214">
                  <c:v>1.1540015002E-2</c:v>
                </c:pt>
                <c:pt idx="215">
                  <c:v>1.1582465385000001E-2</c:v>
                </c:pt>
                <c:pt idx="216">
                  <c:v>1.0818405337999999E-2</c:v>
                </c:pt>
                <c:pt idx="217">
                  <c:v>1.087998196E-2</c:v>
                </c:pt>
                <c:pt idx="218">
                  <c:v>1.0950347881E-2</c:v>
                </c:pt>
                <c:pt idx="219">
                  <c:v>1.1206229028E-2</c:v>
                </c:pt>
                <c:pt idx="220">
                  <c:v>1.1980147183999999E-2</c:v>
                </c:pt>
                <c:pt idx="221">
                  <c:v>1.2560809245E-2</c:v>
                </c:pt>
                <c:pt idx="222">
                  <c:v>1.2661840637E-2</c:v>
                </c:pt>
                <c:pt idx="223">
                  <c:v>1.2773967997000001E-2</c:v>
                </c:pt>
                <c:pt idx="224">
                  <c:v>1.3176748237E-2</c:v>
                </c:pt>
                <c:pt idx="225">
                  <c:v>1.3594312401E-2</c:v>
                </c:pt>
                <c:pt idx="226">
                  <c:v>1.4033344717000001E-2</c:v>
                </c:pt>
                <c:pt idx="227">
                  <c:v>1.4553898482E-2</c:v>
                </c:pt>
                <c:pt idx="228">
                  <c:v>1.4251215944999999E-2</c:v>
                </c:pt>
                <c:pt idx="229">
                  <c:v>1.4161775963000001E-2</c:v>
                </c:pt>
                <c:pt idx="230">
                  <c:v>1.3310862919999999E-2</c:v>
                </c:pt>
                <c:pt idx="231">
                  <c:v>1.3158291835999999E-2</c:v>
                </c:pt>
                <c:pt idx="232">
                  <c:v>1.393241586E-2</c:v>
                </c:pt>
                <c:pt idx="233">
                  <c:v>1.4552785923E-2</c:v>
                </c:pt>
                <c:pt idx="234">
                  <c:v>1.5474452554E-2</c:v>
                </c:pt>
                <c:pt idx="235">
                  <c:v>1.5178334365000001E-2</c:v>
                </c:pt>
                <c:pt idx="236">
                  <c:v>1.4340650536E-2</c:v>
                </c:pt>
                <c:pt idx="237">
                  <c:v>1.3332797879E-2</c:v>
                </c:pt>
                <c:pt idx="238">
                  <c:v>1.3567508232E-2</c:v>
                </c:pt>
                <c:pt idx="239">
                  <c:v>1.3972147928999999E-2</c:v>
                </c:pt>
                <c:pt idx="240">
                  <c:v>1.3799666904E-2</c:v>
                </c:pt>
                <c:pt idx="241">
                  <c:v>1.4080083747E-2</c:v>
                </c:pt>
                <c:pt idx="242">
                  <c:v>1.3919852101E-2</c:v>
                </c:pt>
                <c:pt idx="243">
                  <c:v>1.3745533942E-2</c:v>
                </c:pt>
                <c:pt idx="244">
                  <c:v>1.3311396947999999E-2</c:v>
                </c:pt>
                <c:pt idx="245">
                  <c:v>1.4250640477999999E-2</c:v>
                </c:pt>
                <c:pt idx="246">
                  <c:v>1.4606242363E-2</c:v>
                </c:pt>
                <c:pt idx="247">
                  <c:v>1.4072470373000001E-2</c:v>
                </c:pt>
                <c:pt idx="248">
                  <c:v>1.4085380987000001E-2</c:v>
                </c:pt>
                <c:pt idx="249">
                  <c:v>1.4172816929E-2</c:v>
                </c:pt>
                <c:pt idx="250">
                  <c:v>1.3469021251E-2</c:v>
                </c:pt>
                <c:pt idx="251">
                  <c:v>1.2887221684E-2</c:v>
                </c:pt>
                <c:pt idx="252">
                  <c:v>1.3130113485999999E-2</c:v>
                </c:pt>
                <c:pt idx="253">
                  <c:v>1.2149729615E-2</c:v>
                </c:pt>
                <c:pt idx="254">
                  <c:v>1.1354479525000001E-2</c:v>
                </c:pt>
                <c:pt idx="255">
                  <c:v>1.1314257604E-2</c:v>
                </c:pt>
                <c:pt idx="256">
                  <c:v>1.2361914781000001E-2</c:v>
                </c:pt>
                <c:pt idx="257">
                  <c:v>1.2209816049E-2</c:v>
                </c:pt>
                <c:pt idx="258">
                  <c:v>1.1153975175999999E-2</c:v>
                </c:pt>
                <c:pt idx="259">
                  <c:v>1.1420612813000001E-2</c:v>
                </c:pt>
                <c:pt idx="260">
                  <c:v>1.2060102806999999E-2</c:v>
                </c:pt>
                <c:pt idx="261">
                  <c:v>1.1989157631000001E-2</c:v>
                </c:pt>
                <c:pt idx="262">
                  <c:v>1.2879053974E-2</c:v>
                </c:pt>
                <c:pt idx="263">
                  <c:v>1.3258983889999999E-2</c:v>
                </c:pt>
                <c:pt idx="264">
                  <c:v>1.2009970541E-2</c:v>
                </c:pt>
                <c:pt idx="265">
                  <c:v>1.1438679245E-2</c:v>
                </c:pt>
                <c:pt idx="266">
                  <c:v>1.2823902696000001E-2</c:v>
                </c:pt>
                <c:pt idx="267">
                  <c:v>1.1892821321E-2</c:v>
                </c:pt>
                <c:pt idx="268">
                  <c:v>1.1517509727000001E-2</c:v>
                </c:pt>
                <c:pt idx="269">
                  <c:v>1.3326319479999999E-2</c:v>
                </c:pt>
                <c:pt idx="270">
                  <c:v>1.3765792947E-2</c:v>
                </c:pt>
                <c:pt idx="271">
                  <c:v>1.2356421858E-2</c:v>
                </c:pt>
                <c:pt idx="272">
                  <c:v>1.2144212523000001E-2</c:v>
                </c:pt>
                <c:pt idx="273">
                  <c:v>1.194353963E-2</c:v>
                </c:pt>
                <c:pt idx="274">
                  <c:v>1.0608856087999999E-2</c:v>
                </c:pt>
                <c:pt idx="275">
                  <c:v>1.1449451887000001E-2</c:v>
                </c:pt>
                <c:pt idx="276">
                  <c:v>1.1787280701E-2</c:v>
                </c:pt>
                <c:pt idx="277">
                  <c:v>1.0802919708E-2</c:v>
                </c:pt>
                <c:pt idx="278">
                  <c:v>9.8719316959999994E-3</c:v>
                </c:pt>
                <c:pt idx="279">
                  <c:v>1.0201190137999999E-2</c:v>
                </c:pt>
                <c:pt idx="280">
                  <c:v>9.6333126160000008E-3</c:v>
                </c:pt>
                <c:pt idx="281">
                  <c:v>9.3277581210000002E-3</c:v>
                </c:pt>
                <c:pt idx="282">
                  <c:v>9.579199452E-3</c:v>
                </c:pt>
                <c:pt idx="283">
                  <c:v>9.5492742550000002E-3</c:v>
                </c:pt>
                <c:pt idx="284">
                  <c:v>9.6192384760000003E-3</c:v>
                </c:pt>
                <c:pt idx="285">
                  <c:v>8.2058933230000006E-3</c:v>
                </c:pt>
                <c:pt idx="286">
                  <c:v>6.2843676350000004E-3</c:v>
                </c:pt>
                <c:pt idx="287">
                  <c:v>6.0292850989999997E-3</c:v>
                </c:pt>
                <c:pt idx="288">
                  <c:v>6.4814814810000001E-3</c:v>
                </c:pt>
                <c:pt idx="289">
                  <c:v>5.7742782150000003E-3</c:v>
                </c:pt>
                <c:pt idx="290">
                  <c:v>5.4479418880000003E-3</c:v>
                </c:pt>
                <c:pt idx="291">
                  <c:v>3.8935756E-3</c:v>
                </c:pt>
                <c:pt idx="292">
                  <c:v>3.7037037029999998E-3</c:v>
                </c:pt>
                <c:pt idx="293">
                  <c:v>3.9164490860000003E-3</c:v>
                </c:pt>
                <c:pt idx="294">
                  <c:v>7.0422535210000001E-3</c:v>
                </c:pt>
                <c:pt idx="295">
                  <c:v>6.7681895090000001E-3</c:v>
                </c:pt>
                <c:pt idx="296">
                  <c:v>7.9225352110000001E-3</c:v>
                </c:pt>
                <c:pt idx="297">
                  <c:v>8.8408644400000003E-3</c:v>
                </c:pt>
                <c:pt idx="298">
                  <c:v>0.01</c:v>
                </c:pt>
                <c:pt idx="299">
                  <c:v>9.2506938020000002E-3</c:v>
                </c:pt>
                <c:pt idx="300">
                  <c:v>7.8817733989999996E-3</c:v>
                </c:pt>
                <c:pt idx="301">
                  <c:v>7.641921397E-3</c:v>
                </c:pt>
                <c:pt idx="302">
                  <c:v>5.675368898E-3</c:v>
                </c:pt>
                <c:pt idx="303">
                  <c:v>5.8823529409999997E-3</c:v>
                </c:pt>
                <c:pt idx="304">
                  <c:v>3.90625E-3</c:v>
                </c:pt>
                <c:pt idx="305">
                  <c:v>2.6212319789999999E-3</c:v>
                </c:pt>
                <c:pt idx="306">
                  <c:v>3.4883720930000001E-3</c:v>
                </c:pt>
                <c:pt idx="307">
                  <c:v>3.3333333329999999E-3</c:v>
                </c:pt>
                <c:pt idx="308">
                  <c:v>5.3995680340000003E-3</c:v>
                </c:pt>
                <c:pt idx="309">
                  <c:v>6.0975609750000001E-3</c:v>
                </c:pt>
                <c:pt idx="310">
                  <c:v>6.6476733140000003E-3</c:v>
                </c:pt>
                <c:pt idx="311">
                  <c:v>6.6985645930000004E-3</c:v>
                </c:pt>
                <c:pt idx="312">
                  <c:v>6.4397424100000001E-3</c:v>
                </c:pt>
                <c:pt idx="313">
                  <c:v>6.0449050079999997E-3</c:v>
                </c:pt>
                <c:pt idx="314">
                  <c:v>4.4923629820000002E-3</c:v>
                </c:pt>
                <c:pt idx="315">
                  <c:v>5.6910569099999997E-3</c:v>
                </c:pt>
                <c:pt idx="316">
                  <c:v>3.7009622499999998E-3</c:v>
                </c:pt>
                <c:pt idx="317">
                  <c:v>2.7266530330000002E-3</c:v>
                </c:pt>
                <c:pt idx="318">
                  <c:v>3.415300546E-3</c:v>
                </c:pt>
                <c:pt idx="319">
                  <c:v>3.34001336E-3</c:v>
                </c:pt>
                <c:pt idx="320">
                  <c:v>3.6809815950000001E-3</c:v>
                </c:pt>
                <c:pt idx="321">
                  <c:v>4.3883708169999997E-3</c:v>
                </c:pt>
                <c:pt idx="322">
                  <c:v>5.5837563450000004E-3</c:v>
                </c:pt>
                <c:pt idx="323">
                  <c:v>5.2356020940000003E-3</c:v>
                </c:pt>
                <c:pt idx="324">
                  <c:v>5.2742616030000003E-3</c:v>
                </c:pt>
                <c:pt idx="325">
                  <c:v>5.5340343110000002E-3</c:v>
                </c:pt>
                <c:pt idx="326">
                  <c:v>5.1136363630000002E-3</c:v>
                </c:pt>
                <c:pt idx="327">
                  <c:v>6.0307017539999999E-3</c:v>
                </c:pt>
                <c:pt idx="328">
                  <c:v>5.3134962799999998E-3</c:v>
                </c:pt>
                <c:pt idx="329">
                  <c:v>6.1383928569999999E-3</c:v>
                </c:pt>
                <c:pt idx="330">
                  <c:v>5.1546391749999997E-3</c:v>
                </c:pt>
                <c:pt idx="331">
                  <c:v>5.2478134110000001E-3</c:v>
                </c:pt>
                <c:pt idx="332">
                  <c:v>5.6355666870000001E-3</c:v>
                </c:pt>
                <c:pt idx="333">
                  <c:v>6.076975016E-3</c:v>
                </c:pt>
                <c:pt idx="334">
                  <c:v>5.1150895140000003E-3</c:v>
                </c:pt>
                <c:pt idx="335">
                  <c:v>5.0062578220000003E-3</c:v>
                </c:pt>
                <c:pt idx="336">
                  <c:v>5.333333333E-3</c:v>
                </c:pt>
                <c:pt idx="337">
                  <c:v>4.0705563090000004E-3</c:v>
                </c:pt>
                <c:pt idx="338">
                  <c:v>5.7061340940000004E-3</c:v>
                </c:pt>
                <c:pt idx="339">
                  <c:v>6.0150375929999998E-3</c:v>
                </c:pt>
                <c:pt idx="340">
                  <c:v>7.0312500000000002E-3</c:v>
                </c:pt>
                <c:pt idx="341">
                  <c:v>7.396449704E-3</c:v>
                </c:pt>
                <c:pt idx="342">
                  <c:v>8.6083213769999993E-3</c:v>
                </c:pt>
                <c:pt idx="343">
                  <c:v>8.9086859680000009E-3</c:v>
                </c:pt>
                <c:pt idx="344">
                  <c:v>9.9236641220000008E-3</c:v>
                </c:pt>
                <c:pt idx="345">
                  <c:v>1.0920436816999999E-2</c:v>
                </c:pt>
                <c:pt idx="346">
                  <c:v>9.2449922950000006E-3</c:v>
                </c:pt>
                <c:pt idx="347">
                  <c:v>9.3167701860000004E-3</c:v>
                </c:pt>
                <c:pt idx="348">
                  <c:v>8.6517664019999992E-3</c:v>
                </c:pt>
                <c:pt idx="349">
                  <c:v>8.0267558520000001E-3</c:v>
                </c:pt>
                <c:pt idx="350">
                  <c:v>8.1466395109999999E-3</c:v>
                </c:pt>
                <c:pt idx="351">
                  <c:v>6.8775790919999996E-3</c:v>
                </c:pt>
                <c:pt idx="352">
                  <c:v>7.9365079360000004E-3</c:v>
                </c:pt>
                <c:pt idx="353">
                  <c:v>6.7796610160000001E-3</c:v>
                </c:pt>
                <c:pt idx="354">
                  <c:v>7.8796561599999999E-3</c:v>
                </c:pt>
                <c:pt idx="355">
                  <c:v>9.9667774079999997E-3</c:v>
                </c:pt>
                <c:pt idx="356">
                  <c:v>9.8219766720000004E-3</c:v>
                </c:pt>
                <c:pt idx="357">
                  <c:v>9.5117311349999997E-3</c:v>
                </c:pt>
                <c:pt idx="358">
                  <c:v>8.5357846349999999E-3</c:v>
                </c:pt>
                <c:pt idx="359">
                  <c:v>1.1303191489000001E-2</c:v>
                </c:pt>
                <c:pt idx="360">
                  <c:v>1.1299435028E-2</c:v>
                </c:pt>
                <c:pt idx="361">
                  <c:v>1.1585807385000001E-2</c:v>
                </c:pt>
                <c:pt idx="362">
                  <c:v>1.0540184453E-2</c:v>
                </c:pt>
                <c:pt idx="363">
                  <c:v>7.7170418000000003E-3</c:v>
                </c:pt>
                <c:pt idx="364">
                  <c:v>7.3089700989999997E-3</c:v>
                </c:pt>
                <c:pt idx="365">
                  <c:v>7.9470198669999992E-3</c:v>
                </c:pt>
                <c:pt idx="366">
                  <c:v>7.8585461680000003E-3</c:v>
                </c:pt>
                <c:pt idx="367">
                  <c:v>5.3727333780000004E-3</c:v>
                </c:pt>
                <c:pt idx="368">
                  <c:v>4.181184668E-3</c:v>
                </c:pt>
                <c:pt idx="369">
                  <c:v>4.4614404070000002E-3</c:v>
                </c:pt>
                <c:pt idx="370">
                  <c:v>3.0358227069999999E-3</c:v>
                </c:pt>
                <c:pt idx="371">
                  <c:v>3.623188405E-3</c:v>
                </c:pt>
                <c:pt idx="372">
                  <c:v>2.920560747E-3</c:v>
                </c:pt>
                <c:pt idx="373">
                  <c:v>4.9778761059999996E-3</c:v>
                </c:pt>
                <c:pt idx="374">
                  <c:v>4.9126637550000003E-3</c:v>
                </c:pt>
                <c:pt idx="375">
                  <c:v>5.4347826080000002E-3</c:v>
                </c:pt>
                <c:pt idx="376">
                  <c:v>6.5055762079999999E-3</c:v>
                </c:pt>
                <c:pt idx="377">
                  <c:v>6.816359262E-3</c:v>
                </c:pt>
                <c:pt idx="378">
                  <c:v>7.3529411760000002E-3</c:v>
                </c:pt>
                <c:pt idx="379">
                  <c:v>6.5645514220000001E-3</c:v>
                </c:pt>
                <c:pt idx="380">
                  <c:v>7.6362374170000002E-3</c:v>
                </c:pt>
                <c:pt idx="381">
                  <c:v>6.7328136070000004E-3</c:v>
                </c:pt>
                <c:pt idx="382">
                  <c:v>6.9040697669999996E-3</c:v>
                </c:pt>
                <c:pt idx="383">
                  <c:v>8.692852543E-3</c:v>
                </c:pt>
                <c:pt idx="384">
                  <c:v>1.0091743118999999E-2</c:v>
                </c:pt>
                <c:pt idx="385">
                  <c:v>9.9657427589999997E-3</c:v>
                </c:pt>
                <c:pt idx="386">
                  <c:v>9.7316425829999994E-3</c:v>
                </c:pt>
                <c:pt idx="387">
                  <c:v>9.9444281950000005E-3</c:v>
                </c:pt>
                <c:pt idx="388">
                  <c:v>9.4627594620000002E-3</c:v>
                </c:pt>
                <c:pt idx="389">
                  <c:v>9.9595393709999997E-3</c:v>
                </c:pt>
                <c:pt idx="390">
                  <c:v>1.0120888389E-2</c:v>
                </c:pt>
                <c:pt idx="391">
                  <c:v>7.3790653180000002E-3</c:v>
                </c:pt>
                <c:pt idx="392">
                  <c:v>4.9655172410000004E-3</c:v>
                </c:pt>
                <c:pt idx="393">
                  <c:v>5.0209205019999996E-3</c:v>
                </c:pt>
                <c:pt idx="394">
                  <c:v>5.060444194E-3</c:v>
                </c:pt>
                <c:pt idx="395">
                  <c:v>5.1020408159999997E-3</c:v>
                </c:pt>
                <c:pt idx="396">
                  <c:v>6.0362173030000001E-3</c:v>
                </c:pt>
                <c:pt idx="397">
                  <c:v>5.7963709670000004E-3</c:v>
                </c:pt>
                <c:pt idx="398">
                  <c:v>5.3016914919999996E-3</c:v>
                </c:pt>
                <c:pt idx="399">
                  <c:v>6.3430104900000003E-3</c:v>
                </c:pt>
                <c:pt idx="400">
                  <c:v>7.3365940410000004E-3</c:v>
                </c:pt>
                <c:pt idx="401">
                  <c:v>8.2593433819999999E-3</c:v>
                </c:pt>
                <c:pt idx="402">
                  <c:v>7.6116025499999998E-3</c:v>
                </c:pt>
                <c:pt idx="403">
                  <c:v>8.1932773100000002E-3</c:v>
                </c:pt>
                <c:pt idx="404">
                  <c:v>8.067542213E-3</c:v>
                </c:pt>
                <c:pt idx="405">
                  <c:v>9.3296475460000004E-3</c:v>
                </c:pt>
                <c:pt idx="406">
                  <c:v>1.0531279471E-2</c:v>
                </c:pt>
                <c:pt idx="407">
                  <c:v>1.0726695874999999E-2</c:v>
                </c:pt>
                <c:pt idx="408">
                  <c:v>1.0422870755999999E-2</c:v>
                </c:pt>
                <c:pt idx="409">
                  <c:v>9.610983981E-3</c:v>
                </c:pt>
                <c:pt idx="410">
                  <c:v>1.1354675918000001E-2</c:v>
                </c:pt>
                <c:pt idx="411">
                  <c:v>1.1670511602E-2</c:v>
                </c:pt>
                <c:pt idx="412">
                  <c:v>1.1547057362000001E-2</c:v>
                </c:pt>
                <c:pt idx="413">
                  <c:v>1.0452547808E-2</c:v>
                </c:pt>
                <c:pt idx="414">
                  <c:v>9.9865350079999995E-3</c:v>
                </c:pt>
                <c:pt idx="415">
                  <c:v>9.4825809110000003E-3</c:v>
                </c:pt>
                <c:pt idx="416">
                  <c:v>9.4502591200000003E-3</c:v>
                </c:pt>
                <c:pt idx="417">
                  <c:v>1.0031096398000001E-2</c:v>
                </c:pt>
                <c:pt idx="418">
                  <c:v>9.2851273620000001E-3</c:v>
                </c:pt>
                <c:pt idx="419">
                  <c:v>8.1716762589999995E-3</c:v>
                </c:pt>
                <c:pt idx="420">
                  <c:v>7.1311371949999997E-3</c:v>
                </c:pt>
                <c:pt idx="421">
                  <c:v>6.7252112040000001E-3</c:v>
                </c:pt>
                <c:pt idx="422">
                  <c:v>6.089898501E-3</c:v>
                </c:pt>
                <c:pt idx="423">
                  <c:v>5.9545790250000001E-3</c:v>
                </c:pt>
                <c:pt idx="424">
                  <c:v>6.2651033740000004E-3</c:v>
                </c:pt>
                <c:pt idx="425">
                  <c:v>6.7732321859999998E-3</c:v>
                </c:pt>
                <c:pt idx="426">
                  <c:v>5.981952752E-3</c:v>
                </c:pt>
                <c:pt idx="427">
                  <c:v>5.8684717130000003E-3</c:v>
                </c:pt>
                <c:pt idx="428">
                  <c:v>6.1594856069999999E-3</c:v>
                </c:pt>
                <c:pt idx="429">
                  <c:v>6.1023844499999997E-3</c:v>
                </c:pt>
                <c:pt idx="430">
                  <c:v>6.2676017439999999E-3</c:v>
                </c:pt>
                <c:pt idx="431">
                  <c:v>6.5647928499999999E-3</c:v>
                </c:pt>
                <c:pt idx="432">
                  <c:v>6.5188427859999998E-3</c:v>
                </c:pt>
                <c:pt idx="433">
                  <c:v>6.0185379350000002E-3</c:v>
                </c:pt>
                <c:pt idx="434">
                  <c:v>6.0536970790000004E-3</c:v>
                </c:pt>
                <c:pt idx="435">
                  <c:v>5.8870801949999999E-3</c:v>
                </c:pt>
                <c:pt idx="436">
                  <c:v>5.8211203940000001E-3</c:v>
                </c:pt>
                <c:pt idx="437">
                  <c:v>5.9424931070000001E-3</c:v>
                </c:pt>
                <c:pt idx="438">
                  <c:v>6.2294791009999996E-3</c:v>
                </c:pt>
                <c:pt idx="439">
                  <c:v>6.2696922440000002E-3</c:v>
                </c:pt>
                <c:pt idx="440">
                  <c:v>5.7157591640000002E-3</c:v>
                </c:pt>
                <c:pt idx="441">
                  <c:v>5.6102509629999998E-3</c:v>
                </c:pt>
                <c:pt idx="442">
                  <c:v>5.5907966880000002E-3</c:v>
                </c:pt>
                <c:pt idx="443">
                  <c:v>5.5255509949999997E-3</c:v>
                </c:pt>
                <c:pt idx="444">
                  <c:v>5.430847212E-3</c:v>
                </c:pt>
                <c:pt idx="445">
                  <c:v>5.4839354410000001E-3</c:v>
                </c:pt>
                <c:pt idx="446">
                  <c:v>5.4739170670000002E-3</c:v>
                </c:pt>
                <c:pt idx="447">
                  <c:v>4.8500795250000003E-3</c:v>
                </c:pt>
                <c:pt idx="448">
                  <c:v>4.9373226109999998E-3</c:v>
                </c:pt>
                <c:pt idx="449">
                  <c:v>5.0088246019999996E-3</c:v>
                </c:pt>
                <c:pt idx="450">
                  <c:v>4.8183677229999998E-3</c:v>
                </c:pt>
                <c:pt idx="451">
                  <c:v>4.820586533E-3</c:v>
                </c:pt>
                <c:pt idx="452">
                  <c:v>4.9563120089999996E-3</c:v>
                </c:pt>
                <c:pt idx="453">
                  <c:v>5.0406530710000001E-3</c:v>
                </c:pt>
                <c:pt idx="454">
                  <c:v>4.642225921E-3</c:v>
                </c:pt>
                <c:pt idx="455">
                  <c:v>4.8156040730000004E-3</c:v>
                </c:pt>
                <c:pt idx="456">
                  <c:v>4.835198043E-3</c:v>
                </c:pt>
                <c:pt idx="457">
                  <c:v>4.6175137570000002E-3</c:v>
                </c:pt>
                <c:pt idx="458">
                  <c:v>4.745843865E-3</c:v>
                </c:pt>
                <c:pt idx="459">
                  <c:v>4.7695218059999999E-3</c:v>
                </c:pt>
                <c:pt idx="460">
                  <c:v>4.6769230760000001E-3</c:v>
                </c:pt>
                <c:pt idx="461">
                  <c:v>4.3185025720000004E-3</c:v>
                </c:pt>
                <c:pt idx="462">
                  <c:v>4.3557339309999998E-3</c:v>
                </c:pt>
                <c:pt idx="463">
                  <c:v>4.325473495E-3</c:v>
                </c:pt>
                <c:pt idx="464">
                  <c:v>4.1126271280000001E-3</c:v>
                </c:pt>
                <c:pt idx="465">
                  <c:v>4.2563017120000003E-3</c:v>
                </c:pt>
                <c:pt idx="466">
                  <c:v>4.3238612479999999E-3</c:v>
                </c:pt>
                <c:pt idx="467">
                  <c:v>4.4997923169999999E-3</c:v>
                </c:pt>
                <c:pt idx="468">
                  <c:v>4.3509240019999999E-3</c:v>
                </c:pt>
                <c:pt idx="469">
                  <c:v>4.4881452699999996E-3</c:v>
                </c:pt>
                <c:pt idx="470">
                  <c:v>4.4958522399999997E-3</c:v>
                </c:pt>
                <c:pt idx="471">
                  <c:v>4.593123589E-3</c:v>
                </c:pt>
                <c:pt idx="472">
                  <c:v>4.8086133560000001E-3</c:v>
                </c:pt>
                <c:pt idx="473">
                  <c:v>4.9106547879999999E-3</c:v>
                </c:pt>
                <c:pt idx="474">
                  <c:v>4.8005586100000001E-3</c:v>
                </c:pt>
                <c:pt idx="475">
                  <c:v>4.470495687E-3</c:v>
                </c:pt>
                <c:pt idx="476">
                  <c:v>4.7030730890000004E-3</c:v>
                </c:pt>
                <c:pt idx="477">
                  <c:v>4.988171227E-3</c:v>
                </c:pt>
                <c:pt idx="478">
                  <c:v>5.1595915020000004E-3</c:v>
                </c:pt>
                <c:pt idx="479">
                  <c:v>5.148087761E-3</c:v>
                </c:pt>
                <c:pt idx="480">
                  <c:v>5.2789723229999998E-3</c:v>
                </c:pt>
                <c:pt idx="481">
                  <c:v>5.284135907E-3</c:v>
                </c:pt>
                <c:pt idx="482">
                  <c:v>5.2102281580000001E-3</c:v>
                </c:pt>
                <c:pt idx="483">
                  <c:v>5.5626683140000003E-3</c:v>
                </c:pt>
                <c:pt idx="484">
                  <c:v>5.4948505400000004E-3</c:v>
                </c:pt>
                <c:pt idx="485">
                  <c:v>5.5475542749999999E-3</c:v>
                </c:pt>
                <c:pt idx="486">
                  <c:v>6.1816452680000002E-3</c:v>
                </c:pt>
                <c:pt idx="487">
                  <c:v>6.7118628790000003E-3</c:v>
                </c:pt>
                <c:pt idx="488">
                  <c:v>6.9026474170000001E-3</c:v>
                </c:pt>
                <c:pt idx="489">
                  <c:v>6.9589132419999996E-3</c:v>
                </c:pt>
                <c:pt idx="490">
                  <c:v>7.7286693450000004E-3</c:v>
                </c:pt>
                <c:pt idx="491">
                  <c:v>7.6294277919999997E-3</c:v>
                </c:pt>
                <c:pt idx="492">
                  <c:v>7.9195937590000008E-3</c:v>
                </c:pt>
                <c:pt idx="493">
                  <c:v>8.1502671770000007E-3</c:v>
                </c:pt>
                <c:pt idx="494">
                  <c:v>7.8902229840000001E-3</c:v>
                </c:pt>
                <c:pt idx="495">
                  <c:v>6.8527974879999997E-3</c:v>
                </c:pt>
                <c:pt idx="496">
                  <c:v>5.9522583559999996E-3</c:v>
                </c:pt>
                <c:pt idx="497">
                  <c:v>5.3560378120000003E-3</c:v>
                </c:pt>
                <c:pt idx="498">
                  <c:v>4.8580601549999998E-3</c:v>
                </c:pt>
                <c:pt idx="499">
                  <c:v>4.7656541370000001E-3</c:v>
                </c:pt>
                <c:pt idx="500">
                  <c:v>4.6583522129999997E-3</c:v>
                </c:pt>
                <c:pt idx="501">
                  <c:v>4.2946541780000003E-3</c:v>
                </c:pt>
                <c:pt idx="502">
                  <c:v>3.718156383E-3</c:v>
                </c:pt>
                <c:pt idx="503">
                  <c:v>3.2258627000000002E-3</c:v>
                </c:pt>
                <c:pt idx="504">
                  <c:v>2.813970939E-3</c:v>
                </c:pt>
                <c:pt idx="505">
                  <c:v>2.3990721460000002E-3</c:v>
                </c:pt>
                <c:pt idx="506">
                  <c:v>2.0854907369999998E-3</c:v>
                </c:pt>
                <c:pt idx="507">
                  <c:v>1.7741555429999999E-3</c:v>
                </c:pt>
                <c:pt idx="508">
                  <c:v>1.577621635E-3</c:v>
                </c:pt>
                <c:pt idx="509">
                  <c:v>1.430492067E-3</c:v>
                </c:pt>
                <c:pt idx="510">
                  <c:v>1.1654705249999999E-3</c:v>
                </c:pt>
                <c:pt idx="511">
                  <c:v>1.111467685E-3</c:v>
                </c:pt>
                <c:pt idx="512">
                  <c:v>1.0263141350000001E-3</c:v>
                </c:pt>
                <c:pt idx="513">
                  <c:v>9.6736869299999997E-4</c:v>
                </c:pt>
                <c:pt idx="514">
                  <c:v>9.4923142799999995E-4</c:v>
                </c:pt>
                <c:pt idx="515">
                  <c:v>1.006596804E-3</c:v>
                </c:pt>
                <c:pt idx="516">
                  <c:v>1.04184206E-3</c:v>
                </c:pt>
                <c:pt idx="517">
                  <c:v>9.6476690300000001E-4</c:v>
                </c:pt>
                <c:pt idx="518">
                  <c:v>9.4661997200000002E-4</c:v>
                </c:pt>
                <c:pt idx="519">
                  <c:v>9.3711124200000003E-4</c:v>
                </c:pt>
                <c:pt idx="520">
                  <c:v>9.4069112399999995E-4</c:v>
                </c:pt>
                <c:pt idx="521">
                  <c:v>1.0024925780000001E-3</c:v>
                </c:pt>
                <c:pt idx="522">
                  <c:v>1.011658891E-3</c:v>
                </c:pt>
                <c:pt idx="523">
                  <c:v>1.0732271109999999E-3</c:v>
                </c:pt>
                <c:pt idx="524">
                  <c:v>9.6909693899999995E-4</c:v>
                </c:pt>
                <c:pt idx="525">
                  <c:v>1.0060297080000001E-3</c:v>
                </c:pt>
                <c:pt idx="526">
                  <c:v>1.078312902E-3</c:v>
                </c:pt>
                <c:pt idx="527">
                  <c:v>1.1048023939999999E-3</c:v>
                </c:pt>
                <c:pt idx="528">
                  <c:v>1.2254482210000001E-3</c:v>
                </c:pt>
                <c:pt idx="529">
                  <c:v>1.2660424529999999E-3</c:v>
                </c:pt>
                <c:pt idx="530">
                  <c:v>1.319312106E-3</c:v>
                </c:pt>
                <c:pt idx="531">
                  <c:v>1.2302606730000001E-3</c:v>
                </c:pt>
                <c:pt idx="532">
                  <c:v>1.4420725710000001E-3</c:v>
                </c:pt>
                <c:pt idx="533">
                  <c:v>1.569276943E-3</c:v>
                </c:pt>
                <c:pt idx="534">
                  <c:v>1.694422689E-3</c:v>
                </c:pt>
                <c:pt idx="535">
                  <c:v>1.8028813709999999E-3</c:v>
                </c:pt>
                <c:pt idx="536">
                  <c:v>1.8581622590000001E-3</c:v>
                </c:pt>
                <c:pt idx="537">
                  <c:v>1.9290123450000001E-3</c:v>
                </c:pt>
                <c:pt idx="538">
                  <c:v>1.8702960920000001E-3</c:v>
                </c:pt>
                <c:pt idx="539">
                  <c:v>2.137133816E-3</c:v>
                </c:pt>
                <c:pt idx="540">
                  <c:v>2.1574747070000001E-3</c:v>
                </c:pt>
                <c:pt idx="541">
                  <c:v>2.2259942520000001E-3</c:v>
                </c:pt>
                <c:pt idx="542">
                  <c:v>2.383582348999999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.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do_7_dne_7dni_shift7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67328850867000001</c:v>
                </c:pt>
                <c:pt idx="1">
                  <c:v>0.39993978321000001</c:v>
                </c:pt>
                <c:pt idx="2">
                  <c:v>0.17030812316999999</c:v>
                </c:pt>
                <c:pt idx="3">
                  <c:v>0.17230854604000001</c:v>
                </c:pt>
                <c:pt idx="4">
                  <c:v>-0.198519889</c:v>
                </c:pt>
                <c:pt idx="5">
                  <c:v>-6.3247073309999999E-2</c:v>
                </c:pt>
                <c:pt idx="6">
                  <c:v>-0.13280326201000001</c:v>
                </c:pt>
                <c:pt idx="7">
                  <c:v>-0.25707434624999997</c:v>
                </c:pt>
                <c:pt idx="8">
                  <c:v>-0.19069369107</c:v>
                </c:pt>
                <c:pt idx="9">
                  <c:v>-0.20137721525999999</c:v>
                </c:pt>
                <c:pt idx="10">
                  <c:v>3.6155202839999998E-2</c:v>
                </c:pt>
                <c:pt idx="11">
                  <c:v>-0.12852729929000001</c:v>
                </c:pt>
                <c:pt idx="12">
                  <c:v>0.1202000532</c:v>
                </c:pt>
                <c:pt idx="13">
                  <c:v>-1.744761895E-2</c:v>
                </c:pt>
                <c:pt idx="14">
                  <c:v>-0.10008960074000001</c:v>
                </c:pt>
                <c:pt idx="15">
                  <c:v>-0.11847039819999999</c:v>
                </c:pt>
                <c:pt idx="16">
                  <c:v>-0.23543689316999999</c:v>
                </c:pt>
                <c:pt idx="17">
                  <c:v>-0.26813172549999997</c:v>
                </c:pt>
                <c:pt idx="18">
                  <c:v>-0.38962784643999998</c:v>
                </c:pt>
                <c:pt idx="19">
                  <c:v>-0.21780156719999999</c:v>
                </c:pt>
                <c:pt idx="20">
                  <c:v>-2.242723189E-2</c:v>
                </c:pt>
                <c:pt idx="21">
                  <c:v>1.133757675E-2</c:v>
                </c:pt>
                <c:pt idx="22">
                  <c:v>0.14222798322999999</c:v>
                </c:pt>
                <c:pt idx="23">
                  <c:v>0.30826011566</c:v>
                </c:pt>
                <c:pt idx="24">
                  <c:v>0.31815670272000002</c:v>
                </c:pt>
                <c:pt idx="25">
                  <c:v>0.51004586298999999</c:v>
                </c:pt>
                <c:pt idx="26">
                  <c:v>0.37603207182999998</c:v>
                </c:pt>
                <c:pt idx="27">
                  <c:v>0.34536940930999999</c:v>
                </c:pt>
                <c:pt idx="28">
                  <c:v>0.17590695318999999</c:v>
                </c:pt>
                <c:pt idx="29">
                  <c:v>0.27295317476999997</c:v>
                </c:pt>
                <c:pt idx="30">
                  <c:v>0.19317961224999999</c:v>
                </c:pt>
                <c:pt idx="31">
                  <c:v>4.3992953600000002E-2</c:v>
                </c:pt>
                <c:pt idx="32">
                  <c:v>0.13163615351999999</c:v>
                </c:pt>
                <c:pt idx="33">
                  <c:v>0.13981514976000001</c:v>
                </c:pt>
                <c:pt idx="34">
                  <c:v>0.23522654954</c:v>
                </c:pt>
                <c:pt idx="35">
                  <c:v>0.15116530834</c:v>
                </c:pt>
                <c:pt idx="36">
                  <c:v>0.25340055244999998</c:v>
                </c:pt>
                <c:pt idx="37">
                  <c:v>0.29129758888000001</c:v>
                </c:pt>
                <c:pt idx="38">
                  <c:v>0.21151782455000001</c:v>
                </c:pt>
                <c:pt idx="39">
                  <c:v>0.2301199092</c:v>
                </c:pt>
                <c:pt idx="40">
                  <c:v>0.27400857071000001</c:v>
                </c:pt>
                <c:pt idx="41">
                  <c:v>0.1730058589</c:v>
                </c:pt>
                <c:pt idx="42">
                  <c:v>0.12869123729000001</c:v>
                </c:pt>
                <c:pt idx="43">
                  <c:v>8.26105283E-2</c:v>
                </c:pt>
                <c:pt idx="44">
                  <c:v>-1.8176365480000001E-2</c:v>
                </c:pt>
                <c:pt idx="45">
                  <c:v>-7.9124157769999995E-2</c:v>
                </c:pt>
                <c:pt idx="46">
                  <c:v>-0.11770193206</c:v>
                </c:pt>
                <c:pt idx="47">
                  <c:v>-5.258765218E-2</c:v>
                </c:pt>
                <c:pt idx="48">
                  <c:v>-0.13097481562999999</c:v>
                </c:pt>
                <c:pt idx="49">
                  <c:v>-0.16079852799</c:v>
                </c:pt>
                <c:pt idx="50">
                  <c:v>-0.19565434959</c:v>
                </c:pt>
                <c:pt idx="51">
                  <c:v>-0.2044248233</c:v>
                </c:pt>
                <c:pt idx="52">
                  <c:v>-0.25627656511000002</c:v>
                </c:pt>
                <c:pt idx="53">
                  <c:v>-0.25838719085</c:v>
                </c:pt>
                <c:pt idx="54">
                  <c:v>-0.14453689368</c:v>
                </c:pt>
                <c:pt idx="55">
                  <c:v>-0.14066418237</c:v>
                </c:pt>
                <c:pt idx="56">
                  <c:v>-0.10610163342999999</c:v>
                </c:pt>
                <c:pt idx="57">
                  <c:v>-7.1863363040000003E-2</c:v>
                </c:pt>
                <c:pt idx="58">
                  <c:v>-6.0128257769999999E-2</c:v>
                </c:pt>
                <c:pt idx="59">
                  <c:v>-9.3799795859999993E-2</c:v>
                </c:pt>
                <c:pt idx="60">
                  <c:v>-8.5191989189999998E-2</c:v>
                </c:pt>
                <c:pt idx="61">
                  <c:v>-1.002553307E-2</c:v>
                </c:pt>
                <c:pt idx="62">
                  <c:v>-9.5299099199999994E-3</c:v>
                </c:pt>
                <c:pt idx="63">
                  <c:v>-4.6490029439999997E-2</c:v>
                </c:pt>
                <c:pt idx="64">
                  <c:v>4.5088498499999997E-3</c:v>
                </c:pt>
                <c:pt idx="65">
                  <c:v>2.1533308979999999E-2</c:v>
                </c:pt>
                <c:pt idx="66">
                  <c:v>3.099548685E-2</c:v>
                </c:pt>
                <c:pt idx="67">
                  <c:v>3.4140556760000003E-2</c:v>
                </c:pt>
                <c:pt idx="68">
                  <c:v>0.13497978698999999</c:v>
                </c:pt>
                <c:pt idx="69">
                  <c:v>0.11906476798</c:v>
                </c:pt>
                <c:pt idx="70">
                  <c:v>1.9394377010000002E-2</c:v>
                </c:pt>
                <c:pt idx="71">
                  <c:v>3.502641796E-2</c:v>
                </c:pt>
                <c:pt idx="72">
                  <c:v>-1.410739536E-2</c:v>
                </c:pt>
                <c:pt idx="73">
                  <c:v>-2.812419532E-2</c:v>
                </c:pt>
                <c:pt idx="74">
                  <c:v>-5.7221004589999999E-2</c:v>
                </c:pt>
                <c:pt idx="75">
                  <c:v>2.157702894E-2</c:v>
                </c:pt>
                <c:pt idx="76">
                  <c:v>1.6428776610000001E-2</c:v>
                </c:pt>
                <c:pt idx="77">
                  <c:v>-1.1478316630000001E-2</c:v>
                </c:pt>
                <c:pt idx="78">
                  <c:v>9.3515261150000001E-2</c:v>
                </c:pt>
                <c:pt idx="79">
                  <c:v>9.4665195849999995E-2</c:v>
                </c:pt>
                <c:pt idx="80">
                  <c:v>0.14625126599999999</c:v>
                </c:pt>
                <c:pt idx="81">
                  <c:v>0.15679050907</c:v>
                </c:pt>
                <c:pt idx="82">
                  <c:v>0.27693386008999998</c:v>
                </c:pt>
                <c:pt idx="83">
                  <c:v>0.26668200157999999</c:v>
                </c:pt>
                <c:pt idx="84">
                  <c:v>0.19184528379999999</c:v>
                </c:pt>
                <c:pt idx="85">
                  <c:v>0.21809027620999999</c:v>
                </c:pt>
                <c:pt idx="86">
                  <c:v>0.15428059759000001</c:v>
                </c:pt>
                <c:pt idx="87">
                  <c:v>0.21459263948000001</c:v>
                </c:pt>
                <c:pt idx="88">
                  <c:v>0.18412223032</c:v>
                </c:pt>
                <c:pt idx="89">
                  <c:v>0.13041345262000001</c:v>
                </c:pt>
                <c:pt idx="90">
                  <c:v>1.8393049370000001E-2</c:v>
                </c:pt>
                <c:pt idx="91">
                  <c:v>-4.0696978039999998E-2</c:v>
                </c:pt>
                <c:pt idx="92">
                  <c:v>-7.2751324699999995E-2</c:v>
                </c:pt>
                <c:pt idx="93">
                  <c:v>-0.1424362361</c:v>
                </c:pt>
                <c:pt idx="94">
                  <c:v>-0.12911724662999999</c:v>
                </c:pt>
                <c:pt idx="95">
                  <c:v>-6.0639971000000001E-2</c:v>
                </c:pt>
                <c:pt idx="96">
                  <c:v>4.6253846099999999E-3</c:v>
                </c:pt>
                <c:pt idx="97">
                  <c:v>1.4812460180000001E-2</c:v>
                </c:pt>
                <c:pt idx="98">
                  <c:v>6.1167366770000002E-2</c:v>
                </c:pt>
                <c:pt idx="99">
                  <c:v>5.6484014069999998E-2</c:v>
                </c:pt>
                <c:pt idx="100">
                  <c:v>2.6581474979999999E-2</c:v>
                </c:pt>
                <c:pt idx="101">
                  <c:v>5.9959480240000002E-2</c:v>
                </c:pt>
                <c:pt idx="102">
                  <c:v>0.11691724319000001</c:v>
                </c:pt>
                <c:pt idx="103">
                  <c:v>0.11555303527999999</c:v>
                </c:pt>
                <c:pt idx="104">
                  <c:v>4.0079720139999997E-2</c:v>
                </c:pt>
                <c:pt idx="105">
                  <c:v>2.6778590380000002E-2</c:v>
                </c:pt>
                <c:pt idx="106">
                  <c:v>1.8762305720000001E-2</c:v>
                </c:pt>
                <c:pt idx="107">
                  <c:v>-8.7364067619999999E-2</c:v>
                </c:pt>
                <c:pt idx="108">
                  <c:v>-0.14710883280000001</c:v>
                </c:pt>
                <c:pt idx="109">
                  <c:v>-0.15279825634999999</c:v>
                </c:pt>
                <c:pt idx="110">
                  <c:v>-0.10787224907</c:v>
                </c:pt>
                <c:pt idx="111">
                  <c:v>-0.15817489433000001</c:v>
                </c:pt>
                <c:pt idx="112">
                  <c:v>-0.18556192194000001</c:v>
                </c:pt>
                <c:pt idx="113">
                  <c:v>-0.16792833571999999</c:v>
                </c:pt>
                <c:pt idx="114">
                  <c:v>-0.21737977528999999</c:v>
                </c:pt>
                <c:pt idx="115">
                  <c:v>-0.20494098261999999</c:v>
                </c:pt>
                <c:pt idx="116">
                  <c:v>-0.18504440996999999</c:v>
                </c:pt>
                <c:pt idx="117">
                  <c:v>-0.16950996194000001</c:v>
                </c:pt>
                <c:pt idx="118">
                  <c:v>-0.21858195781</c:v>
                </c:pt>
                <c:pt idx="119">
                  <c:v>-0.23843251718</c:v>
                </c:pt>
                <c:pt idx="120">
                  <c:v>-0.15970670023</c:v>
                </c:pt>
                <c:pt idx="121">
                  <c:v>-9.8638913989999993E-2</c:v>
                </c:pt>
                <c:pt idx="122">
                  <c:v>-3.4576335239999999E-2</c:v>
                </c:pt>
                <c:pt idx="123">
                  <c:v>0.12882864407</c:v>
                </c:pt>
                <c:pt idx="124">
                  <c:v>0.29172079018000002</c:v>
                </c:pt>
                <c:pt idx="125">
                  <c:v>0.30806974221</c:v>
                </c:pt>
                <c:pt idx="126">
                  <c:v>0.25531813916000001</c:v>
                </c:pt>
                <c:pt idx="127">
                  <c:v>0.17783351347000001</c:v>
                </c:pt>
                <c:pt idx="128">
                  <c:v>0.10540366964</c:v>
                </c:pt>
                <c:pt idx="129">
                  <c:v>1.3272876700000001E-3</c:v>
                </c:pt>
                <c:pt idx="130">
                  <c:v>-3.1677332430000003E-2</c:v>
                </c:pt>
                <c:pt idx="131">
                  <c:v>-4.9285087339999999E-2</c:v>
                </c:pt>
                <c:pt idx="132">
                  <c:v>-9.7632945629999995E-2</c:v>
                </c:pt>
                <c:pt idx="133">
                  <c:v>-0.11415744043999999</c:v>
                </c:pt>
                <c:pt idx="134">
                  <c:v>-0.15172446301</c:v>
                </c:pt>
                <c:pt idx="135">
                  <c:v>-0.12943314749000001</c:v>
                </c:pt>
                <c:pt idx="136">
                  <c:v>-0.15100830035999999</c:v>
                </c:pt>
                <c:pt idx="137">
                  <c:v>-0.12196099434</c:v>
                </c:pt>
                <c:pt idx="138">
                  <c:v>-7.6639220140000006E-2</c:v>
                </c:pt>
                <c:pt idx="139">
                  <c:v>-7.9408718599999997E-2</c:v>
                </c:pt>
                <c:pt idx="140">
                  <c:v>-5.2787179900000002E-2</c:v>
                </c:pt>
                <c:pt idx="141">
                  <c:v>-1.6779293430000002E-2</c:v>
                </c:pt>
                <c:pt idx="142">
                  <c:v>7.2208644530000005E-2</c:v>
                </c:pt>
                <c:pt idx="143">
                  <c:v>0.14381470342</c:v>
                </c:pt>
                <c:pt idx="144">
                  <c:v>0.20041730894000001</c:v>
                </c:pt>
                <c:pt idx="145">
                  <c:v>0.21906390467</c:v>
                </c:pt>
                <c:pt idx="146">
                  <c:v>0.19923206124000001</c:v>
                </c:pt>
                <c:pt idx="147">
                  <c:v>0.16143404329</c:v>
                </c:pt>
                <c:pt idx="148">
                  <c:v>9.2506879530000002E-2</c:v>
                </c:pt>
                <c:pt idx="149">
                  <c:v>2.7490118479999999E-2</c:v>
                </c:pt>
                <c:pt idx="150">
                  <c:v>1.9977864000000001E-2</c:v>
                </c:pt>
                <c:pt idx="151">
                  <c:v>5.328283608E-2</c:v>
                </c:pt>
                <c:pt idx="152">
                  <c:v>5.3705653909999998E-2</c:v>
                </c:pt>
                <c:pt idx="153">
                  <c:v>-1.6055398200000001E-2</c:v>
                </c:pt>
                <c:pt idx="154">
                  <c:v>-2.1994637569999999E-2</c:v>
                </c:pt>
                <c:pt idx="155">
                  <c:v>4.8134812600000004E-3</c:v>
                </c:pt>
                <c:pt idx="156">
                  <c:v>1.783429768E-2</c:v>
                </c:pt>
                <c:pt idx="157">
                  <c:v>2.936547603E-2</c:v>
                </c:pt>
                <c:pt idx="158">
                  <c:v>6.4676648370000006E-2</c:v>
                </c:pt>
                <c:pt idx="159">
                  <c:v>7.6264954240000002E-2</c:v>
                </c:pt>
                <c:pt idx="160">
                  <c:v>5.824577526E-2</c:v>
                </c:pt>
                <c:pt idx="161">
                  <c:v>7.273655758E-2</c:v>
                </c:pt>
                <c:pt idx="162">
                  <c:v>6.4581769349999998E-2</c:v>
                </c:pt>
                <c:pt idx="163">
                  <c:v>5.2771963210000002E-2</c:v>
                </c:pt>
                <c:pt idx="164">
                  <c:v>3.2226514929999998E-2</c:v>
                </c:pt>
                <c:pt idx="165">
                  <c:v>7.4416555009999996E-2</c:v>
                </c:pt>
                <c:pt idx="166">
                  <c:v>7.4134545699999999E-2</c:v>
                </c:pt>
                <c:pt idx="167">
                  <c:v>3.7962348960000003E-2</c:v>
                </c:pt>
                <c:pt idx="168">
                  <c:v>2.4433942810000001E-2</c:v>
                </c:pt>
                <c:pt idx="169">
                  <c:v>1.7153309370000001E-2</c:v>
                </c:pt>
                <c:pt idx="170">
                  <c:v>-1.6655789930000001E-2</c:v>
                </c:pt>
                <c:pt idx="171">
                  <c:v>-4.597987798E-2</c:v>
                </c:pt>
                <c:pt idx="172">
                  <c:v>3.3558482260000001E-2</c:v>
                </c:pt>
                <c:pt idx="173">
                  <c:v>3.7349677480000003E-2</c:v>
                </c:pt>
                <c:pt idx="174">
                  <c:v>3.46275621E-3</c:v>
                </c:pt>
                <c:pt idx="175">
                  <c:v>-2.7786474700000001E-2</c:v>
                </c:pt>
                <c:pt idx="176">
                  <c:v>-3.1342973779999998E-2</c:v>
                </c:pt>
                <c:pt idx="177">
                  <c:v>-5.2950660230000002E-2</c:v>
                </c:pt>
                <c:pt idx="178">
                  <c:v>-5.9966399199999999E-2</c:v>
                </c:pt>
                <c:pt idx="179">
                  <c:v>-9.7877682500000004E-3</c:v>
                </c:pt>
                <c:pt idx="180">
                  <c:v>-4.0620128970000002E-2</c:v>
                </c:pt>
                <c:pt idx="181">
                  <c:v>-8.583348616E-2</c:v>
                </c:pt>
                <c:pt idx="182">
                  <c:v>-6.2202048570000001E-2</c:v>
                </c:pt>
                <c:pt idx="183">
                  <c:v>-6.3911922900000001E-3</c:v>
                </c:pt>
                <c:pt idx="184">
                  <c:v>-6.5374428030000001E-2</c:v>
                </c:pt>
                <c:pt idx="185">
                  <c:v>-7.9858217319999994E-2</c:v>
                </c:pt>
                <c:pt idx="186">
                  <c:v>-2.017305111E-2</c:v>
                </c:pt>
                <c:pt idx="187">
                  <c:v>3.6087302690000003E-2</c:v>
                </c:pt>
                <c:pt idx="188">
                  <c:v>2.62413588E-3</c:v>
                </c:pt>
                <c:pt idx="189">
                  <c:v>-8.9758761000000003E-3</c:v>
                </c:pt>
                <c:pt idx="190">
                  <c:v>-1.519844886E-2</c:v>
                </c:pt>
                <c:pt idx="191">
                  <c:v>-6.5283664529999993E-2</c:v>
                </c:pt>
                <c:pt idx="192">
                  <c:v>-5.4911161960000003E-2</c:v>
                </c:pt>
                <c:pt idx="193">
                  <c:v>-2.069025603E-2</c:v>
                </c:pt>
                <c:pt idx="194">
                  <c:v>6.7718418799999998E-3</c:v>
                </c:pt>
                <c:pt idx="195">
                  <c:v>-7.3203807819999994E-2</c:v>
                </c:pt>
                <c:pt idx="196">
                  <c:v>-5.5746608539999999E-2</c:v>
                </c:pt>
                <c:pt idx="197">
                  <c:v>9.6850222899999994E-3</c:v>
                </c:pt>
                <c:pt idx="198">
                  <c:v>4.3706958279999999E-2</c:v>
                </c:pt>
                <c:pt idx="199">
                  <c:v>5.017956791E-2</c:v>
                </c:pt>
                <c:pt idx="200">
                  <c:v>8.6894495259999996E-2</c:v>
                </c:pt>
                <c:pt idx="201">
                  <c:v>0.14599696295</c:v>
                </c:pt>
                <c:pt idx="202">
                  <c:v>6.8840982019999997E-2</c:v>
                </c:pt>
                <c:pt idx="203">
                  <c:v>8.4733847010000002E-2</c:v>
                </c:pt>
                <c:pt idx="204">
                  <c:v>3.828157485E-2</c:v>
                </c:pt>
                <c:pt idx="205">
                  <c:v>-1.515213082E-2</c:v>
                </c:pt>
                <c:pt idx="206">
                  <c:v>-6.3725838940000001E-2</c:v>
                </c:pt>
                <c:pt idx="207">
                  <c:v>-5.365451333E-2</c:v>
                </c:pt>
                <c:pt idx="208">
                  <c:v>3.3298903909999997E-2</c:v>
                </c:pt>
                <c:pt idx="209">
                  <c:v>-4.5063962190000001E-2</c:v>
                </c:pt>
                <c:pt idx="210">
                  <c:v>-4.9318350299999997E-3</c:v>
                </c:pt>
                <c:pt idx="211">
                  <c:v>2.1070038789999999E-2</c:v>
                </c:pt>
                <c:pt idx="212">
                  <c:v>7.4966274469999997E-2</c:v>
                </c:pt>
                <c:pt idx="213">
                  <c:v>0.10184809834</c:v>
                </c:pt>
                <c:pt idx="214">
                  <c:v>0.11605610878</c:v>
                </c:pt>
                <c:pt idx="215">
                  <c:v>0.15419814647999999</c:v>
                </c:pt>
                <c:pt idx="216">
                  <c:v>2.0021074730000001E-2</c:v>
                </c:pt>
                <c:pt idx="217">
                  <c:v>1.4243867509999999E-2</c:v>
                </c:pt>
                <c:pt idx="218">
                  <c:v>-1.051305837E-2</c:v>
                </c:pt>
                <c:pt idx="219">
                  <c:v>-4.9118443299999998E-3</c:v>
                </c:pt>
                <c:pt idx="220">
                  <c:v>3.813965423E-2</c:v>
                </c:pt>
                <c:pt idx="221">
                  <c:v>8.4467669659999994E-2</c:v>
                </c:pt>
                <c:pt idx="222">
                  <c:v>0.17039806158000001</c:v>
                </c:pt>
                <c:pt idx="223">
                  <c:v>0.17407988762000001</c:v>
                </c:pt>
                <c:pt idx="224">
                  <c:v>0.20331777402000001</c:v>
                </c:pt>
                <c:pt idx="225">
                  <c:v>0.21310320956000001</c:v>
                </c:pt>
                <c:pt idx="226">
                  <c:v>0.17138333121999999</c:v>
                </c:pt>
                <c:pt idx="227">
                  <c:v>0.1586752253</c:v>
                </c:pt>
                <c:pt idx="228">
                  <c:v>0.12552482325</c:v>
                </c:pt>
                <c:pt idx="229">
                  <c:v>0.10864345098</c:v>
                </c:pt>
                <c:pt idx="230">
                  <c:v>1.0178131999999999E-2</c:v>
                </c:pt>
                <c:pt idx="231">
                  <c:v>-3.2073749079999998E-2</c:v>
                </c:pt>
                <c:pt idx="232">
                  <c:v>-7.1920742299999996E-3</c:v>
                </c:pt>
                <c:pt idx="233">
                  <c:v>-7.6444050000000005E-5</c:v>
                </c:pt>
                <c:pt idx="234">
                  <c:v>8.5833841379999998E-2</c:v>
                </c:pt>
                <c:pt idx="235">
                  <c:v>7.1781844629999994E-2</c:v>
                </c:pt>
                <c:pt idx="236">
                  <c:v>7.7364452040000004E-2</c:v>
                </c:pt>
                <c:pt idx="237">
                  <c:v>1.326205902E-2</c:v>
                </c:pt>
                <c:pt idx="238">
                  <c:v>-2.6191267300000001E-2</c:v>
                </c:pt>
                <c:pt idx="239">
                  <c:v>-3.9898751830000002E-2</c:v>
                </c:pt>
                <c:pt idx="240">
                  <c:v>-0.10822907267</c:v>
                </c:pt>
                <c:pt idx="241">
                  <c:v>-7.2356464910000001E-2</c:v>
                </c:pt>
                <c:pt idx="242">
                  <c:v>-2.934305064E-2</c:v>
                </c:pt>
                <c:pt idx="243">
                  <c:v>3.09564479E-2</c:v>
                </c:pt>
                <c:pt idx="244">
                  <c:v>-1.8876810649999999E-2</c:v>
                </c:pt>
                <c:pt idx="245">
                  <c:v>1.9931978270000001E-2</c:v>
                </c:pt>
                <c:pt idx="246">
                  <c:v>5.8448907830000001E-2</c:v>
                </c:pt>
                <c:pt idx="247">
                  <c:v>-5.4071936000000002E-4</c:v>
                </c:pt>
                <c:pt idx="248">
                  <c:v>1.18915693E-2</c:v>
                </c:pt>
                <c:pt idx="249">
                  <c:v>3.108522293E-2</c:v>
                </c:pt>
                <c:pt idx="250">
                  <c:v>1.1841304380000001E-2</c:v>
                </c:pt>
                <c:pt idx="251">
                  <c:v>-9.5674211699999998E-2</c:v>
                </c:pt>
                <c:pt idx="252">
                  <c:v>-0.10106150782999999</c:v>
                </c:pt>
                <c:pt idx="253">
                  <c:v>-0.13663135944999999</c:v>
                </c:pt>
                <c:pt idx="254">
                  <c:v>-0.19388197340999999</c:v>
                </c:pt>
                <c:pt idx="255">
                  <c:v>-0.20169309596000001</c:v>
                </c:pt>
                <c:pt idx="256">
                  <c:v>-8.21965048E-2</c:v>
                </c:pt>
                <c:pt idx="257">
                  <c:v>-5.2564133030000001E-2</c:v>
                </c:pt>
                <c:pt idx="258">
                  <c:v>-0.15050428254000001</c:v>
                </c:pt>
                <c:pt idx="259">
                  <c:v>-6.0010948809999999E-2</c:v>
                </c:pt>
                <c:pt idx="260">
                  <c:v>6.2144925300000001E-2</c:v>
                </c:pt>
                <c:pt idx="261">
                  <c:v>5.965040311E-2</c:v>
                </c:pt>
                <c:pt idx="262">
                  <c:v>4.1833259820000003E-2</c:v>
                </c:pt>
                <c:pt idx="263">
                  <c:v>8.5928226659999996E-2</c:v>
                </c:pt>
                <c:pt idx="264">
                  <c:v>7.6743524300000004E-2</c:v>
                </c:pt>
                <c:pt idx="265">
                  <c:v>1.5819144099999999E-3</c:v>
                </c:pt>
                <c:pt idx="266">
                  <c:v>6.3332784239999995E-2</c:v>
                </c:pt>
                <c:pt idx="267">
                  <c:v>-8.0352859599999993E-3</c:v>
                </c:pt>
                <c:pt idx="268">
                  <c:v>-0.10571772194</c:v>
                </c:pt>
                <c:pt idx="269">
                  <c:v>5.0784879500000001E-3</c:v>
                </c:pt>
                <c:pt idx="270">
                  <c:v>0.14619706185</c:v>
                </c:pt>
                <c:pt idx="271">
                  <c:v>8.023151915E-2</c:v>
                </c:pt>
                <c:pt idx="272">
                  <c:v>-5.3001819259999999E-2</c:v>
                </c:pt>
                <c:pt idx="273">
                  <c:v>4.2646154000000004E-3</c:v>
                </c:pt>
                <c:pt idx="274">
                  <c:v>-7.8893238249999997E-2</c:v>
                </c:pt>
                <c:pt idx="275">
                  <c:v>-0.14083915636</c:v>
                </c:pt>
                <c:pt idx="276">
                  <c:v>-0.14372671836000001</c:v>
                </c:pt>
                <c:pt idx="277">
                  <c:v>-0.12572427258999999</c:v>
                </c:pt>
                <c:pt idx="278">
                  <c:v>-0.18710812434999999</c:v>
                </c:pt>
                <c:pt idx="279">
                  <c:v>-0.14588217110999999</c:v>
                </c:pt>
                <c:pt idx="280">
                  <c:v>-9.1955575969999995E-2</c:v>
                </c:pt>
                <c:pt idx="281">
                  <c:v>-0.18530963638</c:v>
                </c:pt>
                <c:pt idx="282">
                  <c:v>-0.18732745108000001</c:v>
                </c:pt>
                <c:pt idx="283">
                  <c:v>-0.11604691017</c:v>
                </c:pt>
                <c:pt idx="284">
                  <c:v>-2.5597140229999999E-2</c:v>
                </c:pt>
                <c:pt idx="285">
                  <c:v>-0.19559451279000001</c:v>
                </c:pt>
                <c:pt idx="286">
                  <c:v>-0.34764209514</c:v>
                </c:pt>
                <c:pt idx="287">
                  <c:v>-0.35361905606999999</c:v>
                </c:pt>
                <c:pt idx="288">
                  <c:v>-0.32337962963</c:v>
                </c:pt>
                <c:pt idx="289">
                  <c:v>-0.39531758531</c:v>
                </c:pt>
                <c:pt idx="290">
                  <c:v>-0.43364104117000002</c:v>
                </c:pt>
                <c:pt idx="291">
                  <c:v>-0.52551471890000001</c:v>
                </c:pt>
                <c:pt idx="292">
                  <c:v>-0.41064814821000001</c:v>
                </c:pt>
                <c:pt idx="293">
                  <c:v>-0.35042894444</c:v>
                </c:pt>
                <c:pt idx="294">
                  <c:v>8.651911474E-2</c:v>
                </c:pt>
                <c:pt idx="295">
                  <c:v>0.17212736501000001</c:v>
                </c:pt>
                <c:pt idx="296">
                  <c:v>0.45422535221999999</c:v>
                </c:pt>
                <c:pt idx="297">
                  <c:v>1.27062868382</c:v>
                </c:pt>
                <c:pt idx="298">
                  <c:v>1.70000000051</c:v>
                </c:pt>
                <c:pt idx="299">
                  <c:v>1.3620104842</c:v>
                </c:pt>
                <c:pt idx="300">
                  <c:v>0.11921182266999999</c:v>
                </c:pt>
                <c:pt idx="301">
                  <c:v>0.12909388645</c:v>
                </c:pt>
                <c:pt idx="302">
                  <c:v>-0.28364232572999998</c:v>
                </c:pt>
                <c:pt idx="303">
                  <c:v>-0.33464052288000001</c:v>
                </c:pt>
                <c:pt idx="304">
                  <c:v>-0.609375</c:v>
                </c:pt>
                <c:pt idx="305">
                  <c:v>-0.71664482305999999</c:v>
                </c:pt>
                <c:pt idx="306">
                  <c:v>-0.55741279069000005</c:v>
                </c:pt>
                <c:pt idx="307">
                  <c:v>-0.56380952383000005</c:v>
                </c:pt>
                <c:pt idx="308">
                  <c:v>-4.8596112240000003E-2</c:v>
                </c:pt>
                <c:pt idx="309">
                  <c:v>3.6585365779999997E-2</c:v>
                </c:pt>
                <c:pt idx="310">
                  <c:v>0.70180436838000004</c:v>
                </c:pt>
                <c:pt idx="311">
                  <c:v>1.55550239225</c:v>
                </c:pt>
                <c:pt idx="312">
                  <c:v>0.84605949086999999</c:v>
                </c:pt>
                <c:pt idx="313">
                  <c:v>0.81347150258000001</c:v>
                </c:pt>
                <c:pt idx="314">
                  <c:v>-0.16801437563999999</c:v>
                </c:pt>
                <c:pt idx="315">
                  <c:v>-6.6666666659999999E-2</c:v>
                </c:pt>
                <c:pt idx="316">
                  <c:v>-0.44326953579</c:v>
                </c:pt>
                <c:pt idx="317">
                  <c:v>-0.59294965434000002</c:v>
                </c:pt>
                <c:pt idx="318">
                  <c:v>-0.46965261518000001</c:v>
                </c:pt>
                <c:pt idx="319">
                  <c:v>-0.44746636124</c:v>
                </c:pt>
                <c:pt idx="320">
                  <c:v>-0.18061349677999999</c:v>
                </c:pt>
                <c:pt idx="321">
                  <c:v>-0.22890055636000001</c:v>
                </c:pt>
                <c:pt idx="322">
                  <c:v>0.50873096448999999</c:v>
                </c:pt>
                <c:pt idx="323">
                  <c:v>0.92015706824999999</c:v>
                </c:pt>
                <c:pt idx="324">
                  <c:v>0.54430379756000002</c:v>
                </c:pt>
                <c:pt idx="325">
                  <c:v>0.65688987272999999</c:v>
                </c:pt>
                <c:pt idx="326">
                  <c:v>0.38920454530999998</c:v>
                </c:pt>
                <c:pt idx="327">
                  <c:v>0.37424616229000002</c:v>
                </c:pt>
                <c:pt idx="328">
                  <c:v>-4.8401120729999997E-2</c:v>
                </c:pt>
                <c:pt idx="329">
                  <c:v>0.17243303573999999</c:v>
                </c:pt>
                <c:pt idx="330">
                  <c:v>-2.2680412350000002E-2</c:v>
                </c:pt>
                <c:pt idx="331">
                  <c:v>-5.172011663E-2</c:v>
                </c:pt>
                <c:pt idx="332">
                  <c:v>0.10206637448</c:v>
                </c:pt>
                <c:pt idx="333">
                  <c:v>7.6729481699999999E-3</c:v>
                </c:pt>
                <c:pt idx="334">
                  <c:v>-3.7340153360000003E-2</c:v>
                </c:pt>
                <c:pt idx="335">
                  <c:v>-0.18443508934</c:v>
                </c:pt>
                <c:pt idx="336">
                  <c:v>3.4666666649999997E-2</c:v>
                </c:pt>
                <c:pt idx="337">
                  <c:v>-0.22433288109999999</c:v>
                </c:pt>
                <c:pt idx="338">
                  <c:v>1.2521794330000001E-2</c:v>
                </c:pt>
                <c:pt idx="339">
                  <c:v>-1.0192147049999999E-2</c:v>
                </c:pt>
                <c:pt idx="340">
                  <c:v>0.37460937501000002</c:v>
                </c:pt>
                <c:pt idx="341">
                  <c:v>0.47744082845000002</c:v>
                </c:pt>
                <c:pt idx="342">
                  <c:v>0.61406025827999999</c:v>
                </c:pt>
                <c:pt idx="343">
                  <c:v>1.18856718633</c:v>
                </c:pt>
                <c:pt idx="344">
                  <c:v>0.73912213741999999</c:v>
                </c:pt>
                <c:pt idx="345">
                  <c:v>0.81552262111999996</c:v>
                </c:pt>
                <c:pt idx="346">
                  <c:v>0.31484334862000002</c:v>
                </c:pt>
                <c:pt idx="347">
                  <c:v>0.25962732916999998</c:v>
                </c:pt>
                <c:pt idx="348">
                  <c:v>5.0468637300000001E-3</c:v>
                </c:pt>
                <c:pt idx="349">
                  <c:v>-9.8996655530000005E-2</c:v>
                </c:pt>
                <c:pt idx="350">
                  <c:v>-0.17906940311</c:v>
                </c:pt>
                <c:pt idx="351">
                  <c:v>-0.37021025740000002</c:v>
                </c:pt>
                <c:pt idx="352">
                  <c:v>-0.14153439151</c:v>
                </c:pt>
                <c:pt idx="353">
                  <c:v>-0.27231638424999999</c:v>
                </c:pt>
                <c:pt idx="354">
                  <c:v>-8.9243075470000002E-2</c:v>
                </c:pt>
                <c:pt idx="355">
                  <c:v>0.24169435220999999</c:v>
                </c:pt>
                <c:pt idx="356">
                  <c:v>0.20564763651000001</c:v>
                </c:pt>
                <c:pt idx="357">
                  <c:v>0.38300570705999998</c:v>
                </c:pt>
                <c:pt idx="358">
                  <c:v>7.5508864070000001E-2</c:v>
                </c:pt>
                <c:pt idx="359">
                  <c:v>0.66722074486000005</c:v>
                </c:pt>
                <c:pt idx="360">
                  <c:v>0.43400102727000001</c:v>
                </c:pt>
                <c:pt idx="361">
                  <c:v>0.16244267436000001</c:v>
                </c:pt>
                <c:pt idx="362">
                  <c:v>7.3122529699999994E-2</c:v>
                </c:pt>
                <c:pt idx="363">
                  <c:v>-0.18868167208</c:v>
                </c:pt>
                <c:pt idx="364">
                  <c:v>-0.14372604141</c:v>
                </c:pt>
                <c:pt idx="365">
                  <c:v>-0.29692247762000001</c:v>
                </c:pt>
                <c:pt idx="366">
                  <c:v>-0.30451866411</c:v>
                </c:pt>
                <c:pt idx="367">
                  <c:v>-0.53626595027000001</c:v>
                </c:pt>
                <c:pt idx="368">
                  <c:v>-0.60331010461000001</c:v>
                </c:pt>
                <c:pt idx="369">
                  <c:v>-0.42187168054000002</c:v>
                </c:pt>
                <c:pt idx="370">
                  <c:v>-0.58464425685999999</c:v>
                </c:pt>
                <c:pt idx="371">
                  <c:v>-0.54408212567000003</c:v>
                </c:pt>
                <c:pt idx="372">
                  <c:v>-0.62835864489000004</c:v>
                </c:pt>
                <c:pt idx="373">
                  <c:v>-7.3492809749999999E-2</c:v>
                </c:pt>
                <c:pt idx="374">
                  <c:v>0.17494541500999999</c:v>
                </c:pt>
                <c:pt idx="375">
                  <c:v>0.21816770194999999</c:v>
                </c:pt>
                <c:pt idx="376">
                  <c:v>1.14293680358</c:v>
                </c:pt>
                <c:pt idx="377">
                  <c:v>0.88131515672000005</c:v>
                </c:pt>
                <c:pt idx="378">
                  <c:v>1.51764705923</c:v>
                </c:pt>
                <c:pt idx="379">
                  <c:v>0.31874544126999999</c:v>
                </c:pt>
                <c:pt idx="380">
                  <c:v>0.55439854991000004</c:v>
                </c:pt>
                <c:pt idx="381">
                  <c:v>0.23883770384</c:v>
                </c:pt>
                <c:pt idx="382">
                  <c:v>6.1254152780000001E-2</c:v>
                </c:pt>
                <c:pt idx="383">
                  <c:v>0.27529260251999998</c:v>
                </c:pt>
                <c:pt idx="384">
                  <c:v>0.37247706426999999</c:v>
                </c:pt>
                <c:pt idx="385">
                  <c:v>0.51811481369000001</c:v>
                </c:pt>
                <c:pt idx="386">
                  <c:v>0.27440283107000002</c:v>
                </c:pt>
                <c:pt idx="387">
                  <c:v>0.47700928251000002</c:v>
                </c:pt>
                <c:pt idx="388">
                  <c:v>0.37060600216</c:v>
                </c:pt>
                <c:pt idx="389">
                  <c:v>0.14571589955</c:v>
                </c:pt>
                <c:pt idx="390">
                  <c:v>2.8880313000000002E-3</c:v>
                </c:pt>
                <c:pt idx="391">
                  <c:v>-0.25955691447000001</c:v>
                </c:pt>
                <c:pt idx="392">
                  <c:v>-0.48975548591000001</c:v>
                </c:pt>
                <c:pt idx="393">
                  <c:v>-0.49510214126000002</c:v>
                </c:pt>
                <c:pt idx="394">
                  <c:v>-0.46522531674000001</c:v>
                </c:pt>
                <c:pt idx="395">
                  <c:v>-0.48772321429999999</c:v>
                </c:pt>
                <c:pt idx="396">
                  <c:v>-0.40358819591</c:v>
                </c:pt>
                <c:pt idx="397">
                  <c:v>-0.21448439372</c:v>
                </c:pt>
                <c:pt idx="398">
                  <c:v>6.7701758880000004E-2</c:v>
                </c:pt>
                <c:pt idx="399">
                  <c:v>0.26331625594000002</c:v>
                </c:pt>
                <c:pt idx="400">
                  <c:v>0.44979250036000001</c:v>
                </c:pt>
                <c:pt idx="401">
                  <c:v>0.61883130297</c:v>
                </c:pt>
                <c:pt idx="402">
                  <c:v>0.26098882262</c:v>
                </c:pt>
                <c:pt idx="403">
                  <c:v>0.41351845088</c:v>
                </c:pt>
                <c:pt idx="404">
                  <c:v>0.52169212885000005</c:v>
                </c:pt>
                <c:pt idx="405">
                  <c:v>0.47085481896999998</c:v>
                </c:pt>
                <c:pt idx="406">
                  <c:v>0.43544530502000001</c:v>
                </c:pt>
                <c:pt idx="407">
                  <c:v>0.29873470309</c:v>
                </c:pt>
                <c:pt idx="408">
                  <c:v>0.36933985812999998</c:v>
                </c:pt>
                <c:pt idx="409">
                  <c:v>0.17303291677999999</c:v>
                </c:pt>
                <c:pt idx="410">
                  <c:v>0.40745168951999999</c:v>
                </c:pt>
                <c:pt idx="411">
                  <c:v>0.25090594734999999</c:v>
                </c:pt>
                <c:pt idx="412">
                  <c:v>9.6453417060000005E-2</c:v>
                </c:pt>
                <c:pt idx="413">
                  <c:v>-2.5557550070000001E-2</c:v>
                </c:pt>
                <c:pt idx="414">
                  <c:v>-4.186329833E-2</c:v>
                </c:pt>
                <c:pt idx="415">
                  <c:v>-1.336003371E-2</c:v>
                </c:pt>
                <c:pt idx="416">
                  <c:v>-0.16772092939</c:v>
                </c:pt>
                <c:pt idx="417">
                  <c:v>-0.14047500741999999</c:v>
                </c:pt>
                <c:pt idx="418">
                  <c:v>-0.19588800237000001</c:v>
                </c:pt>
                <c:pt idx="419">
                  <c:v>-0.21821201786</c:v>
                </c:pt>
                <c:pt idx="420">
                  <c:v>-0.28592477878</c:v>
                </c:pt>
                <c:pt idx="421">
                  <c:v>-0.29078261844999997</c:v>
                </c:pt>
                <c:pt idx="422">
                  <c:v>-0.35558396613999999</c:v>
                </c:pt>
                <c:pt idx="423">
                  <c:v>-0.40638801693999999</c:v>
                </c:pt>
                <c:pt idx="424">
                  <c:v>-0.32525391093</c:v>
                </c:pt>
                <c:pt idx="425">
                  <c:v>-0.17113307339</c:v>
                </c:pt>
                <c:pt idx="426">
                  <c:v>-0.16115023614999999</c:v>
                </c:pt>
                <c:pt idx="427">
                  <c:v>-0.12739220598000001</c:v>
                </c:pt>
                <c:pt idx="428">
                  <c:v>1.1426644620000001E-2</c:v>
                </c:pt>
                <c:pt idx="429">
                  <c:v>2.4822145170000001E-2</c:v>
                </c:pt>
                <c:pt idx="430">
                  <c:v>3.9877553999999999E-4</c:v>
                </c:pt>
                <c:pt idx="431">
                  <c:v>-3.0773983559999999E-2</c:v>
                </c:pt>
                <c:pt idx="432">
                  <c:v>8.9751633989999996E-2</c:v>
                </c:pt>
                <c:pt idx="433">
                  <c:v>2.5571601829999999E-2</c:v>
                </c:pt>
                <c:pt idx="434">
                  <c:v>-1.7174896530000001E-2</c:v>
                </c:pt>
                <c:pt idx="435">
                  <c:v>-3.5281988010000001E-2</c:v>
                </c:pt>
                <c:pt idx="436">
                  <c:v>-7.1236394430000002E-2</c:v>
                </c:pt>
                <c:pt idx="437">
                  <c:v>-9.4793507910000005E-2</c:v>
                </c:pt>
                <c:pt idx="438">
                  <c:v>-4.4388811709999997E-2</c:v>
                </c:pt>
                <c:pt idx="439">
                  <c:v>4.1730119789999999E-2</c:v>
                </c:pt>
                <c:pt idx="440">
                  <c:v>-5.5823393630000002E-2</c:v>
                </c:pt>
                <c:pt idx="441">
                  <c:v>-4.7023180050000002E-2</c:v>
                </c:pt>
                <c:pt idx="442">
                  <c:v>-3.9566903E-2</c:v>
                </c:pt>
                <c:pt idx="443">
                  <c:v>-7.0162826349999999E-2</c:v>
                </c:pt>
                <c:pt idx="444">
                  <c:v>-0.12820203358999999</c:v>
                </c:pt>
                <c:pt idx="445">
                  <c:v>-0.12532621577</c:v>
                </c:pt>
                <c:pt idx="446">
                  <c:v>-4.2311456800000001E-2</c:v>
                </c:pt>
                <c:pt idx="447">
                  <c:v>-0.13549686867999999</c:v>
                </c:pt>
                <c:pt idx="448">
                  <c:v>-0.11688389212</c:v>
                </c:pt>
                <c:pt idx="449">
                  <c:v>-9.3515812889999994E-2</c:v>
                </c:pt>
                <c:pt idx="450">
                  <c:v>-0.11277788991</c:v>
                </c:pt>
                <c:pt idx="451">
                  <c:v>-0.12096220226</c:v>
                </c:pt>
                <c:pt idx="452">
                  <c:v>-9.4558439899999999E-2</c:v>
                </c:pt>
                <c:pt idx="453">
                  <c:v>3.9292870350000002E-2</c:v>
                </c:pt>
                <c:pt idx="454">
                  <c:v>-5.9768565519999997E-2</c:v>
                </c:pt>
                <c:pt idx="455">
                  <c:v>-3.8576022190000003E-2</c:v>
                </c:pt>
                <c:pt idx="456">
                  <c:v>3.49295051E-3</c:v>
                </c:pt>
                <c:pt idx="457">
                  <c:v>-4.21261551E-2</c:v>
                </c:pt>
                <c:pt idx="458">
                  <c:v>-4.2464667999999997E-2</c:v>
                </c:pt>
                <c:pt idx="459">
                  <c:v>-5.3788916069999998E-2</c:v>
                </c:pt>
                <c:pt idx="460">
                  <c:v>7.4742495400000001E-3</c:v>
                </c:pt>
                <c:pt idx="461">
                  <c:v>-0.10322723658999999</c:v>
                </c:pt>
                <c:pt idx="462">
                  <c:v>-9.9161214849999998E-2</c:v>
                </c:pt>
                <c:pt idx="463">
                  <c:v>-6.324621373E-2</c:v>
                </c:pt>
                <c:pt idx="464">
                  <c:v>-0.13342553084</c:v>
                </c:pt>
                <c:pt idx="465">
                  <c:v>-0.10760409845</c:v>
                </c:pt>
                <c:pt idx="466">
                  <c:v>-7.5490193499999997E-2</c:v>
                </c:pt>
                <c:pt idx="467">
                  <c:v>4.1979770059999998E-2</c:v>
                </c:pt>
                <c:pt idx="468">
                  <c:v>-1.1042751999999999E-3</c:v>
                </c:pt>
                <c:pt idx="469">
                  <c:v>3.7607853839999997E-2</c:v>
                </c:pt>
                <c:pt idx="470">
                  <c:v>9.3182557050000003E-2</c:v>
                </c:pt>
                <c:pt idx="471">
                  <c:v>7.9134868669999997E-2</c:v>
                </c:pt>
                <c:pt idx="472">
                  <c:v>0.11211093053</c:v>
                </c:pt>
                <c:pt idx="473">
                  <c:v>9.1306985310000005E-2</c:v>
                </c:pt>
                <c:pt idx="474">
                  <c:v>0.10334232631</c:v>
                </c:pt>
                <c:pt idx="475">
                  <c:v>-3.9324892399999999E-3</c:v>
                </c:pt>
                <c:pt idx="476">
                  <c:v>4.6091561269999998E-2</c:v>
                </c:pt>
                <c:pt idx="477">
                  <c:v>8.6008492980000004E-2</c:v>
                </c:pt>
                <c:pt idx="478">
                  <c:v>7.2989471180000001E-2</c:v>
                </c:pt>
                <c:pt idx="479">
                  <c:v>4.8350573030000003E-2</c:v>
                </c:pt>
                <c:pt idx="480">
                  <c:v>9.9657925640000006E-2</c:v>
                </c:pt>
                <c:pt idx="481">
                  <c:v>0.18200223799000001</c:v>
                </c:pt>
                <c:pt idx="482">
                  <c:v>0.10783482615999999</c:v>
                </c:pt>
                <c:pt idx="483">
                  <c:v>0.11517188581</c:v>
                </c:pt>
                <c:pt idx="484">
                  <c:v>6.4977825830000002E-2</c:v>
                </c:pt>
                <c:pt idx="485">
                  <c:v>7.7595125129999998E-2</c:v>
                </c:pt>
                <c:pt idx="486">
                  <c:v>0.17099406659999999</c:v>
                </c:pt>
                <c:pt idx="487">
                  <c:v>0.27019119059000002</c:v>
                </c:pt>
                <c:pt idx="488">
                  <c:v>0.32482632384999999</c:v>
                </c:pt>
                <c:pt idx="489">
                  <c:v>0.25100272910999999</c:v>
                </c:pt>
                <c:pt idx="490">
                  <c:v>0.40652949314999998</c:v>
                </c:pt>
                <c:pt idx="491">
                  <c:v>0.37527771946999999</c:v>
                </c:pt>
                <c:pt idx="492">
                  <c:v>0.28114659053000002</c:v>
                </c:pt>
                <c:pt idx="493">
                  <c:v>0.21430775984</c:v>
                </c:pt>
                <c:pt idx="494">
                  <c:v>0.14307199938000001</c:v>
                </c:pt>
                <c:pt idx="495">
                  <c:v>-1.524889739E-2</c:v>
                </c:pt>
                <c:pt idx="496">
                  <c:v>-0.22984693867</c:v>
                </c:pt>
                <c:pt idx="497">
                  <c:v>-0.29797647241000003</c:v>
                </c:pt>
                <c:pt idx="498">
                  <c:v>-0.38657710195</c:v>
                </c:pt>
                <c:pt idx="499">
                  <c:v>-0.41527632978000001</c:v>
                </c:pt>
                <c:pt idx="500">
                  <c:v>-0.40960449121999998</c:v>
                </c:pt>
                <c:pt idx="501">
                  <c:v>-0.37329912557</c:v>
                </c:pt>
                <c:pt idx="502">
                  <c:v>-0.37533686196999999</c:v>
                </c:pt>
                <c:pt idx="503">
                  <c:v>-0.39771472620999998</c:v>
                </c:pt>
                <c:pt idx="504">
                  <c:v>-0.42076243412999997</c:v>
                </c:pt>
                <c:pt idx="505">
                  <c:v>-0.49659121768999998</c:v>
                </c:pt>
                <c:pt idx="506">
                  <c:v>-0.55231149521</c:v>
                </c:pt>
                <c:pt idx="507">
                  <c:v>-0.58689210597999997</c:v>
                </c:pt>
                <c:pt idx="508">
                  <c:v>-0.57569788021000001</c:v>
                </c:pt>
                <c:pt idx="509">
                  <c:v>-0.55655519157</c:v>
                </c:pt>
                <c:pt idx="510">
                  <c:v>-0.58582709264999999</c:v>
                </c:pt>
                <c:pt idx="511">
                  <c:v>-0.53670935370999995</c:v>
                </c:pt>
                <c:pt idx="512">
                  <c:v>-0.50787883312000004</c:v>
                </c:pt>
                <c:pt idx="513">
                  <c:v>-0.45474414752999998</c:v>
                </c:pt>
                <c:pt idx="514">
                  <c:v>-0.39831490202999997</c:v>
                </c:pt>
                <c:pt idx="515">
                  <c:v>-0.29632828644999998</c:v>
                </c:pt>
                <c:pt idx="516">
                  <c:v>-0.10607601166</c:v>
                </c:pt>
                <c:pt idx="517">
                  <c:v>-0.13198834656</c:v>
                </c:pt>
                <c:pt idx="518">
                  <c:v>-7.7650848100000003E-2</c:v>
                </c:pt>
                <c:pt idx="519">
                  <c:v>-3.1278096149999997E-2</c:v>
                </c:pt>
                <c:pt idx="520">
                  <c:v>-8.9970725199999997E-3</c:v>
                </c:pt>
                <c:pt idx="521">
                  <c:v>-4.0773286599999998E-3</c:v>
                </c:pt>
                <c:pt idx="522">
                  <c:v>-2.8970964169999999E-2</c:v>
                </c:pt>
                <c:pt idx="523">
                  <c:v>0.1124211534</c:v>
                </c:pt>
                <c:pt idx="524">
                  <c:v>2.3744446200000002E-2</c:v>
                </c:pt>
                <c:pt idx="525">
                  <c:v>7.3543527070000003E-2</c:v>
                </c:pt>
                <c:pt idx="526">
                  <c:v>0.14629858247999999</c:v>
                </c:pt>
                <c:pt idx="527">
                  <c:v>0.10205543486</c:v>
                </c:pt>
                <c:pt idx="528">
                  <c:v>0.21132550891999999</c:v>
                </c:pt>
                <c:pt idx="529">
                  <c:v>0.17965940294999999</c:v>
                </c:pt>
                <c:pt idx="530">
                  <c:v>0.36138300814000002</c:v>
                </c:pt>
                <c:pt idx="531">
                  <c:v>0.22288702133999999</c:v>
                </c:pt>
                <c:pt idx="532">
                  <c:v>0.33734147881999998</c:v>
                </c:pt>
                <c:pt idx="533">
                  <c:v>0.42041414058999999</c:v>
                </c:pt>
                <c:pt idx="534">
                  <c:v>0.38269627386999999</c:v>
                </c:pt>
                <c:pt idx="535">
                  <c:v>0.42402916010000002</c:v>
                </c:pt>
                <c:pt idx="536">
                  <c:v>0.40843266013000001</c:v>
                </c:pt>
                <c:pt idx="537">
                  <c:v>0.56797042068000003</c:v>
                </c:pt>
                <c:pt idx="538">
                  <c:v>0.29695004926000002</c:v>
                </c:pt>
                <c:pt idx="539">
                  <c:v>0.36185892842</c:v>
                </c:pt>
                <c:pt idx="540">
                  <c:v>0.27328010949999998</c:v>
                </c:pt>
                <c:pt idx="541">
                  <c:v>0.23468703364999999</c:v>
                </c:pt>
                <c:pt idx="542">
                  <c:v>0.282763298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JIP_v_den_pozitivity_7dni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7.4753899999999998E-2</c:v>
                </c:pt>
                <c:pt idx="1">
                  <c:v>8.4098099999999995E-2</c:v>
                </c:pt>
                <c:pt idx="2">
                  <c:v>0.10278660000000001</c:v>
                </c:pt>
                <c:pt idx="3">
                  <c:v>0.1308193</c:v>
                </c:pt>
                <c:pt idx="4">
                  <c:v>0.1401636</c:v>
                </c:pt>
                <c:pt idx="5">
                  <c:v>0.1588521</c:v>
                </c:pt>
                <c:pt idx="6">
                  <c:v>0.16819629999999999</c:v>
                </c:pt>
                <c:pt idx="7">
                  <c:v>0.1308193</c:v>
                </c:pt>
                <c:pt idx="8">
                  <c:v>0.1401636</c:v>
                </c:pt>
                <c:pt idx="9">
                  <c:v>0.16819629999999999</c:v>
                </c:pt>
                <c:pt idx="10">
                  <c:v>0.17754059999999999</c:v>
                </c:pt>
                <c:pt idx="11">
                  <c:v>0.1588521</c:v>
                </c:pt>
                <c:pt idx="12">
                  <c:v>0.16819629999999999</c:v>
                </c:pt>
                <c:pt idx="13">
                  <c:v>0.1588521</c:v>
                </c:pt>
                <c:pt idx="14">
                  <c:v>0.25229449999999998</c:v>
                </c:pt>
                <c:pt idx="15">
                  <c:v>0.24295030000000001</c:v>
                </c:pt>
                <c:pt idx="16">
                  <c:v>0.27098299999999997</c:v>
                </c:pt>
                <c:pt idx="17">
                  <c:v>0.27098299999999997</c:v>
                </c:pt>
                <c:pt idx="18">
                  <c:v>0.28967150000000003</c:v>
                </c:pt>
                <c:pt idx="19">
                  <c:v>0.34573690000000001</c:v>
                </c:pt>
                <c:pt idx="20">
                  <c:v>0.4018024</c:v>
                </c:pt>
                <c:pt idx="21">
                  <c:v>0.37376969999999998</c:v>
                </c:pt>
                <c:pt idx="22">
                  <c:v>0.46721210000000002</c:v>
                </c:pt>
                <c:pt idx="23">
                  <c:v>0.53262180000000003</c:v>
                </c:pt>
                <c:pt idx="24">
                  <c:v>0.57934300000000005</c:v>
                </c:pt>
                <c:pt idx="25">
                  <c:v>0.59803150000000005</c:v>
                </c:pt>
                <c:pt idx="26">
                  <c:v>0.57934300000000005</c:v>
                </c:pt>
                <c:pt idx="27">
                  <c:v>0.60737569999999996</c:v>
                </c:pt>
                <c:pt idx="28">
                  <c:v>0.64475269999999996</c:v>
                </c:pt>
                <c:pt idx="29">
                  <c:v>0.63540839999999998</c:v>
                </c:pt>
                <c:pt idx="30">
                  <c:v>0.61672000000000005</c:v>
                </c:pt>
                <c:pt idx="31">
                  <c:v>0.7008181</c:v>
                </c:pt>
                <c:pt idx="32">
                  <c:v>0.73819509999999999</c:v>
                </c:pt>
                <c:pt idx="33">
                  <c:v>0.76622780000000001</c:v>
                </c:pt>
                <c:pt idx="34">
                  <c:v>1.0091781</c:v>
                </c:pt>
                <c:pt idx="35">
                  <c:v>1.1119648</c:v>
                </c:pt>
                <c:pt idx="36">
                  <c:v>1.2708169</c:v>
                </c:pt>
                <c:pt idx="37">
                  <c:v>1.3549150999999999</c:v>
                </c:pt>
                <c:pt idx="38">
                  <c:v>1.4950787999999999</c:v>
                </c:pt>
                <c:pt idx="39">
                  <c:v>1.6072097000000001</c:v>
                </c:pt>
                <c:pt idx="40">
                  <c:v>1.7006521000000001</c:v>
                </c:pt>
                <c:pt idx="41">
                  <c:v>1.6165539</c:v>
                </c:pt>
                <c:pt idx="42">
                  <c:v>1.6445866</c:v>
                </c:pt>
                <c:pt idx="43">
                  <c:v>1.6819636</c:v>
                </c:pt>
                <c:pt idx="44">
                  <c:v>1.7660617999999999</c:v>
                </c:pt>
                <c:pt idx="45">
                  <c:v>1.8688484999999999</c:v>
                </c:pt>
                <c:pt idx="46">
                  <c:v>1.8034387999999999</c:v>
                </c:pt>
                <c:pt idx="47">
                  <c:v>1.9249139</c:v>
                </c:pt>
                <c:pt idx="48">
                  <c:v>2.1398315000000001</c:v>
                </c:pt>
                <c:pt idx="49">
                  <c:v>2.2332738999999999</c:v>
                </c:pt>
                <c:pt idx="50">
                  <c:v>2.3921260000000002</c:v>
                </c:pt>
                <c:pt idx="51">
                  <c:v>2.5509781999999999</c:v>
                </c:pt>
                <c:pt idx="52">
                  <c:v>2.504257</c:v>
                </c:pt>
                <c:pt idx="53">
                  <c:v>2.7752400000000002</c:v>
                </c:pt>
                <c:pt idx="54">
                  <c:v>2.8686824</c:v>
                </c:pt>
                <c:pt idx="55">
                  <c:v>3.0462229999999999</c:v>
                </c:pt>
                <c:pt idx="56">
                  <c:v>3.3078618</c:v>
                </c:pt>
                <c:pt idx="57">
                  <c:v>3.1863866999999999</c:v>
                </c:pt>
                <c:pt idx="58">
                  <c:v>3.2704848000000002</c:v>
                </c:pt>
                <c:pt idx="59">
                  <c:v>3.3639272999999998</c:v>
                </c:pt>
                <c:pt idx="60">
                  <c:v>3.3639272999999998</c:v>
                </c:pt>
                <c:pt idx="61">
                  <c:v>3.2517963999999999</c:v>
                </c:pt>
                <c:pt idx="62">
                  <c:v>3.3078618</c:v>
                </c:pt>
                <c:pt idx="63">
                  <c:v>3.1303212</c:v>
                </c:pt>
                <c:pt idx="64">
                  <c:v>3.1022884999999998</c:v>
                </c:pt>
                <c:pt idx="65">
                  <c:v>3.0742557000000001</c:v>
                </c:pt>
                <c:pt idx="66">
                  <c:v>3.1022884999999998</c:v>
                </c:pt>
                <c:pt idx="67">
                  <c:v>3.0088461</c:v>
                </c:pt>
                <c:pt idx="68">
                  <c:v>2.9154035999999999</c:v>
                </c:pt>
                <c:pt idx="69">
                  <c:v>2.5603224</c:v>
                </c:pt>
                <c:pt idx="70">
                  <c:v>2.5416338999999999</c:v>
                </c:pt>
                <c:pt idx="71">
                  <c:v>2.5790109000000001</c:v>
                </c:pt>
                <c:pt idx="72">
                  <c:v>2.3360606000000002</c:v>
                </c:pt>
                <c:pt idx="73">
                  <c:v>2.0931103000000002</c:v>
                </c:pt>
                <c:pt idx="74">
                  <c:v>2.0090121000000001</c:v>
                </c:pt>
                <c:pt idx="75">
                  <c:v>1.9436024000000001</c:v>
                </c:pt>
                <c:pt idx="76">
                  <c:v>1.9529466</c:v>
                </c:pt>
                <c:pt idx="77">
                  <c:v>1.7099963</c:v>
                </c:pt>
                <c:pt idx="78">
                  <c:v>1.6072097000000001</c:v>
                </c:pt>
                <c:pt idx="79">
                  <c:v>1.6352424000000001</c:v>
                </c:pt>
                <c:pt idx="80">
                  <c:v>1.5511442</c:v>
                </c:pt>
                <c:pt idx="81">
                  <c:v>1.5698327000000001</c:v>
                </c:pt>
                <c:pt idx="82">
                  <c:v>1.5698327000000001</c:v>
                </c:pt>
                <c:pt idx="83">
                  <c:v>1.3922920999999999</c:v>
                </c:pt>
                <c:pt idx="84">
                  <c:v>1.4390133000000001</c:v>
                </c:pt>
                <c:pt idx="85">
                  <c:v>1.4296690999999999</c:v>
                </c:pt>
                <c:pt idx="86">
                  <c:v>1.3268823999999999</c:v>
                </c:pt>
                <c:pt idx="87">
                  <c:v>1.3549150999999999</c:v>
                </c:pt>
                <c:pt idx="88">
                  <c:v>1.2240956999999999</c:v>
                </c:pt>
                <c:pt idx="89">
                  <c:v>1.1960630000000001</c:v>
                </c:pt>
                <c:pt idx="90">
                  <c:v>1.2334400000000001</c:v>
                </c:pt>
                <c:pt idx="91">
                  <c:v>1.1867188</c:v>
                </c:pt>
                <c:pt idx="92">
                  <c:v>1.1586860000000001</c:v>
                </c:pt>
                <c:pt idx="93">
                  <c:v>1.2334400000000001</c:v>
                </c:pt>
                <c:pt idx="94">
                  <c:v>1.2614726999999999</c:v>
                </c:pt>
                <c:pt idx="95">
                  <c:v>1.2801612</c:v>
                </c:pt>
                <c:pt idx="96">
                  <c:v>1.3175380999999999</c:v>
                </c:pt>
                <c:pt idx="97">
                  <c:v>1.3175380999999999</c:v>
                </c:pt>
                <c:pt idx="98">
                  <c:v>1.4016363000000001</c:v>
                </c:pt>
                <c:pt idx="99">
                  <c:v>1.3642593999999999</c:v>
                </c:pt>
                <c:pt idx="100">
                  <c:v>1.3455709</c:v>
                </c:pt>
                <c:pt idx="101">
                  <c:v>1.2521285</c:v>
                </c:pt>
                <c:pt idx="102">
                  <c:v>1.2895053999999999</c:v>
                </c:pt>
                <c:pt idx="103">
                  <c:v>1.3081939</c:v>
                </c:pt>
                <c:pt idx="104">
                  <c:v>1.4109806</c:v>
                </c:pt>
                <c:pt idx="105">
                  <c:v>1.3736036</c:v>
                </c:pt>
                <c:pt idx="106">
                  <c:v>1.3549150999999999</c:v>
                </c:pt>
                <c:pt idx="107">
                  <c:v>1.3362266</c:v>
                </c:pt>
                <c:pt idx="108">
                  <c:v>1.4016363000000001</c:v>
                </c:pt>
                <c:pt idx="109">
                  <c:v>1.3642593999999999</c:v>
                </c:pt>
                <c:pt idx="110">
                  <c:v>1.3829477999999999</c:v>
                </c:pt>
                <c:pt idx="111">
                  <c:v>1.2988497000000001</c:v>
                </c:pt>
                <c:pt idx="112">
                  <c:v>1.2895053999999999</c:v>
                </c:pt>
                <c:pt idx="113">
                  <c:v>1.4857345</c:v>
                </c:pt>
                <c:pt idx="114">
                  <c:v>1.4109806</c:v>
                </c:pt>
                <c:pt idx="115">
                  <c:v>1.4390133000000001</c:v>
                </c:pt>
                <c:pt idx="116">
                  <c:v>1.4950787999999999</c:v>
                </c:pt>
                <c:pt idx="117">
                  <c:v>1.6352424000000001</c:v>
                </c:pt>
                <c:pt idx="118">
                  <c:v>1.8968811999999999</c:v>
                </c:pt>
                <c:pt idx="119">
                  <c:v>2.1585200000000002</c:v>
                </c:pt>
                <c:pt idx="120">
                  <c:v>2.1865527</c:v>
                </c:pt>
                <c:pt idx="121">
                  <c:v>2.3360606000000002</c:v>
                </c:pt>
                <c:pt idx="122">
                  <c:v>2.2986835999999999</c:v>
                </c:pt>
                <c:pt idx="123">
                  <c:v>2.3640933</c:v>
                </c:pt>
                <c:pt idx="124">
                  <c:v>2.3360606000000002</c:v>
                </c:pt>
                <c:pt idx="125">
                  <c:v>2.2052412000000001</c:v>
                </c:pt>
                <c:pt idx="126">
                  <c:v>2.2239296999999998</c:v>
                </c:pt>
                <c:pt idx="127">
                  <c:v>2.2239296999999998</c:v>
                </c:pt>
                <c:pt idx="128">
                  <c:v>2.2052412000000001</c:v>
                </c:pt>
                <c:pt idx="129">
                  <c:v>2.3734375999999999</c:v>
                </c:pt>
                <c:pt idx="130">
                  <c:v>2.4388472999999999</c:v>
                </c:pt>
                <c:pt idx="131">
                  <c:v>2.3640933</c:v>
                </c:pt>
                <c:pt idx="132">
                  <c:v>2.2893393999999998</c:v>
                </c:pt>
                <c:pt idx="133">
                  <c:v>2.0744218000000001</c:v>
                </c:pt>
                <c:pt idx="134">
                  <c:v>1.9903236</c:v>
                </c:pt>
                <c:pt idx="135">
                  <c:v>2.0744218000000001</c:v>
                </c:pt>
                <c:pt idx="136">
                  <c:v>1.9996678999999999</c:v>
                </c:pt>
                <c:pt idx="137">
                  <c:v>1.812783</c:v>
                </c:pt>
                <c:pt idx="138">
                  <c:v>1.7380291000000001</c:v>
                </c:pt>
                <c:pt idx="139">
                  <c:v>1.775406</c:v>
                </c:pt>
                <c:pt idx="140">
                  <c:v>1.8034387999999999</c:v>
                </c:pt>
                <c:pt idx="141">
                  <c:v>1.7940944999999999</c:v>
                </c:pt>
                <c:pt idx="142">
                  <c:v>1.5698327000000001</c:v>
                </c:pt>
                <c:pt idx="143">
                  <c:v>1.5418000000000001</c:v>
                </c:pt>
                <c:pt idx="144">
                  <c:v>1.6165539</c:v>
                </c:pt>
                <c:pt idx="145">
                  <c:v>1.6072097000000001</c:v>
                </c:pt>
                <c:pt idx="146">
                  <c:v>1.6165539</c:v>
                </c:pt>
                <c:pt idx="147">
                  <c:v>1.6258982</c:v>
                </c:pt>
                <c:pt idx="148">
                  <c:v>1.4950787999999999</c:v>
                </c:pt>
                <c:pt idx="149">
                  <c:v>1.5418000000000001</c:v>
                </c:pt>
                <c:pt idx="150">
                  <c:v>1.5885212</c:v>
                </c:pt>
                <c:pt idx="151">
                  <c:v>1.5978654000000001</c:v>
                </c:pt>
                <c:pt idx="152">
                  <c:v>1.6258982</c:v>
                </c:pt>
                <c:pt idx="153">
                  <c:v>1.6632750999999999</c:v>
                </c:pt>
                <c:pt idx="154">
                  <c:v>1.5604884999999999</c:v>
                </c:pt>
                <c:pt idx="155">
                  <c:v>1.6258982</c:v>
                </c:pt>
                <c:pt idx="156">
                  <c:v>1.7660617999999999</c:v>
                </c:pt>
                <c:pt idx="157">
                  <c:v>1.7847503</c:v>
                </c:pt>
                <c:pt idx="158">
                  <c:v>1.7847503</c:v>
                </c:pt>
                <c:pt idx="159">
                  <c:v>1.7380291000000001</c:v>
                </c:pt>
                <c:pt idx="160">
                  <c:v>1.6352424000000001</c:v>
                </c:pt>
                <c:pt idx="161">
                  <c:v>1.812783</c:v>
                </c:pt>
                <c:pt idx="162">
                  <c:v>1.8875369</c:v>
                </c:pt>
                <c:pt idx="163">
                  <c:v>1.7940944999999999</c:v>
                </c:pt>
                <c:pt idx="164">
                  <c:v>1.7006521000000001</c:v>
                </c:pt>
                <c:pt idx="165">
                  <c:v>1.5698327000000001</c:v>
                </c:pt>
                <c:pt idx="166">
                  <c:v>1.6819636</c:v>
                </c:pt>
                <c:pt idx="167">
                  <c:v>1.6819636</c:v>
                </c:pt>
                <c:pt idx="168">
                  <c:v>1.7099963</c:v>
                </c:pt>
                <c:pt idx="169">
                  <c:v>1.7847503</c:v>
                </c:pt>
                <c:pt idx="170">
                  <c:v>1.8688484999999999</c:v>
                </c:pt>
                <c:pt idx="171">
                  <c:v>1.8408157000000001</c:v>
                </c:pt>
                <c:pt idx="172">
                  <c:v>2.0837659999999998</c:v>
                </c:pt>
                <c:pt idx="173">
                  <c:v>2.1398315000000001</c:v>
                </c:pt>
                <c:pt idx="174">
                  <c:v>2.2519624</c:v>
                </c:pt>
                <c:pt idx="175">
                  <c:v>2.1865527</c:v>
                </c:pt>
                <c:pt idx="176">
                  <c:v>2.1678641999999999</c:v>
                </c:pt>
                <c:pt idx="177">
                  <c:v>2.2332738999999999</c:v>
                </c:pt>
                <c:pt idx="178">
                  <c:v>2.3173721</c:v>
                </c:pt>
                <c:pt idx="179">
                  <c:v>2.2052412000000001</c:v>
                </c:pt>
                <c:pt idx="180">
                  <c:v>2.2332738999999999</c:v>
                </c:pt>
                <c:pt idx="181">
                  <c:v>2.2332738999999999</c:v>
                </c:pt>
                <c:pt idx="182">
                  <c:v>2.2799950999999998</c:v>
                </c:pt>
                <c:pt idx="183">
                  <c:v>2.2519624</c:v>
                </c:pt>
                <c:pt idx="184">
                  <c:v>2.1772084999999999</c:v>
                </c:pt>
                <c:pt idx="185">
                  <c:v>2.2893393999999998</c:v>
                </c:pt>
                <c:pt idx="186">
                  <c:v>2.3547490999999998</c:v>
                </c:pt>
                <c:pt idx="187">
                  <c:v>2.1958969000000002</c:v>
                </c:pt>
                <c:pt idx="188">
                  <c:v>2.3360606000000002</c:v>
                </c:pt>
                <c:pt idx="189">
                  <c:v>2.2332738999999999</c:v>
                </c:pt>
                <c:pt idx="190">
                  <c:v>2.2145853999999998</c:v>
                </c:pt>
                <c:pt idx="191">
                  <c:v>2.3267163000000002</c:v>
                </c:pt>
                <c:pt idx="192">
                  <c:v>2.4575357000000002</c:v>
                </c:pt>
                <c:pt idx="193">
                  <c:v>2.3547490999999998</c:v>
                </c:pt>
                <c:pt idx="194">
                  <c:v>2.3827818000000001</c:v>
                </c:pt>
                <c:pt idx="195">
                  <c:v>2.3173721</c:v>
                </c:pt>
                <c:pt idx="196">
                  <c:v>2.2613066000000002</c:v>
                </c:pt>
                <c:pt idx="197">
                  <c:v>2.2986835999999999</c:v>
                </c:pt>
                <c:pt idx="198">
                  <c:v>2.1304873</c:v>
                </c:pt>
                <c:pt idx="199">
                  <c:v>1.8875369</c:v>
                </c:pt>
                <c:pt idx="200">
                  <c:v>1.8781927</c:v>
                </c:pt>
                <c:pt idx="201">
                  <c:v>1.8034387999999999</c:v>
                </c:pt>
                <c:pt idx="202">
                  <c:v>1.775406</c:v>
                </c:pt>
                <c:pt idx="203">
                  <c:v>1.9249139</c:v>
                </c:pt>
                <c:pt idx="204">
                  <c:v>1.8034387999999999</c:v>
                </c:pt>
                <c:pt idx="205">
                  <c:v>1.8595041999999999</c:v>
                </c:pt>
                <c:pt idx="206">
                  <c:v>1.812783</c:v>
                </c:pt>
                <c:pt idx="207">
                  <c:v>1.7847503</c:v>
                </c:pt>
                <c:pt idx="208">
                  <c:v>1.8408157000000001</c:v>
                </c:pt>
                <c:pt idx="209">
                  <c:v>1.7660617999999999</c:v>
                </c:pt>
                <c:pt idx="210">
                  <c:v>1.5698327000000001</c:v>
                </c:pt>
                <c:pt idx="211">
                  <c:v>1.5511442</c:v>
                </c:pt>
                <c:pt idx="212">
                  <c:v>1.5044230000000001</c:v>
                </c:pt>
                <c:pt idx="213">
                  <c:v>1.4670460000000001</c:v>
                </c:pt>
                <c:pt idx="214">
                  <c:v>1.4763903</c:v>
                </c:pt>
                <c:pt idx="215">
                  <c:v>1.4857345</c:v>
                </c:pt>
                <c:pt idx="216">
                  <c:v>1.2521285</c:v>
                </c:pt>
                <c:pt idx="217">
                  <c:v>1.3175380999999999</c:v>
                </c:pt>
                <c:pt idx="218">
                  <c:v>1.3268823999999999</c:v>
                </c:pt>
                <c:pt idx="219">
                  <c:v>1.2708169</c:v>
                </c:pt>
                <c:pt idx="220">
                  <c:v>1.2521285</c:v>
                </c:pt>
                <c:pt idx="221">
                  <c:v>1.3081939</c:v>
                </c:pt>
                <c:pt idx="222">
                  <c:v>1.2801612</c:v>
                </c:pt>
                <c:pt idx="223">
                  <c:v>1.4577017999999999</c:v>
                </c:pt>
                <c:pt idx="224">
                  <c:v>1.3175380999999999</c:v>
                </c:pt>
                <c:pt idx="225">
                  <c:v>1.2521285</c:v>
                </c:pt>
                <c:pt idx="226">
                  <c:v>1.1773745</c:v>
                </c:pt>
                <c:pt idx="227">
                  <c:v>1.1493418</c:v>
                </c:pt>
                <c:pt idx="228">
                  <c:v>1.0932763000000001</c:v>
                </c:pt>
                <c:pt idx="229">
                  <c:v>1.0372109</c:v>
                </c:pt>
                <c:pt idx="230">
                  <c:v>0.93442420000000004</c:v>
                </c:pt>
                <c:pt idx="231">
                  <c:v>0.97180120000000003</c:v>
                </c:pt>
                <c:pt idx="232">
                  <c:v>0.93442420000000004</c:v>
                </c:pt>
                <c:pt idx="233">
                  <c:v>0.92508000000000001</c:v>
                </c:pt>
                <c:pt idx="234">
                  <c:v>0.91573570000000004</c:v>
                </c:pt>
                <c:pt idx="235">
                  <c:v>0.8596703</c:v>
                </c:pt>
                <c:pt idx="236">
                  <c:v>0.8596703</c:v>
                </c:pt>
                <c:pt idx="237">
                  <c:v>0.79426059999999998</c:v>
                </c:pt>
                <c:pt idx="238">
                  <c:v>0.7195066</c:v>
                </c:pt>
                <c:pt idx="239">
                  <c:v>0.77557209999999999</c:v>
                </c:pt>
                <c:pt idx="240">
                  <c:v>0.75688359999999999</c:v>
                </c:pt>
                <c:pt idx="241">
                  <c:v>0.68212969999999995</c:v>
                </c:pt>
                <c:pt idx="242">
                  <c:v>0.61672000000000005</c:v>
                </c:pt>
                <c:pt idx="243">
                  <c:v>0.58868719999999997</c:v>
                </c:pt>
                <c:pt idx="244">
                  <c:v>0.55131030000000003</c:v>
                </c:pt>
                <c:pt idx="245">
                  <c:v>0.59803150000000005</c:v>
                </c:pt>
                <c:pt idx="246">
                  <c:v>0.50458899999999995</c:v>
                </c:pt>
                <c:pt idx="247">
                  <c:v>0.46721210000000002</c:v>
                </c:pt>
                <c:pt idx="248">
                  <c:v>0.48590060000000002</c:v>
                </c:pt>
                <c:pt idx="249">
                  <c:v>0.51393330000000004</c:v>
                </c:pt>
                <c:pt idx="250">
                  <c:v>0.52327749999999995</c:v>
                </c:pt>
                <c:pt idx="251">
                  <c:v>0.49524479999999999</c:v>
                </c:pt>
                <c:pt idx="252">
                  <c:v>0.43917929999999999</c:v>
                </c:pt>
                <c:pt idx="253">
                  <c:v>0.45786779999999999</c:v>
                </c:pt>
                <c:pt idx="254">
                  <c:v>0.44852360000000002</c:v>
                </c:pt>
                <c:pt idx="255">
                  <c:v>0.41114659999999997</c:v>
                </c:pt>
                <c:pt idx="256">
                  <c:v>0.38311390000000001</c:v>
                </c:pt>
                <c:pt idx="257">
                  <c:v>0.32704840000000002</c:v>
                </c:pt>
                <c:pt idx="258">
                  <c:v>0.2990157</c:v>
                </c:pt>
                <c:pt idx="259">
                  <c:v>0.28967150000000003</c:v>
                </c:pt>
                <c:pt idx="260">
                  <c:v>0.2616387</c:v>
                </c:pt>
                <c:pt idx="261">
                  <c:v>0.22426180000000001</c:v>
                </c:pt>
                <c:pt idx="262">
                  <c:v>0.22426180000000001</c:v>
                </c:pt>
                <c:pt idx="263">
                  <c:v>0.24295030000000001</c:v>
                </c:pt>
                <c:pt idx="264">
                  <c:v>0.24295030000000001</c:v>
                </c:pt>
                <c:pt idx="265">
                  <c:v>0.22426180000000001</c:v>
                </c:pt>
                <c:pt idx="266">
                  <c:v>0.18688479999999999</c:v>
                </c:pt>
                <c:pt idx="267">
                  <c:v>0.17754059999999999</c:v>
                </c:pt>
                <c:pt idx="268">
                  <c:v>0.17754059999999999</c:v>
                </c:pt>
                <c:pt idx="269">
                  <c:v>0.1495078</c:v>
                </c:pt>
                <c:pt idx="270">
                  <c:v>0.11213090000000001</c:v>
                </c:pt>
                <c:pt idx="271">
                  <c:v>0.1214751</c:v>
                </c:pt>
                <c:pt idx="272">
                  <c:v>0.1401636</c:v>
                </c:pt>
                <c:pt idx="273">
                  <c:v>0.1308193</c:v>
                </c:pt>
                <c:pt idx="274">
                  <c:v>0.10278660000000001</c:v>
                </c:pt>
                <c:pt idx="275">
                  <c:v>0.10278660000000001</c:v>
                </c:pt>
                <c:pt idx="276">
                  <c:v>0.10278660000000001</c:v>
                </c:pt>
                <c:pt idx="277">
                  <c:v>9.3442399999999995E-2</c:v>
                </c:pt>
                <c:pt idx="278">
                  <c:v>8.4098099999999995E-2</c:v>
                </c:pt>
                <c:pt idx="279">
                  <c:v>4.6721199999999997E-2</c:v>
                </c:pt>
                <c:pt idx="280">
                  <c:v>4.6721199999999997E-2</c:v>
                </c:pt>
                <c:pt idx="281">
                  <c:v>4.6721199999999997E-2</c:v>
                </c:pt>
                <c:pt idx="282">
                  <c:v>3.7376899999999998E-2</c:v>
                </c:pt>
                <c:pt idx="283">
                  <c:v>3.7376899999999998E-2</c:v>
                </c:pt>
                <c:pt idx="284">
                  <c:v>3.7376899999999998E-2</c:v>
                </c:pt>
                <c:pt idx="285">
                  <c:v>2.8032700000000001E-2</c:v>
                </c:pt>
                <c:pt idx="286">
                  <c:v>3.7376899999999998E-2</c:v>
                </c:pt>
                <c:pt idx="287">
                  <c:v>4.6721199999999997E-2</c:v>
                </c:pt>
                <c:pt idx="288">
                  <c:v>4.6721199999999997E-2</c:v>
                </c:pt>
                <c:pt idx="289">
                  <c:v>3.7376899999999998E-2</c:v>
                </c:pt>
                <c:pt idx="290">
                  <c:v>4.6721199999999997E-2</c:v>
                </c:pt>
                <c:pt idx="291">
                  <c:v>5.6065400000000001E-2</c:v>
                </c:pt>
                <c:pt idx="292">
                  <c:v>6.5409599999999998E-2</c:v>
                </c:pt>
                <c:pt idx="293">
                  <c:v>5.6065400000000001E-2</c:v>
                </c:pt>
                <c:pt idx="294">
                  <c:v>4.6721199999999997E-2</c:v>
                </c:pt>
                <c:pt idx="295">
                  <c:v>3.7376899999999998E-2</c:v>
                </c:pt>
                <c:pt idx="296">
                  <c:v>4.6721199999999997E-2</c:v>
                </c:pt>
                <c:pt idx="297">
                  <c:v>2.8032700000000001E-2</c:v>
                </c:pt>
                <c:pt idx="298">
                  <c:v>1.8688400000000001E-2</c:v>
                </c:pt>
                <c:pt idx="299">
                  <c:v>9.3442000000000004E-3</c:v>
                </c:pt>
                <c:pt idx="300">
                  <c:v>1.8688400000000001E-2</c:v>
                </c:pt>
                <c:pt idx="301">
                  <c:v>1.8688400000000001E-2</c:v>
                </c:pt>
                <c:pt idx="302">
                  <c:v>2.8032700000000001E-2</c:v>
                </c:pt>
                <c:pt idx="303">
                  <c:v>2.8032700000000001E-2</c:v>
                </c:pt>
                <c:pt idx="304">
                  <c:v>3.7376899999999998E-2</c:v>
                </c:pt>
                <c:pt idx="305">
                  <c:v>3.7376899999999998E-2</c:v>
                </c:pt>
                <c:pt idx="306">
                  <c:v>3.7376899999999998E-2</c:v>
                </c:pt>
                <c:pt idx="307">
                  <c:v>2.8032700000000001E-2</c:v>
                </c:pt>
                <c:pt idx="308">
                  <c:v>2.8032700000000001E-2</c:v>
                </c:pt>
                <c:pt idx="309">
                  <c:v>2.8032700000000001E-2</c:v>
                </c:pt>
                <c:pt idx="310">
                  <c:v>1.8688400000000001E-2</c:v>
                </c:pt>
                <c:pt idx="311">
                  <c:v>9.3442000000000004E-3</c:v>
                </c:pt>
                <c:pt idx="312">
                  <c:v>9.3442000000000004E-3</c:v>
                </c:pt>
                <c:pt idx="313">
                  <c:v>9.3442000000000004E-3</c:v>
                </c:pt>
                <c:pt idx="314">
                  <c:v>1.8688400000000001E-2</c:v>
                </c:pt>
                <c:pt idx="315">
                  <c:v>1.8688400000000001E-2</c:v>
                </c:pt>
                <c:pt idx="316">
                  <c:v>1.8688400000000001E-2</c:v>
                </c:pt>
                <c:pt idx="317">
                  <c:v>2.8032700000000001E-2</c:v>
                </c:pt>
                <c:pt idx="318">
                  <c:v>2.8032700000000001E-2</c:v>
                </c:pt>
                <c:pt idx="319">
                  <c:v>2.8032700000000001E-2</c:v>
                </c:pt>
                <c:pt idx="320">
                  <c:v>3.7376899999999998E-2</c:v>
                </c:pt>
                <c:pt idx="321">
                  <c:v>3.7376899999999998E-2</c:v>
                </c:pt>
                <c:pt idx="322">
                  <c:v>3.7376899999999998E-2</c:v>
                </c:pt>
                <c:pt idx="323">
                  <c:v>2.8032700000000001E-2</c:v>
                </c:pt>
                <c:pt idx="324">
                  <c:v>2.8032700000000001E-2</c:v>
                </c:pt>
                <c:pt idx="325">
                  <c:v>3.7376899999999998E-2</c:v>
                </c:pt>
                <c:pt idx="326">
                  <c:v>3.7376899999999998E-2</c:v>
                </c:pt>
                <c:pt idx="327">
                  <c:v>2.8032700000000001E-2</c:v>
                </c:pt>
                <c:pt idx="328">
                  <c:v>2.8032700000000001E-2</c:v>
                </c:pt>
                <c:pt idx="329">
                  <c:v>2.8032700000000001E-2</c:v>
                </c:pt>
                <c:pt idx="330">
                  <c:v>2.8032700000000001E-2</c:v>
                </c:pt>
                <c:pt idx="331">
                  <c:v>2.8032700000000001E-2</c:v>
                </c:pt>
                <c:pt idx="332">
                  <c:v>3.7376899999999998E-2</c:v>
                </c:pt>
                <c:pt idx="333">
                  <c:v>4.6721199999999997E-2</c:v>
                </c:pt>
                <c:pt idx="334">
                  <c:v>4.6721199999999997E-2</c:v>
                </c:pt>
                <c:pt idx="335">
                  <c:v>3.7376899999999998E-2</c:v>
                </c:pt>
                <c:pt idx="336">
                  <c:v>5.6065400000000001E-2</c:v>
                </c:pt>
                <c:pt idx="337">
                  <c:v>6.5409599999999998E-2</c:v>
                </c:pt>
                <c:pt idx="338">
                  <c:v>5.6065400000000001E-2</c:v>
                </c:pt>
                <c:pt idx="339">
                  <c:v>4.6721199999999997E-2</c:v>
                </c:pt>
                <c:pt idx="340">
                  <c:v>3.7376899999999998E-2</c:v>
                </c:pt>
                <c:pt idx="341">
                  <c:v>3.7376899999999998E-2</c:v>
                </c:pt>
                <c:pt idx="342">
                  <c:v>4.6721199999999997E-2</c:v>
                </c:pt>
                <c:pt idx="343">
                  <c:v>2.8032700000000001E-2</c:v>
                </c:pt>
                <c:pt idx="344">
                  <c:v>3.7376899999999998E-2</c:v>
                </c:pt>
                <c:pt idx="345">
                  <c:v>3.7376899999999998E-2</c:v>
                </c:pt>
                <c:pt idx="346">
                  <c:v>3.7376899999999998E-2</c:v>
                </c:pt>
                <c:pt idx="347">
                  <c:v>3.7376899999999998E-2</c:v>
                </c:pt>
                <c:pt idx="348">
                  <c:v>4.6721199999999997E-2</c:v>
                </c:pt>
                <c:pt idx="349">
                  <c:v>4.6721199999999997E-2</c:v>
                </c:pt>
                <c:pt idx="350">
                  <c:v>4.6721199999999997E-2</c:v>
                </c:pt>
                <c:pt idx="351">
                  <c:v>2.8032700000000001E-2</c:v>
                </c:pt>
                <c:pt idx="352">
                  <c:v>2.8032700000000001E-2</c:v>
                </c:pt>
                <c:pt idx="353">
                  <c:v>4.6721199999999997E-2</c:v>
                </c:pt>
                <c:pt idx="354">
                  <c:v>5.6065400000000001E-2</c:v>
                </c:pt>
                <c:pt idx="355">
                  <c:v>4.6721199999999997E-2</c:v>
                </c:pt>
                <c:pt idx="356">
                  <c:v>4.6721199999999997E-2</c:v>
                </c:pt>
                <c:pt idx="357">
                  <c:v>5.6065400000000001E-2</c:v>
                </c:pt>
                <c:pt idx="358">
                  <c:v>6.5409599999999998E-2</c:v>
                </c:pt>
                <c:pt idx="359">
                  <c:v>6.5409599999999998E-2</c:v>
                </c:pt>
                <c:pt idx="360">
                  <c:v>3.7376899999999998E-2</c:v>
                </c:pt>
                <c:pt idx="361">
                  <c:v>2.8032700000000001E-2</c:v>
                </c:pt>
                <c:pt idx="362">
                  <c:v>2.8032700000000001E-2</c:v>
                </c:pt>
                <c:pt idx="363">
                  <c:v>1.8688400000000001E-2</c:v>
                </c:pt>
                <c:pt idx="364">
                  <c:v>9.3442000000000004E-3</c:v>
                </c:pt>
                <c:pt idx="365">
                  <c:v>9.3442000000000004E-3</c:v>
                </c:pt>
                <c:pt idx="366">
                  <c:v>9.3442000000000004E-3</c:v>
                </c:pt>
                <c:pt idx="367">
                  <c:v>4.6721199999999997E-2</c:v>
                </c:pt>
                <c:pt idx="368">
                  <c:v>4.6721199999999997E-2</c:v>
                </c:pt>
                <c:pt idx="369">
                  <c:v>5.6065400000000001E-2</c:v>
                </c:pt>
                <c:pt idx="370">
                  <c:v>6.5409599999999998E-2</c:v>
                </c:pt>
                <c:pt idx="371">
                  <c:v>8.4098099999999995E-2</c:v>
                </c:pt>
                <c:pt idx="372">
                  <c:v>7.4753899999999998E-2</c:v>
                </c:pt>
                <c:pt idx="373">
                  <c:v>7.4753899999999998E-2</c:v>
                </c:pt>
                <c:pt idx="374">
                  <c:v>5.6065400000000001E-2</c:v>
                </c:pt>
                <c:pt idx="375">
                  <c:v>5.6065400000000001E-2</c:v>
                </c:pt>
                <c:pt idx="376">
                  <c:v>4.6721199999999997E-2</c:v>
                </c:pt>
                <c:pt idx="377">
                  <c:v>7.4753899999999998E-2</c:v>
                </c:pt>
                <c:pt idx="378">
                  <c:v>8.4098099999999995E-2</c:v>
                </c:pt>
                <c:pt idx="379">
                  <c:v>8.4098099999999995E-2</c:v>
                </c:pt>
                <c:pt idx="380">
                  <c:v>0.10278660000000001</c:v>
                </c:pt>
                <c:pt idx="381">
                  <c:v>9.3442399999999995E-2</c:v>
                </c:pt>
                <c:pt idx="382">
                  <c:v>9.3442399999999995E-2</c:v>
                </c:pt>
                <c:pt idx="383">
                  <c:v>0.10278660000000001</c:v>
                </c:pt>
                <c:pt idx="384">
                  <c:v>7.4753899999999998E-2</c:v>
                </c:pt>
                <c:pt idx="385">
                  <c:v>4.6721199999999997E-2</c:v>
                </c:pt>
                <c:pt idx="386">
                  <c:v>5.6065400000000001E-2</c:v>
                </c:pt>
                <c:pt idx="387">
                  <c:v>5.6065400000000001E-2</c:v>
                </c:pt>
                <c:pt idx="388">
                  <c:v>6.5409599999999998E-2</c:v>
                </c:pt>
                <c:pt idx="389">
                  <c:v>8.4098099999999995E-2</c:v>
                </c:pt>
                <c:pt idx="390">
                  <c:v>9.3442399999999995E-2</c:v>
                </c:pt>
                <c:pt idx="391">
                  <c:v>0.11213090000000001</c:v>
                </c:pt>
                <c:pt idx="392">
                  <c:v>0.1214751</c:v>
                </c:pt>
                <c:pt idx="393">
                  <c:v>0.1495078</c:v>
                </c:pt>
                <c:pt idx="394">
                  <c:v>0.1401636</c:v>
                </c:pt>
                <c:pt idx="395">
                  <c:v>0.1588521</c:v>
                </c:pt>
                <c:pt idx="396">
                  <c:v>0.1401636</c:v>
                </c:pt>
                <c:pt idx="397">
                  <c:v>0.1401636</c:v>
                </c:pt>
                <c:pt idx="398">
                  <c:v>0.1588521</c:v>
                </c:pt>
                <c:pt idx="399">
                  <c:v>0.25229449999999998</c:v>
                </c:pt>
                <c:pt idx="400">
                  <c:v>0.30836000000000002</c:v>
                </c:pt>
                <c:pt idx="401">
                  <c:v>0.33639269999999999</c:v>
                </c:pt>
                <c:pt idx="402">
                  <c:v>0.31770419999999999</c:v>
                </c:pt>
                <c:pt idx="403">
                  <c:v>0.32704840000000002</c:v>
                </c:pt>
                <c:pt idx="404">
                  <c:v>0.32704840000000002</c:v>
                </c:pt>
                <c:pt idx="405">
                  <c:v>0.37376969999999998</c:v>
                </c:pt>
                <c:pt idx="406">
                  <c:v>0.28967150000000003</c:v>
                </c:pt>
                <c:pt idx="407">
                  <c:v>0.25229449999999998</c:v>
                </c:pt>
                <c:pt idx="408">
                  <c:v>0.2803272</c:v>
                </c:pt>
                <c:pt idx="409">
                  <c:v>0.2990157</c:v>
                </c:pt>
                <c:pt idx="410">
                  <c:v>0.30836000000000002</c:v>
                </c:pt>
                <c:pt idx="411">
                  <c:v>0.32704840000000002</c:v>
                </c:pt>
                <c:pt idx="412">
                  <c:v>0.2990157</c:v>
                </c:pt>
                <c:pt idx="413">
                  <c:v>0.30836000000000002</c:v>
                </c:pt>
                <c:pt idx="414">
                  <c:v>0.31770419999999999</c:v>
                </c:pt>
                <c:pt idx="415">
                  <c:v>0.2803272</c:v>
                </c:pt>
                <c:pt idx="416">
                  <c:v>0.30836000000000002</c:v>
                </c:pt>
                <c:pt idx="417">
                  <c:v>0.33639269999999999</c:v>
                </c:pt>
                <c:pt idx="418">
                  <c:v>0.39245809999999998</c:v>
                </c:pt>
                <c:pt idx="419">
                  <c:v>0.53262180000000003</c:v>
                </c:pt>
                <c:pt idx="420">
                  <c:v>0.55131030000000003</c:v>
                </c:pt>
                <c:pt idx="421">
                  <c:v>0.56999869999999997</c:v>
                </c:pt>
                <c:pt idx="422">
                  <c:v>0.63540839999999998</c:v>
                </c:pt>
                <c:pt idx="423">
                  <c:v>0.65409689999999998</c:v>
                </c:pt>
                <c:pt idx="424">
                  <c:v>0.66344119999999995</c:v>
                </c:pt>
                <c:pt idx="425">
                  <c:v>0.63540839999999998</c:v>
                </c:pt>
                <c:pt idx="426">
                  <c:v>0.67278539999999998</c:v>
                </c:pt>
                <c:pt idx="427">
                  <c:v>0.83163750000000003</c:v>
                </c:pt>
                <c:pt idx="428">
                  <c:v>0.89704720000000004</c:v>
                </c:pt>
                <c:pt idx="429">
                  <c:v>0.92508000000000001</c:v>
                </c:pt>
                <c:pt idx="430">
                  <c:v>1.0465551</c:v>
                </c:pt>
                <c:pt idx="431">
                  <c:v>1.1680303000000001</c:v>
                </c:pt>
                <c:pt idx="432">
                  <c:v>1.2614726999999999</c:v>
                </c:pt>
                <c:pt idx="433">
                  <c:v>1.2895053999999999</c:v>
                </c:pt>
                <c:pt idx="434">
                  <c:v>1.3175380999999999</c:v>
                </c:pt>
                <c:pt idx="435">
                  <c:v>1.4296690999999999</c:v>
                </c:pt>
                <c:pt idx="436">
                  <c:v>1.5231115</c:v>
                </c:pt>
                <c:pt idx="437">
                  <c:v>1.4857345</c:v>
                </c:pt>
                <c:pt idx="438">
                  <c:v>1.4670460000000001</c:v>
                </c:pt>
                <c:pt idx="439">
                  <c:v>1.4857345</c:v>
                </c:pt>
                <c:pt idx="440">
                  <c:v>1.5137672</c:v>
                </c:pt>
                <c:pt idx="441">
                  <c:v>1.4950787999999999</c:v>
                </c:pt>
                <c:pt idx="442">
                  <c:v>1.4296690999999999</c:v>
                </c:pt>
                <c:pt idx="443">
                  <c:v>1.5511442</c:v>
                </c:pt>
                <c:pt idx="444">
                  <c:v>1.6632750999999999</c:v>
                </c:pt>
                <c:pt idx="445">
                  <c:v>1.6913079</c:v>
                </c:pt>
                <c:pt idx="446">
                  <c:v>1.8034387999999999</c:v>
                </c:pt>
                <c:pt idx="447">
                  <c:v>1.8875369</c:v>
                </c:pt>
                <c:pt idx="448">
                  <c:v>2.1117987999999999</c:v>
                </c:pt>
                <c:pt idx="449">
                  <c:v>2.0837659999999998</c:v>
                </c:pt>
                <c:pt idx="450">
                  <c:v>2.1678641999999999</c:v>
                </c:pt>
                <c:pt idx="451">
                  <c:v>2.1865527</c:v>
                </c:pt>
                <c:pt idx="452">
                  <c:v>2.2426181999999999</c:v>
                </c:pt>
                <c:pt idx="453">
                  <c:v>2.1491756999999998</c:v>
                </c:pt>
                <c:pt idx="454">
                  <c:v>2.0931103000000002</c:v>
                </c:pt>
                <c:pt idx="455">
                  <c:v>1.8781927</c:v>
                </c:pt>
                <c:pt idx="456">
                  <c:v>2.0277006000000002</c:v>
                </c:pt>
                <c:pt idx="457">
                  <c:v>1.85016</c:v>
                </c:pt>
                <c:pt idx="458">
                  <c:v>1.7099963</c:v>
                </c:pt>
                <c:pt idx="459">
                  <c:v>1.6539309</c:v>
                </c:pt>
                <c:pt idx="460">
                  <c:v>1.6072097000000001</c:v>
                </c:pt>
                <c:pt idx="461">
                  <c:v>1.6632750999999999</c:v>
                </c:pt>
                <c:pt idx="462">
                  <c:v>1.6539309</c:v>
                </c:pt>
                <c:pt idx="463">
                  <c:v>1.4763903</c:v>
                </c:pt>
                <c:pt idx="464">
                  <c:v>1.4296690999999999</c:v>
                </c:pt>
                <c:pt idx="465">
                  <c:v>1.4577017999999999</c:v>
                </c:pt>
                <c:pt idx="466">
                  <c:v>1.4016363000000001</c:v>
                </c:pt>
                <c:pt idx="467">
                  <c:v>1.4016363000000001</c:v>
                </c:pt>
                <c:pt idx="468">
                  <c:v>1.2427842</c:v>
                </c:pt>
                <c:pt idx="469">
                  <c:v>1.2801612</c:v>
                </c:pt>
                <c:pt idx="470">
                  <c:v>1.3642593999999999</c:v>
                </c:pt>
                <c:pt idx="471">
                  <c:v>1.3455709</c:v>
                </c:pt>
                <c:pt idx="472">
                  <c:v>1.2895053999999999</c:v>
                </c:pt>
                <c:pt idx="473">
                  <c:v>1.2147515</c:v>
                </c:pt>
                <c:pt idx="474">
                  <c:v>1.1680303000000001</c:v>
                </c:pt>
                <c:pt idx="475">
                  <c:v>1.2147515</c:v>
                </c:pt>
                <c:pt idx="476">
                  <c:v>1.1680303000000001</c:v>
                </c:pt>
                <c:pt idx="477">
                  <c:v>1.0652436000000001</c:v>
                </c:pt>
                <c:pt idx="478">
                  <c:v>1.0652436000000001</c:v>
                </c:pt>
                <c:pt idx="479">
                  <c:v>1.0278666000000001</c:v>
                </c:pt>
                <c:pt idx="480">
                  <c:v>1.0745878</c:v>
                </c:pt>
                <c:pt idx="481">
                  <c:v>1.0745878</c:v>
                </c:pt>
                <c:pt idx="482">
                  <c:v>1.0278666000000001</c:v>
                </c:pt>
                <c:pt idx="483">
                  <c:v>1.0932763000000001</c:v>
                </c:pt>
                <c:pt idx="484">
                  <c:v>1.1399975</c:v>
                </c:pt>
                <c:pt idx="485">
                  <c:v>1.0839321</c:v>
                </c:pt>
                <c:pt idx="486">
                  <c:v>1.1119648</c:v>
                </c:pt>
                <c:pt idx="487">
                  <c:v>1.1399975</c:v>
                </c:pt>
                <c:pt idx="488">
                  <c:v>1.1399975</c:v>
                </c:pt>
                <c:pt idx="489">
                  <c:v>1.0372109</c:v>
                </c:pt>
                <c:pt idx="490">
                  <c:v>0.87835870000000005</c:v>
                </c:pt>
                <c:pt idx="491">
                  <c:v>0.78491630000000001</c:v>
                </c:pt>
                <c:pt idx="492">
                  <c:v>0.72885089999999997</c:v>
                </c:pt>
                <c:pt idx="493">
                  <c:v>0.72885089999999997</c:v>
                </c:pt>
                <c:pt idx="494">
                  <c:v>0.68212969999999995</c:v>
                </c:pt>
                <c:pt idx="495">
                  <c:v>0.66344119999999995</c:v>
                </c:pt>
                <c:pt idx="496">
                  <c:v>0.65409689999999998</c:v>
                </c:pt>
                <c:pt idx="497">
                  <c:v>0.65409689999999998</c:v>
                </c:pt>
                <c:pt idx="498">
                  <c:v>0.66344119999999995</c:v>
                </c:pt>
                <c:pt idx="499">
                  <c:v>0.64475269999999996</c:v>
                </c:pt>
                <c:pt idx="500">
                  <c:v>0.64475269999999996</c:v>
                </c:pt>
                <c:pt idx="501">
                  <c:v>0.57934300000000005</c:v>
                </c:pt>
                <c:pt idx="502">
                  <c:v>0.53262180000000003</c:v>
                </c:pt>
                <c:pt idx="503">
                  <c:v>0.56065449999999994</c:v>
                </c:pt>
                <c:pt idx="504">
                  <c:v>0.50458899999999995</c:v>
                </c:pt>
                <c:pt idx="505">
                  <c:v>0.52327749999999995</c:v>
                </c:pt>
                <c:pt idx="506">
                  <c:v>0.56999869999999997</c:v>
                </c:pt>
                <c:pt idx="507">
                  <c:v>0.56999869999999997</c:v>
                </c:pt>
                <c:pt idx="508">
                  <c:v>0.66344119999999995</c:v>
                </c:pt>
                <c:pt idx="509">
                  <c:v>0.73819509999999999</c:v>
                </c:pt>
                <c:pt idx="510">
                  <c:v>0.78491630000000001</c:v>
                </c:pt>
                <c:pt idx="511">
                  <c:v>0.8409818</c:v>
                </c:pt>
                <c:pt idx="512">
                  <c:v>0.88770300000000002</c:v>
                </c:pt>
                <c:pt idx="513">
                  <c:v>0.94376839999999995</c:v>
                </c:pt>
                <c:pt idx="514">
                  <c:v>1.0278666000000001</c:v>
                </c:pt>
                <c:pt idx="515">
                  <c:v>1.0558993999999999</c:v>
                </c:pt>
                <c:pt idx="516">
                  <c:v>1.0932763000000001</c:v>
                </c:pt>
                <c:pt idx="517">
                  <c:v>1.1586860000000001</c:v>
                </c:pt>
                <c:pt idx="518">
                  <c:v>1.2708169</c:v>
                </c:pt>
                <c:pt idx="519">
                  <c:v>1.3549150999999999</c:v>
                </c:pt>
                <c:pt idx="520">
                  <c:v>1.4109806</c:v>
                </c:pt>
                <c:pt idx="521">
                  <c:v>1.3362266</c:v>
                </c:pt>
                <c:pt idx="522">
                  <c:v>1.4203247999999999</c:v>
                </c:pt>
                <c:pt idx="523">
                  <c:v>1.3829477999999999</c:v>
                </c:pt>
                <c:pt idx="524">
                  <c:v>1.3549150999999999</c:v>
                </c:pt>
                <c:pt idx="525">
                  <c:v>1.2147515</c:v>
                </c:pt>
                <c:pt idx="526">
                  <c:v>1.2801612</c:v>
                </c:pt>
                <c:pt idx="527">
                  <c:v>1.2988497000000001</c:v>
                </c:pt>
                <c:pt idx="528">
                  <c:v>1.3922920999999999</c:v>
                </c:pt>
                <c:pt idx="529">
                  <c:v>1.2708169</c:v>
                </c:pt>
                <c:pt idx="530">
                  <c:v>1.2801612</c:v>
                </c:pt>
                <c:pt idx="531">
                  <c:v>1.2895053999999999</c:v>
                </c:pt>
                <c:pt idx="532">
                  <c:v>1.3642593999999999</c:v>
                </c:pt>
                <c:pt idx="533">
                  <c:v>1.3549150999999999</c:v>
                </c:pt>
                <c:pt idx="534">
                  <c:v>1.3081939</c:v>
                </c:pt>
                <c:pt idx="535">
                  <c:v>1.2427842</c:v>
                </c:pt>
                <c:pt idx="536">
                  <c:v>1.2895053999999999</c:v>
                </c:pt>
                <c:pt idx="537">
                  <c:v>1.3268823999999999</c:v>
                </c:pt>
                <c:pt idx="538">
                  <c:v>1.2988497000000001</c:v>
                </c:pt>
                <c:pt idx="539">
                  <c:v>1.3829477999999999</c:v>
                </c:pt>
                <c:pt idx="540">
                  <c:v>1.2240956999999999</c:v>
                </c:pt>
                <c:pt idx="541">
                  <c:v>1.2614726999999999</c:v>
                </c:pt>
                <c:pt idx="542">
                  <c:v>1.158686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DC-463D-8531-AEA8D7694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JIP_v_den_pozitivity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7.000032</c:v>
                </c:pt>
                <c:pt idx="1">
                  <c:v>8.0000319999999991</c:v>
                </c:pt>
                <c:pt idx="2">
                  <c:v>10.000042000000001</c:v>
                </c:pt>
                <c:pt idx="3">
                  <c:v>3.6666669999999999</c:v>
                </c:pt>
                <c:pt idx="4">
                  <c:v>4.0000030000000004</c:v>
                </c:pt>
                <c:pt idx="5">
                  <c:v>4.666671</c:v>
                </c:pt>
                <c:pt idx="6">
                  <c:v>1.25</c:v>
                </c:pt>
                <c:pt idx="7">
                  <c:v>0.55555500000000002</c:v>
                </c:pt>
                <c:pt idx="8">
                  <c:v>0.36363600000000001</c:v>
                </c:pt>
                <c:pt idx="9">
                  <c:v>0.28571400000000002</c:v>
                </c:pt>
                <c:pt idx="10">
                  <c:v>0.26666600000000001</c:v>
                </c:pt>
                <c:pt idx="11">
                  <c:v>0</c:v>
                </c:pt>
                <c:pt idx="12">
                  <c:v>0</c:v>
                </c:pt>
                <c:pt idx="13">
                  <c:v>0.214286</c:v>
                </c:pt>
                <c:pt idx="14">
                  <c:v>0.8</c:v>
                </c:pt>
                <c:pt idx="15">
                  <c:v>0.44444400000000001</c:v>
                </c:pt>
                <c:pt idx="16">
                  <c:v>0.52631499999999998</c:v>
                </c:pt>
                <c:pt idx="17">
                  <c:v>0.70588200000000001</c:v>
                </c:pt>
                <c:pt idx="18">
                  <c:v>0.72222200000000003</c:v>
                </c:pt>
                <c:pt idx="19">
                  <c:v>1.1764699999999999</c:v>
                </c:pt>
                <c:pt idx="20">
                  <c:v>0.59259200000000001</c:v>
                </c:pt>
                <c:pt idx="21">
                  <c:v>0.53846099999999997</c:v>
                </c:pt>
                <c:pt idx="22">
                  <c:v>0.72413799999999995</c:v>
                </c:pt>
                <c:pt idx="23">
                  <c:v>0.96551699999999996</c:v>
                </c:pt>
                <c:pt idx="24">
                  <c:v>1</c:v>
                </c:pt>
                <c:pt idx="25">
                  <c:v>0.72972999999999999</c:v>
                </c:pt>
                <c:pt idx="26">
                  <c:v>0.44185999999999998</c:v>
                </c:pt>
                <c:pt idx="27">
                  <c:v>0.62499899999999997</c:v>
                </c:pt>
                <c:pt idx="28">
                  <c:v>0.38</c:v>
                </c:pt>
                <c:pt idx="29">
                  <c:v>0.19298199999999999</c:v>
                </c:pt>
                <c:pt idx="30">
                  <c:v>6.4516000000000004E-2</c:v>
                </c:pt>
                <c:pt idx="31">
                  <c:v>0.171874</c:v>
                </c:pt>
                <c:pt idx="32">
                  <c:v>0.27419300000000002</c:v>
                </c:pt>
                <c:pt idx="33">
                  <c:v>0.26153799999999999</c:v>
                </c:pt>
                <c:pt idx="34">
                  <c:v>0.56521699999999997</c:v>
                </c:pt>
                <c:pt idx="35">
                  <c:v>0.75</c:v>
                </c:pt>
                <c:pt idx="36">
                  <c:v>1.060605</c:v>
                </c:pt>
                <c:pt idx="37">
                  <c:v>0.93333299999999997</c:v>
                </c:pt>
                <c:pt idx="38">
                  <c:v>1.0253159999999999</c:v>
                </c:pt>
                <c:pt idx="39">
                  <c:v>1.097561</c:v>
                </c:pt>
                <c:pt idx="40">
                  <c:v>0.68518500000000004</c:v>
                </c:pt>
                <c:pt idx="41">
                  <c:v>0.45378099999999999</c:v>
                </c:pt>
                <c:pt idx="42">
                  <c:v>0.29411700000000002</c:v>
                </c:pt>
                <c:pt idx="43">
                  <c:v>0.24137900000000001</c:v>
                </c:pt>
                <c:pt idx="44">
                  <c:v>0.18124899999999999</c:v>
                </c:pt>
                <c:pt idx="45">
                  <c:v>0.16278999999999999</c:v>
                </c:pt>
                <c:pt idx="46">
                  <c:v>6.0439E-2</c:v>
                </c:pt>
                <c:pt idx="47">
                  <c:v>0.190751</c:v>
                </c:pt>
                <c:pt idx="48">
                  <c:v>0.30113600000000001</c:v>
                </c:pt>
                <c:pt idx="49">
                  <c:v>0.32777699999999999</c:v>
                </c:pt>
                <c:pt idx="50">
                  <c:v>0.35449700000000001</c:v>
                </c:pt>
                <c:pt idx="51">
                  <c:v>0.36499900000000002</c:v>
                </c:pt>
                <c:pt idx="52">
                  <c:v>0.38860099999999997</c:v>
                </c:pt>
                <c:pt idx="53">
                  <c:v>0.441747</c:v>
                </c:pt>
                <c:pt idx="54">
                  <c:v>0.340611</c:v>
                </c:pt>
                <c:pt idx="55">
                  <c:v>0.36401600000000001</c:v>
                </c:pt>
                <c:pt idx="56">
                  <c:v>0.38281199999999999</c:v>
                </c:pt>
                <c:pt idx="57">
                  <c:v>0.249084</c:v>
                </c:pt>
                <c:pt idx="58">
                  <c:v>0.30597000000000002</c:v>
                </c:pt>
                <c:pt idx="59">
                  <c:v>0.212121</c:v>
                </c:pt>
                <c:pt idx="60">
                  <c:v>0.17263800000000001</c:v>
                </c:pt>
                <c:pt idx="61">
                  <c:v>6.7484000000000002E-2</c:v>
                </c:pt>
                <c:pt idx="62">
                  <c:v>0</c:v>
                </c:pt>
                <c:pt idx="63">
                  <c:v>-1.7595E-2</c:v>
                </c:pt>
                <c:pt idx="64">
                  <c:v>-5.1428000000000001E-2</c:v>
                </c:pt>
                <c:pt idx="65">
                  <c:v>-8.6110999999999993E-2</c:v>
                </c:pt>
                <c:pt idx="66">
                  <c:v>-7.7776999999999999E-2</c:v>
                </c:pt>
                <c:pt idx="67">
                  <c:v>-7.4712000000000001E-2</c:v>
                </c:pt>
                <c:pt idx="68">
                  <c:v>-0.118644</c:v>
                </c:pt>
                <c:pt idx="69">
                  <c:v>-0.182089</c:v>
                </c:pt>
                <c:pt idx="70">
                  <c:v>-0.18072199999999999</c:v>
                </c:pt>
                <c:pt idx="71">
                  <c:v>-0.16109399999999999</c:v>
                </c:pt>
                <c:pt idx="72">
                  <c:v>-0.24698700000000001</c:v>
                </c:pt>
                <c:pt idx="73">
                  <c:v>-0.30434699999999998</c:v>
                </c:pt>
                <c:pt idx="74">
                  <c:v>-0.31089699999999998</c:v>
                </c:pt>
                <c:pt idx="75">
                  <c:v>-0.24087500000000001</c:v>
                </c:pt>
                <c:pt idx="76">
                  <c:v>-0.23161699999999999</c:v>
                </c:pt>
                <c:pt idx="77">
                  <c:v>-0.33695599999999998</c:v>
                </c:pt>
                <c:pt idx="78">
                  <c:v>-0.31199900000000003</c:v>
                </c:pt>
                <c:pt idx="79">
                  <c:v>-0.21875</c:v>
                </c:pt>
                <c:pt idx="80">
                  <c:v>-0.227906</c:v>
                </c:pt>
                <c:pt idx="81">
                  <c:v>-0.19230700000000001</c:v>
                </c:pt>
                <c:pt idx="82">
                  <c:v>-0.19617200000000001</c:v>
                </c:pt>
                <c:pt idx="83">
                  <c:v>-0.18579200000000001</c:v>
                </c:pt>
                <c:pt idx="84">
                  <c:v>-0.10465099999999999</c:v>
                </c:pt>
                <c:pt idx="85">
                  <c:v>-0.12571399999999999</c:v>
                </c:pt>
                <c:pt idx="86">
                  <c:v>-0.14457800000000001</c:v>
                </c:pt>
                <c:pt idx="87">
                  <c:v>-0.136904</c:v>
                </c:pt>
                <c:pt idx="88">
                  <c:v>-0.22023799999999999</c:v>
                </c:pt>
                <c:pt idx="89">
                  <c:v>-0.14093900000000001</c:v>
                </c:pt>
                <c:pt idx="90">
                  <c:v>-0.14285700000000001</c:v>
                </c:pt>
                <c:pt idx="91">
                  <c:v>-0.169934</c:v>
                </c:pt>
                <c:pt idx="92">
                  <c:v>-0.12676000000000001</c:v>
                </c:pt>
                <c:pt idx="93">
                  <c:v>-8.9654999999999999E-2</c:v>
                </c:pt>
                <c:pt idx="94">
                  <c:v>3.0533999999999999E-2</c:v>
                </c:pt>
                <c:pt idx="95">
                  <c:v>7.0311999999999999E-2</c:v>
                </c:pt>
                <c:pt idx="96">
                  <c:v>6.8181000000000005E-2</c:v>
                </c:pt>
                <c:pt idx="97">
                  <c:v>0.110236</c:v>
                </c:pt>
                <c:pt idx="98">
                  <c:v>0.209677</c:v>
                </c:pt>
                <c:pt idx="99">
                  <c:v>0.10606</c:v>
                </c:pt>
                <c:pt idx="100">
                  <c:v>6.6666000000000003E-2</c:v>
                </c:pt>
                <c:pt idx="101">
                  <c:v>-2.1897E-2</c:v>
                </c:pt>
                <c:pt idx="102">
                  <c:v>-2.1276E-2</c:v>
                </c:pt>
                <c:pt idx="103">
                  <c:v>-7.0920000000000002E-3</c:v>
                </c:pt>
                <c:pt idx="104">
                  <c:v>6.6660000000000001E-3</c:v>
                </c:pt>
                <c:pt idx="105">
                  <c:v>6.8490000000000001E-3</c:v>
                </c:pt>
                <c:pt idx="106">
                  <c:v>6.9439999999999997E-3</c:v>
                </c:pt>
                <c:pt idx="107">
                  <c:v>6.7164000000000001E-2</c:v>
                </c:pt>
                <c:pt idx="108">
                  <c:v>8.6956000000000006E-2</c:v>
                </c:pt>
                <c:pt idx="109">
                  <c:v>4.2856999999999999E-2</c:v>
                </c:pt>
                <c:pt idx="110">
                  <c:v>-1.9866999999999999E-2</c:v>
                </c:pt>
                <c:pt idx="111">
                  <c:v>-5.4420999999999997E-2</c:v>
                </c:pt>
                <c:pt idx="112">
                  <c:v>-4.8274999999999998E-2</c:v>
                </c:pt>
                <c:pt idx="113">
                  <c:v>0.111888</c:v>
                </c:pt>
                <c:pt idx="114">
                  <c:v>6.6660000000000001E-3</c:v>
                </c:pt>
                <c:pt idx="115">
                  <c:v>5.4794000000000002E-2</c:v>
                </c:pt>
                <c:pt idx="116">
                  <c:v>8.1081E-2</c:v>
                </c:pt>
                <c:pt idx="117">
                  <c:v>0.258992</c:v>
                </c:pt>
                <c:pt idx="118">
                  <c:v>0.47101399999999999</c:v>
                </c:pt>
                <c:pt idx="119">
                  <c:v>0.45283000000000001</c:v>
                </c:pt>
                <c:pt idx="120">
                  <c:v>0.54966800000000005</c:v>
                </c:pt>
                <c:pt idx="121">
                  <c:v>0.62337600000000004</c:v>
                </c:pt>
                <c:pt idx="122">
                  <c:v>0.53749899999999995</c:v>
                </c:pt>
                <c:pt idx="123">
                  <c:v>0.445714</c:v>
                </c:pt>
                <c:pt idx="124">
                  <c:v>0.23152700000000001</c:v>
                </c:pt>
                <c:pt idx="125">
                  <c:v>2.1645000000000001E-2</c:v>
                </c:pt>
                <c:pt idx="126">
                  <c:v>1.7094000000000002E-2</c:v>
                </c:pt>
                <c:pt idx="127">
                  <c:v>-4.7999E-2</c:v>
                </c:pt>
                <c:pt idx="128">
                  <c:v>-4.0649999999999999E-2</c:v>
                </c:pt>
                <c:pt idx="129">
                  <c:v>3.9519999999999998E-3</c:v>
                </c:pt>
                <c:pt idx="130">
                  <c:v>4.3999999999999997E-2</c:v>
                </c:pt>
                <c:pt idx="131">
                  <c:v>7.2033E-2</c:v>
                </c:pt>
                <c:pt idx="132">
                  <c:v>2.9411E-2</c:v>
                </c:pt>
                <c:pt idx="133">
                  <c:v>-6.7225999999999994E-2</c:v>
                </c:pt>
                <c:pt idx="134">
                  <c:v>-9.7457000000000002E-2</c:v>
                </c:pt>
                <c:pt idx="135">
                  <c:v>-0.12598400000000001</c:v>
                </c:pt>
                <c:pt idx="136">
                  <c:v>-0.18007600000000001</c:v>
                </c:pt>
                <c:pt idx="137">
                  <c:v>-0.23320099999999999</c:v>
                </c:pt>
                <c:pt idx="138">
                  <c:v>-0.240816</c:v>
                </c:pt>
                <c:pt idx="139">
                  <c:v>-0.14414399999999999</c:v>
                </c:pt>
                <c:pt idx="140">
                  <c:v>-9.3895999999999993E-2</c:v>
                </c:pt>
                <c:pt idx="141">
                  <c:v>-0.13513500000000001</c:v>
                </c:pt>
                <c:pt idx="142">
                  <c:v>-0.21495300000000001</c:v>
                </c:pt>
                <c:pt idx="143">
                  <c:v>-0.14948400000000001</c:v>
                </c:pt>
                <c:pt idx="144">
                  <c:v>-6.9891999999999996E-2</c:v>
                </c:pt>
                <c:pt idx="145">
                  <c:v>-9.4736000000000001E-2</c:v>
                </c:pt>
                <c:pt idx="146">
                  <c:v>-0.103626</c:v>
                </c:pt>
                <c:pt idx="147">
                  <c:v>-9.3748999999999999E-2</c:v>
                </c:pt>
                <c:pt idx="148">
                  <c:v>-4.7619000000000002E-2</c:v>
                </c:pt>
                <c:pt idx="149">
                  <c:v>0</c:v>
                </c:pt>
                <c:pt idx="150">
                  <c:v>-1.7340999999999999E-2</c:v>
                </c:pt>
                <c:pt idx="151">
                  <c:v>-5.8129999999999996E-3</c:v>
                </c:pt>
                <c:pt idx="152">
                  <c:v>5.7800000000000004E-3</c:v>
                </c:pt>
                <c:pt idx="153">
                  <c:v>2.2988000000000001E-2</c:v>
                </c:pt>
                <c:pt idx="154">
                  <c:v>4.3749999999999997E-2</c:v>
                </c:pt>
                <c:pt idx="155">
                  <c:v>5.4545000000000003E-2</c:v>
                </c:pt>
                <c:pt idx="156">
                  <c:v>0.111764</c:v>
                </c:pt>
                <c:pt idx="157">
                  <c:v>0.11695899999999999</c:v>
                </c:pt>
                <c:pt idx="158">
                  <c:v>9.7700999999999996E-2</c:v>
                </c:pt>
                <c:pt idx="159">
                  <c:v>4.4942999999999997E-2</c:v>
                </c:pt>
                <c:pt idx="160">
                  <c:v>4.7904000000000002E-2</c:v>
                </c:pt>
                <c:pt idx="161">
                  <c:v>0.114942</c:v>
                </c:pt>
                <c:pt idx="162">
                  <c:v>6.8782999999999997E-2</c:v>
                </c:pt>
                <c:pt idx="163">
                  <c:v>5.2350000000000001E-3</c:v>
                </c:pt>
                <c:pt idx="164">
                  <c:v>-4.7120000000000002E-2</c:v>
                </c:pt>
                <c:pt idx="165">
                  <c:v>-9.6773999999999999E-2</c:v>
                </c:pt>
                <c:pt idx="166">
                  <c:v>2.8570999999999999E-2</c:v>
                </c:pt>
                <c:pt idx="167">
                  <c:v>-7.2164000000000006E-2</c:v>
                </c:pt>
                <c:pt idx="168">
                  <c:v>-9.4059000000000004E-2</c:v>
                </c:pt>
                <c:pt idx="169">
                  <c:v>-5.208E-3</c:v>
                </c:pt>
                <c:pt idx="170">
                  <c:v>9.8901000000000003E-2</c:v>
                </c:pt>
                <c:pt idx="171">
                  <c:v>0.17261899999999999</c:v>
                </c:pt>
                <c:pt idx="172">
                  <c:v>0.23888799999999999</c:v>
                </c:pt>
                <c:pt idx="173">
                  <c:v>0.27222200000000002</c:v>
                </c:pt>
                <c:pt idx="174">
                  <c:v>0.31693900000000003</c:v>
                </c:pt>
                <c:pt idx="175">
                  <c:v>0.22513</c:v>
                </c:pt>
                <c:pt idx="176">
                  <c:v>0.159999</c:v>
                </c:pt>
                <c:pt idx="177">
                  <c:v>0.213197</c:v>
                </c:pt>
                <c:pt idx="178">
                  <c:v>0.112107</c:v>
                </c:pt>
                <c:pt idx="179">
                  <c:v>3.0567E-2</c:v>
                </c:pt>
                <c:pt idx="180">
                  <c:v>-8.2979999999999998E-3</c:v>
                </c:pt>
                <c:pt idx="181">
                  <c:v>2.1367000000000001E-2</c:v>
                </c:pt>
                <c:pt idx="182">
                  <c:v>5.1723999999999999E-2</c:v>
                </c:pt>
                <c:pt idx="183">
                  <c:v>8.3680000000000004E-3</c:v>
                </c:pt>
                <c:pt idx="184">
                  <c:v>-6.0483000000000002E-2</c:v>
                </c:pt>
                <c:pt idx="185">
                  <c:v>3.8135000000000002E-2</c:v>
                </c:pt>
                <c:pt idx="186">
                  <c:v>5.4392999999999997E-2</c:v>
                </c:pt>
                <c:pt idx="187">
                  <c:v>-1.6736000000000001E-2</c:v>
                </c:pt>
                <c:pt idx="188">
                  <c:v>2.4590000000000001E-2</c:v>
                </c:pt>
                <c:pt idx="189">
                  <c:v>-8.2979999999999998E-3</c:v>
                </c:pt>
                <c:pt idx="190">
                  <c:v>1.7167000000000002E-2</c:v>
                </c:pt>
                <c:pt idx="191">
                  <c:v>1.6326E-2</c:v>
                </c:pt>
                <c:pt idx="192">
                  <c:v>4.3650000000000001E-2</c:v>
                </c:pt>
                <c:pt idx="193">
                  <c:v>7.2340000000000002E-2</c:v>
                </c:pt>
                <c:pt idx="194">
                  <c:v>1.9998999999999999E-2</c:v>
                </c:pt>
                <c:pt idx="195">
                  <c:v>3.7656000000000002E-2</c:v>
                </c:pt>
                <c:pt idx="196">
                  <c:v>2.1097000000000001E-2</c:v>
                </c:pt>
                <c:pt idx="197">
                  <c:v>-1.2048E-2</c:v>
                </c:pt>
                <c:pt idx="198">
                  <c:v>-0.133079</c:v>
                </c:pt>
                <c:pt idx="199">
                  <c:v>-0.19841200000000001</c:v>
                </c:pt>
                <c:pt idx="200">
                  <c:v>-0.21176400000000001</c:v>
                </c:pt>
                <c:pt idx="201">
                  <c:v>-0.221774</c:v>
                </c:pt>
                <c:pt idx="202">
                  <c:v>-0.21487600000000001</c:v>
                </c:pt>
                <c:pt idx="203">
                  <c:v>-0.162601</c:v>
                </c:pt>
                <c:pt idx="204">
                  <c:v>-0.15350800000000001</c:v>
                </c:pt>
                <c:pt idx="205">
                  <c:v>-1.4851E-2</c:v>
                </c:pt>
                <c:pt idx="206">
                  <c:v>-3.4825000000000002E-2</c:v>
                </c:pt>
                <c:pt idx="207">
                  <c:v>-1.0362E-2</c:v>
                </c:pt>
                <c:pt idx="208">
                  <c:v>3.6842E-2</c:v>
                </c:pt>
                <c:pt idx="209">
                  <c:v>-8.2524E-2</c:v>
                </c:pt>
                <c:pt idx="210">
                  <c:v>-0.12953300000000001</c:v>
                </c:pt>
                <c:pt idx="211">
                  <c:v>-0.165829</c:v>
                </c:pt>
                <c:pt idx="212">
                  <c:v>-0.170103</c:v>
                </c:pt>
                <c:pt idx="213">
                  <c:v>-0.17801</c:v>
                </c:pt>
                <c:pt idx="214">
                  <c:v>-0.19796900000000001</c:v>
                </c:pt>
                <c:pt idx="215">
                  <c:v>-0.15873000000000001</c:v>
                </c:pt>
                <c:pt idx="216">
                  <c:v>-0.20238</c:v>
                </c:pt>
                <c:pt idx="217">
                  <c:v>-0.15060200000000001</c:v>
                </c:pt>
                <c:pt idx="218">
                  <c:v>-0.11801200000000001</c:v>
                </c:pt>
                <c:pt idx="219">
                  <c:v>-0.13375699999999999</c:v>
                </c:pt>
                <c:pt idx="220">
                  <c:v>-0.15189800000000001</c:v>
                </c:pt>
                <c:pt idx="221">
                  <c:v>-0.119496</c:v>
                </c:pt>
                <c:pt idx="222">
                  <c:v>2.2388000000000002E-2</c:v>
                </c:pt>
                <c:pt idx="223">
                  <c:v>0.10638300000000001</c:v>
                </c:pt>
                <c:pt idx="224">
                  <c:v>-7.0419999999999996E-3</c:v>
                </c:pt>
                <c:pt idx="225">
                  <c:v>-1.4704999999999999E-2</c:v>
                </c:pt>
                <c:pt idx="226">
                  <c:v>-5.9700999999999997E-2</c:v>
                </c:pt>
                <c:pt idx="227">
                  <c:v>-0.12142799999999999</c:v>
                </c:pt>
                <c:pt idx="228">
                  <c:v>-0.145985</c:v>
                </c:pt>
                <c:pt idx="229">
                  <c:v>-0.28846100000000002</c:v>
                </c:pt>
                <c:pt idx="230">
                  <c:v>-0.29077999999999998</c:v>
                </c:pt>
                <c:pt idx="231">
                  <c:v>-0.22388</c:v>
                </c:pt>
                <c:pt idx="232">
                  <c:v>-0.206349</c:v>
                </c:pt>
                <c:pt idx="233">
                  <c:v>-0.19512099999999999</c:v>
                </c:pt>
                <c:pt idx="234">
                  <c:v>-0.16239300000000001</c:v>
                </c:pt>
                <c:pt idx="235">
                  <c:v>-0.17117099999999999</c:v>
                </c:pt>
                <c:pt idx="236">
                  <c:v>-7.9999000000000001E-2</c:v>
                </c:pt>
                <c:pt idx="237">
                  <c:v>-0.18269199999999999</c:v>
                </c:pt>
                <c:pt idx="238">
                  <c:v>-0.23</c:v>
                </c:pt>
                <c:pt idx="239">
                  <c:v>-0.16161600000000001</c:v>
                </c:pt>
                <c:pt idx="240">
                  <c:v>-0.17346900000000001</c:v>
                </c:pt>
                <c:pt idx="241">
                  <c:v>-0.20652100000000001</c:v>
                </c:pt>
                <c:pt idx="242">
                  <c:v>-0.28260800000000003</c:v>
                </c:pt>
                <c:pt idx="243">
                  <c:v>-0.25882300000000003</c:v>
                </c:pt>
                <c:pt idx="244">
                  <c:v>-0.233766</c:v>
                </c:pt>
                <c:pt idx="245">
                  <c:v>-0.22891500000000001</c:v>
                </c:pt>
                <c:pt idx="246">
                  <c:v>-0.33333299999999999</c:v>
                </c:pt>
                <c:pt idx="247">
                  <c:v>-0.31506800000000001</c:v>
                </c:pt>
                <c:pt idx="248">
                  <c:v>-0.212121</c:v>
                </c:pt>
                <c:pt idx="249">
                  <c:v>-0.12698400000000001</c:v>
                </c:pt>
                <c:pt idx="250">
                  <c:v>-5.0847000000000003E-2</c:v>
                </c:pt>
                <c:pt idx="251">
                  <c:v>-0.171875</c:v>
                </c:pt>
                <c:pt idx="252">
                  <c:v>-0.12962899999999999</c:v>
                </c:pt>
                <c:pt idx="253">
                  <c:v>-0.02</c:v>
                </c:pt>
                <c:pt idx="254">
                  <c:v>-7.6923000000000005E-2</c:v>
                </c:pt>
                <c:pt idx="255">
                  <c:v>-0.2</c:v>
                </c:pt>
                <c:pt idx="256">
                  <c:v>-0.26785700000000001</c:v>
                </c:pt>
                <c:pt idx="257">
                  <c:v>-0.33962199999999998</c:v>
                </c:pt>
                <c:pt idx="258">
                  <c:v>-0.31914799999999999</c:v>
                </c:pt>
                <c:pt idx="259">
                  <c:v>-0.36734600000000001</c:v>
                </c:pt>
                <c:pt idx="260">
                  <c:v>-0.41666599999999998</c:v>
                </c:pt>
                <c:pt idx="261">
                  <c:v>-0.45454499999999998</c:v>
                </c:pt>
                <c:pt idx="262">
                  <c:v>-0.414634</c:v>
                </c:pt>
                <c:pt idx="263">
                  <c:v>-0.25714199999999998</c:v>
                </c:pt>
                <c:pt idx="264">
                  <c:v>-0.187499</c:v>
                </c:pt>
                <c:pt idx="265">
                  <c:v>-0.22580600000000001</c:v>
                </c:pt>
                <c:pt idx="266">
                  <c:v>-0.28571400000000002</c:v>
                </c:pt>
                <c:pt idx="267">
                  <c:v>-0.20833299999999999</c:v>
                </c:pt>
                <c:pt idx="268">
                  <c:v>-0.20833299999999999</c:v>
                </c:pt>
                <c:pt idx="269">
                  <c:v>-0.38461499999999998</c:v>
                </c:pt>
                <c:pt idx="270">
                  <c:v>-0.53846099999999997</c:v>
                </c:pt>
                <c:pt idx="271">
                  <c:v>-0.45833299999999999</c:v>
                </c:pt>
                <c:pt idx="272">
                  <c:v>-0.25</c:v>
                </c:pt>
                <c:pt idx="273">
                  <c:v>-0.263158</c:v>
                </c:pt>
                <c:pt idx="274">
                  <c:v>-0.42105199999999998</c:v>
                </c:pt>
                <c:pt idx="275">
                  <c:v>-0.3125</c:v>
                </c:pt>
                <c:pt idx="276">
                  <c:v>-8.3333000000000004E-2</c:v>
                </c:pt>
                <c:pt idx="277">
                  <c:v>-0.230769</c:v>
                </c:pt>
                <c:pt idx="278">
                  <c:v>-0.4</c:v>
                </c:pt>
                <c:pt idx="279">
                  <c:v>-0.64285599999999998</c:v>
                </c:pt>
                <c:pt idx="280">
                  <c:v>-0.54545399999999999</c:v>
                </c:pt>
                <c:pt idx="281">
                  <c:v>-0.54545399999999999</c:v>
                </c:pt>
                <c:pt idx="282">
                  <c:v>-0.63636400000000004</c:v>
                </c:pt>
                <c:pt idx="283">
                  <c:v>-0.6</c:v>
                </c:pt>
                <c:pt idx="284">
                  <c:v>-0.55555500000000002</c:v>
                </c:pt>
                <c:pt idx="285">
                  <c:v>-0.4</c:v>
                </c:pt>
                <c:pt idx="286">
                  <c:v>-0.20000100000000001</c:v>
                </c:pt>
                <c:pt idx="287">
                  <c:v>0</c:v>
                </c:pt>
                <c:pt idx="288">
                  <c:v>0.250002</c:v>
                </c:pt>
                <c:pt idx="289">
                  <c:v>0</c:v>
                </c:pt>
                <c:pt idx="290">
                  <c:v>0.250002</c:v>
                </c:pt>
                <c:pt idx="291">
                  <c:v>1</c:v>
                </c:pt>
                <c:pt idx="292">
                  <c:v>0.75</c:v>
                </c:pt>
                <c:pt idx="293">
                  <c:v>0.19999900000000001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-0.5</c:v>
                </c:pt>
                <c:pt idx="298">
                  <c:v>-0.71428599999999998</c:v>
                </c:pt>
                <c:pt idx="299">
                  <c:v>-0.83333299999999999</c:v>
                </c:pt>
                <c:pt idx="300">
                  <c:v>-0.60000100000000001</c:v>
                </c:pt>
                <c:pt idx="301">
                  <c:v>-0.50000100000000003</c:v>
                </c:pt>
                <c:pt idx="302">
                  <c:v>-0.4</c:v>
                </c:pt>
                <c:pt idx="303">
                  <c:v>0</c:v>
                </c:pt>
                <c:pt idx="304">
                  <c:v>1.000005</c:v>
                </c:pt>
                <c:pt idx="305">
                  <c:v>3.0000100000000001</c:v>
                </c:pt>
                <c:pt idx="306">
                  <c:v>1.000005</c:v>
                </c:pt>
                <c:pt idx="307">
                  <c:v>0.50000500000000003</c:v>
                </c:pt>
                <c:pt idx="308">
                  <c:v>0</c:v>
                </c:pt>
                <c:pt idx="309">
                  <c:v>0</c:v>
                </c:pt>
                <c:pt idx="310">
                  <c:v>-0.50000100000000003</c:v>
                </c:pt>
                <c:pt idx="311">
                  <c:v>-0.75</c:v>
                </c:pt>
                <c:pt idx="312">
                  <c:v>-0.75</c:v>
                </c:pt>
                <c:pt idx="313">
                  <c:v>-0.66666700000000001</c:v>
                </c:pt>
                <c:pt idx="314">
                  <c:v>-0.33333499999999999</c:v>
                </c:pt>
                <c:pt idx="315">
                  <c:v>-0.33333499999999999</c:v>
                </c:pt>
                <c:pt idx="316">
                  <c:v>0</c:v>
                </c:pt>
                <c:pt idx="317">
                  <c:v>2.0000100000000001</c:v>
                </c:pt>
                <c:pt idx="318">
                  <c:v>2.0000100000000001</c:v>
                </c:pt>
                <c:pt idx="319">
                  <c:v>2.0000100000000001</c:v>
                </c:pt>
                <c:pt idx="320">
                  <c:v>1.000005</c:v>
                </c:pt>
                <c:pt idx="321">
                  <c:v>1.000005</c:v>
                </c:pt>
                <c:pt idx="322">
                  <c:v>1.000005</c:v>
                </c:pt>
                <c:pt idx="323">
                  <c:v>0</c:v>
                </c:pt>
                <c:pt idx="324">
                  <c:v>0</c:v>
                </c:pt>
                <c:pt idx="325">
                  <c:v>0.33333200000000002</c:v>
                </c:pt>
                <c:pt idx="326">
                  <c:v>0</c:v>
                </c:pt>
                <c:pt idx="327">
                  <c:v>-0.249999</c:v>
                </c:pt>
                <c:pt idx="328">
                  <c:v>-0.249999</c:v>
                </c:pt>
                <c:pt idx="329">
                  <c:v>0</c:v>
                </c:pt>
                <c:pt idx="330">
                  <c:v>0</c:v>
                </c:pt>
                <c:pt idx="331">
                  <c:v>-0.249999</c:v>
                </c:pt>
                <c:pt idx="332">
                  <c:v>0</c:v>
                </c:pt>
                <c:pt idx="333">
                  <c:v>0.66666700000000001</c:v>
                </c:pt>
                <c:pt idx="334">
                  <c:v>0.66666700000000001</c:v>
                </c:pt>
                <c:pt idx="335">
                  <c:v>0.33333200000000002</c:v>
                </c:pt>
                <c:pt idx="336">
                  <c:v>1</c:v>
                </c:pt>
                <c:pt idx="337">
                  <c:v>1.333332</c:v>
                </c:pt>
                <c:pt idx="338">
                  <c:v>0.50000100000000003</c:v>
                </c:pt>
                <c:pt idx="339">
                  <c:v>0</c:v>
                </c:pt>
                <c:pt idx="340">
                  <c:v>-0.20000100000000001</c:v>
                </c:pt>
                <c:pt idx="341">
                  <c:v>0</c:v>
                </c:pt>
                <c:pt idx="342">
                  <c:v>-0.16666600000000001</c:v>
                </c:pt>
                <c:pt idx="343">
                  <c:v>-0.57142800000000005</c:v>
                </c:pt>
                <c:pt idx="344">
                  <c:v>-0.33333299999999999</c:v>
                </c:pt>
                <c:pt idx="345">
                  <c:v>-0.20000100000000001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.66666700000000001</c:v>
                </c:pt>
                <c:pt idx="350">
                  <c:v>0.250002</c:v>
                </c:pt>
                <c:pt idx="351">
                  <c:v>-0.249999</c:v>
                </c:pt>
                <c:pt idx="352">
                  <c:v>-0.249999</c:v>
                </c:pt>
                <c:pt idx="353">
                  <c:v>0.250002</c:v>
                </c:pt>
                <c:pt idx="354">
                  <c:v>0.19999900000000001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1.333332</c:v>
                </c:pt>
                <c:pt idx="359">
                  <c:v>0.39999800000000002</c:v>
                </c:pt>
                <c:pt idx="360">
                  <c:v>-0.33333299999999999</c:v>
                </c:pt>
                <c:pt idx="361">
                  <c:v>-0.4</c:v>
                </c:pt>
                <c:pt idx="362">
                  <c:v>-0.4</c:v>
                </c:pt>
                <c:pt idx="363">
                  <c:v>-0.66666700000000001</c:v>
                </c:pt>
                <c:pt idx="364">
                  <c:v>-0.85714299999999999</c:v>
                </c:pt>
                <c:pt idx="365">
                  <c:v>-0.85714299999999999</c:v>
                </c:pt>
                <c:pt idx="366">
                  <c:v>-0.75</c:v>
                </c:pt>
                <c:pt idx="367">
                  <c:v>0.66666700000000001</c:v>
                </c:pt>
                <c:pt idx="368">
                  <c:v>0.66666700000000001</c:v>
                </c:pt>
                <c:pt idx="369">
                  <c:v>2.0000100000000001</c:v>
                </c:pt>
                <c:pt idx="370">
                  <c:v>6.0000210000000003</c:v>
                </c:pt>
                <c:pt idx="371">
                  <c:v>8.0000319999999991</c:v>
                </c:pt>
                <c:pt idx="372">
                  <c:v>7.000032</c:v>
                </c:pt>
                <c:pt idx="373">
                  <c:v>0.59999899999999995</c:v>
                </c:pt>
                <c:pt idx="374">
                  <c:v>0.19999900000000001</c:v>
                </c:pt>
                <c:pt idx="375">
                  <c:v>0</c:v>
                </c:pt>
                <c:pt idx="376">
                  <c:v>-0.28571299999999999</c:v>
                </c:pt>
                <c:pt idx="377">
                  <c:v>-0.11111</c:v>
                </c:pt>
                <c:pt idx="378">
                  <c:v>0.124999</c:v>
                </c:pt>
                <c:pt idx="379">
                  <c:v>0.124999</c:v>
                </c:pt>
                <c:pt idx="380">
                  <c:v>0.83333299999999999</c:v>
                </c:pt>
                <c:pt idx="381">
                  <c:v>0.66666700000000001</c:v>
                </c:pt>
                <c:pt idx="382">
                  <c:v>1</c:v>
                </c:pt>
                <c:pt idx="383">
                  <c:v>0.37499900000000003</c:v>
                </c:pt>
                <c:pt idx="384">
                  <c:v>-0.11111</c:v>
                </c:pt>
                <c:pt idx="385">
                  <c:v>-0.44444400000000001</c:v>
                </c:pt>
                <c:pt idx="386">
                  <c:v>-0.45454499999999998</c:v>
                </c:pt>
                <c:pt idx="387">
                  <c:v>-0.4</c:v>
                </c:pt>
                <c:pt idx="388">
                  <c:v>-0.3</c:v>
                </c:pt>
                <c:pt idx="389">
                  <c:v>-0.18181800000000001</c:v>
                </c:pt>
                <c:pt idx="390">
                  <c:v>0.25</c:v>
                </c:pt>
                <c:pt idx="391">
                  <c:v>1.4</c:v>
                </c:pt>
                <c:pt idx="392">
                  <c:v>1.1666669999999999</c:v>
                </c:pt>
                <c:pt idx="393">
                  <c:v>1.6666669999999999</c:v>
                </c:pt>
                <c:pt idx="394">
                  <c:v>1.1428590000000001</c:v>
                </c:pt>
                <c:pt idx="395">
                  <c:v>0.88888999999999996</c:v>
                </c:pt>
                <c:pt idx="396">
                  <c:v>0.5</c:v>
                </c:pt>
                <c:pt idx="397">
                  <c:v>0.249999</c:v>
                </c:pt>
                <c:pt idx="398">
                  <c:v>0.30769200000000002</c:v>
                </c:pt>
                <c:pt idx="399">
                  <c:v>0.6875</c:v>
                </c:pt>
                <c:pt idx="400">
                  <c:v>1.2</c:v>
                </c:pt>
                <c:pt idx="401">
                  <c:v>1.1176470000000001</c:v>
                </c:pt>
                <c:pt idx="402">
                  <c:v>1.2666660000000001</c:v>
                </c:pt>
                <c:pt idx="403">
                  <c:v>1.3333330000000001</c:v>
                </c:pt>
                <c:pt idx="404">
                  <c:v>1.0588230000000001</c:v>
                </c:pt>
                <c:pt idx="405">
                  <c:v>0.48148099999999999</c:v>
                </c:pt>
                <c:pt idx="406">
                  <c:v>-6.0606E-2</c:v>
                </c:pt>
                <c:pt idx="407">
                  <c:v>-0.25</c:v>
                </c:pt>
                <c:pt idx="408">
                  <c:v>-0.117647</c:v>
                </c:pt>
                <c:pt idx="409">
                  <c:v>-8.5713999999999999E-2</c:v>
                </c:pt>
                <c:pt idx="410">
                  <c:v>-5.7141999999999998E-2</c:v>
                </c:pt>
                <c:pt idx="411">
                  <c:v>-0.125</c:v>
                </c:pt>
                <c:pt idx="412">
                  <c:v>3.2257000000000001E-2</c:v>
                </c:pt>
                <c:pt idx="413">
                  <c:v>0.222222</c:v>
                </c:pt>
                <c:pt idx="414">
                  <c:v>0.13333300000000001</c:v>
                </c:pt>
                <c:pt idx="415">
                  <c:v>-6.25E-2</c:v>
                </c:pt>
                <c:pt idx="416">
                  <c:v>0</c:v>
                </c:pt>
                <c:pt idx="417">
                  <c:v>2.8570999999999999E-2</c:v>
                </c:pt>
                <c:pt idx="418">
                  <c:v>0.31249900000000003</c:v>
                </c:pt>
                <c:pt idx="419">
                  <c:v>0.72727200000000003</c:v>
                </c:pt>
                <c:pt idx="420">
                  <c:v>0.735294</c:v>
                </c:pt>
                <c:pt idx="421">
                  <c:v>1.0333330000000001</c:v>
                </c:pt>
                <c:pt idx="422">
                  <c:v>1.060605</c:v>
                </c:pt>
                <c:pt idx="423">
                  <c:v>0.94444399999999995</c:v>
                </c:pt>
                <c:pt idx="424">
                  <c:v>0.69047599999999998</c:v>
                </c:pt>
                <c:pt idx="425">
                  <c:v>0.19298199999999999</c:v>
                </c:pt>
                <c:pt idx="426">
                  <c:v>0.22033800000000001</c:v>
                </c:pt>
                <c:pt idx="427">
                  <c:v>0.45901599999999998</c:v>
                </c:pt>
                <c:pt idx="428">
                  <c:v>0.41176400000000002</c:v>
                </c:pt>
                <c:pt idx="429">
                  <c:v>0.41428500000000001</c:v>
                </c:pt>
                <c:pt idx="430">
                  <c:v>0.57746399999999998</c:v>
                </c:pt>
                <c:pt idx="431">
                  <c:v>0.83823499999999995</c:v>
                </c:pt>
                <c:pt idx="432">
                  <c:v>0.875</c:v>
                </c:pt>
                <c:pt idx="433">
                  <c:v>0.55056099999999997</c:v>
                </c:pt>
                <c:pt idx="434">
                  <c:v>0.46875</c:v>
                </c:pt>
                <c:pt idx="435">
                  <c:v>0.54545399999999999</c:v>
                </c:pt>
                <c:pt idx="436">
                  <c:v>0.45535700000000001</c:v>
                </c:pt>
                <c:pt idx="437">
                  <c:v>0.27199899999999999</c:v>
                </c:pt>
                <c:pt idx="438">
                  <c:v>0.162962</c:v>
                </c:pt>
                <c:pt idx="439">
                  <c:v>0.152173</c:v>
                </c:pt>
                <c:pt idx="440">
                  <c:v>0.14893600000000001</c:v>
                </c:pt>
                <c:pt idx="441">
                  <c:v>4.5751E-2</c:v>
                </c:pt>
                <c:pt idx="442">
                  <c:v>-6.1349000000000001E-2</c:v>
                </c:pt>
                <c:pt idx="443">
                  <c:v>4.4025000000000002E-2</c:v>
                </c:pt>
                <c:pt idx="444">
                  <c:v>0.13375699999999999</c:v>
                </c:pt>
                <c:pt idx="445">
                  <c:v>0.13836399999999999</c:v>
                </c:pt>
                <c:pt idx="446">
                  <c:v>0.191358</c:v>
                </c:pt>
                <c:pt idx="447">
                  <c:v>0.26249899999999998</c:v>
                </c:pt>
                <c:pt idx="448">
                  <c:v>0.47712399999999999</c:v>
                </c:pt>
                <c:pt idx="449">
                  <c:v>0.34337299999999998</c:v>
                </c:pt>
                <c:pt idx="450">
                  <c:v>0.30336999999999997</c:v>
                </c:pt>
                <c:pt idx="451">
                  <c:v>0.29281699999999999</c:v>
                </c:pt>
                <c:pt idx="452">
                  <c:v>0.24352299999999999</c:v>
                </c:pt>
                <c:pt idx="453">
                  <c:v>0.13861299999999999</c:v>
                </c:pt>
                <c:pt idx="454">
                  <c:v>-8.8489999999999992E-3</c:v>
                </c:pt>
                <c:pt idx="455">
                  <c:v>-9.8654000000000006E-2</c:v>
                </c:pt>
                <c:pt idx="456">
                  <c:v>-6.4655000000000004E-2</c:v>
                </c:pt>
                <c:pt idx="457">
                  <c:v>-0.15384600000000001</c:v>
                </c:pt>
                <c:pt idx="458">
                  <c:v>-0.23749999999999999</c:v>
                </c:pt>
                <c:pt idx="459">
                  <c:v>-0.230434</c:v>
                </c:pt>
                <c:pt idx="460">
                  <c:v>-0.23214199999999999</c:v>
                </c:pt>
                <c:pt idx="461">
                  <c:v>-0.114427</c:v>
                </c:pt>
                <c:pt idx="462">
                  <c:v>-0.18433099999999999</c:v>
                </c:pt>
                <c:pt idx="463">
                  <c:v>-0.20202000000000001</c:v>
                </c:pt>
                <c:pt idx="464">
                  <c:v>-0.163934</c:v>
                </c:pt>
                <c:pt idx="465">
                  <c:v>-0.118644</c:v>
                </c:pt>
                <c:pt idx="466">
                  <c:v>-0.12790699999999999</c:v>
                </c:pt>
                <c:pt idx="467">
                  <c:v>-0.157303</c:v>
                </c:pt>
                <c:pt idx="468">
                  <c:v>-0.248587</c:v>
                </c:pt>
                <c:pt idx="469">
                  <c:v>-0.132911</c:v>
                </c:pt>
                <c:pt idx="470">
                  <c:v>-4.5751E-2</c:v>
                </c:pt>
                <c:pt idx="471">
                  <c:v>-7.6923000000000005E-2</c:v>
                </c:pt>
                <c:pt idx="472">
                  <c:v>-7.9999000000000001E-2</c:v>
                </c:pt>
                <c:pt idx="473">
                  <c:v>-0.13333300000000001</c:v>
                </c:pt>
                <c:pt idx="474">
                  <c:v>-6.0150000000000002E-2</c:v>
                </c:pt>
                <c:pt idx="475">
                  <c:v>-5.1094000000000001E-2</c:v>
                </c:pt>
                <c:pt idx="476">
                  <c:v>-0.14383499999999999</c:v>
                </c:pt>
                <c:pt idx="477">
                  <c:v>-0.20833299999999999</c:v>
                </c:pt>
                <c:pt idx="478">
                  <c:v>-0.17391300000000001</c:v>
                </c:pt>
                <c:pt idx="479">
                  <c:v>-0.15384600000000001</c:v>
                </c:pt>
                <c:pt idx="480">
                  <c:v>-0.08</c:v>
                </c:pt>
                <c:pt idx="481">
                  <c:v>-0.115384</c:v>
                </c:pt>
                <c:pt idx="482">
                  <c:v>-0.12</c:v>
                </c:pt>
                <c:pt idx="483">
                  <c:v>2.6315000000000002E-2</c:v>
                </c:pt>
                <c:pt idx="484">
                  <c:v>7.0175000000000001E-2</c:v>
                </c:pt>
                <c:pt idx="485">
                  <c:v>5.4545000000000003E-2</c:v>
                </c:pt>
                <c:pt idx="486">
                  <c:v>3.4782E-2</c:v>
                </c:pt>
                <c:pt idx="487">
                  <c:v>6.0868999999999999E-2</c:v>
                </c:pt>
                <c:pt idx="488">
                  <c:v>0.10909000000000001</c:v>
                </c:pt>
                <c:pt idx="489">
                  <c:v>-5.1282000000000001E-2</c:v>
                </c:pt>
                <c:pt idx="490">
                  <c:v>-0.22950799999999999</c:v>
                </c:pt>
                <c:pt idx="491">
                  <c:v>-0.275862</c:v>
                </c:pt>
                <c:pt idx="492">
                  <c:v>-0.34453699999999998</c:v>
                </c:pt>
                <c:pt idx="493">
                  <c:v>-0.360655</c:v>
                </c:pt>
                <c:pt idx="494">
                  <c:v>-0.40163900000000002</c:v>
                </c:pt>
                <c:pt idx="495">
                  <c:v>-0.36036000000000001</c:v>
                </c:pt>
                <c:pt idx="496">
                  <c:v>-0.25531900000000002</c:v>
                </c:pt>
                <c:pt idx="497">
                  <c:v>-0.16666600000000001</c:v>
                </c:pt>
                <c:pt idx="498">
                  <c:v>-8.9743000000000003E-2</c:v>
                </c:pt>
                <c:pt idx="499">
                  <c:v>-0.115384</c:v>
                </c:pt>
                <c:pt idx="500">
                  <c:v>-5.4794000000000002E-2</c:v>
                </c:pt>
                <c:pt idx="501">
                  <c:v>-0.12676000000000001</c:v>
                </c:pt>
                <c:pt idx="502">
                  <c:v>-0.18571399999999999</c:v>
                </c:pt>
                <c:pt idx="503">
                  <c:v>-0.14285700000000001</c:v>
                </c:pt>
                <c:pt idx="504">
                  <c:v>-0.23943600000000001</c:v>
                </c:pt>
                <c:pt idx="505">
                  <c:v>-0.18840499999999999</c:v>
                </c:pt>
                <c:pt idx="506">
                  <c:v>-0.115942</c:v>
                </c:pt>
                <c:pt idx="507">
                  <c:v>-1.6129000000000001E-2</c:v>
                </c:pt>
                <c:pt idx="508">
                  <c:v>0.245614</c:v>
                </c:pt>
                <c:pt idx="509">
                  <c:v>0.316666</c:v>
                </c:pt>
                <c:pt idx="510">
                  <c:v>0.55555500000000002</c:v>
                </c:pt>
                <c:pt idx="511">
                  <c:v>0.60714299999999999</c:v>
                </c:pt>
                <c:pt idx="512">
                  <c:v>0.55737700000000001</c:v>
                </c:pt>
                <c:pt idx="513">
                  <c:v>0.65573700000000001</c:v>
                </c:pt>
                <c:pt idx="514">
                  <c:v>0.54929499999999998</c:v>
                </c:pt>
                <c:pt idx="515">
                  <c:v>0.43037900000000001</c:v>
                </c:pt>
                <c:pt idx="516">
                  <c:v>0.39285700000000001</c:v>
                </c:pt>
                <c:pt idx="517">
                  <c:v>0.37777699999999997</c:v>
                </c:pt>
                <c:pt idx="518">
                  <c:v>0.43157800000000002</c:v>
                </c:pt>
                <c:pt idx="519">
                  <c:v>0.435643</c:v>
                </c:pt>
                <c:pt idx="520">
                  <c:v>0.37272699999999997</c:v>
                </c:pt>
                <c:pt idx="521">
                  <c:v>0.265486</c:v>
                </c:pt>
                <c:pt idx="522">
                  <c:v>0.29914499999999999</c:v>
                </c:pt>
                <c:pt idx="523">
                  <c:v>0.193548</c:v>
                </c:pt>
                <c:pt idx="524">
                  <c:v>6.6175999999999999E-2</c:v>
                </c:pt>
                <c:pt idx="525">
                  <c:v>-0.103448</c:v>
                </c:pt>
                <c:pt idx="526">
                  <c:v>-9.2715000000000006E-2</c:v>
                </c:pt>
                <c:pt idx="527">
                  <c:v>-2.7970999999999999E-2</c:v>
                </c:pt>
                <c:pt idx="528">
                  <c:v>-1.9736E-2</c:v>
                </c:pt>
                <c:pt idx="529">
                  <c:v>-8.1081E-2</c:v>
                </c:pt>
                <c:pt idx="530">
                  <c:v>-5.5171999999999999E-2</c:v>
                </c:pt>
                <c:pt idx="531">
                  <c:v>6.1538000000000002E-2</c:v>
                </c:pt>
                <c:pt idx="532">
                  <c:v>6.5693000000000001E-2</c:v>
                </c:pt>
                <c:pt idx="533">
                  <c:v>4.3165000000000002E-2</c:v>
                </c:pt>
                <c:pt idx="534">
                  <c:v>-6.0401999999999997E-2</c:v>
                </c:pt>
                <c:pt idx="535">
                  <c:v>-2.2058000000000001E-2</c:v>
                </c:pt>
                <c:pt idx="536">
                  <c:v>7.2989999999999999E-3</c:v>
                </c:pt>
                <c:pt idx="537">
                  <c:v>2.8985E-2</c:v>
                </c:pt>
                <c:pt idx="538">
                  <c:v>-4.7945000000000002E-2</c:v>
                </c:pt>
                <c:pt idx="539">
                  <c:v>2.0688999999999999E-2</c:v>
                </c:pt>
                <c:pt idx="540">
                  <c:v>-6.4284999999999995E-2</c:v>
                </c:pt>
                <c:pt idx="541">
                  <c:v>1.5037E-2</c:v>
                </c:pt>
                <c:pt idx="542">
                  <c:v>-0.101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92-4723-A6DD-F9006463A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v_den_pozitivity_7dni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3.1019775099999998E-3</c:v>
                </c:pt>
                <c:pt idx="1">
                  <c:v>3.1824611030000002E-3</c:v>
                </c:pt>
                <c:pt idx="2">
                  <c:v>3.4887408810000001E-3</c:v>
                </c:pt>
                <c:pt idx="3">
                  <c:v>4.0404040399999999E-3</c:v>
                </c:pt>
                <c:pt idx="4">
                  <c:v>4.1107152639999998E-3</c:v>
                </c:pt>
                <c:pt idx="5">
                  <c:v>4.4926004220000003E-3</c:v>
                </c:pt>
                <c:pt idx="6">
                  <c:v>4.4020542920000004E-3</c:v>
                </c:pt>
                <c:pt idx="7">
                  <c:v>2.9455080999999999E-3</c:v>
                </c:pt>
                <c:pt idx="8">
                  <c:v>2.8484618300000002E-3</c:v>
                </c:pt>
                <c:pt idx="9">
                  <c:v>3.0130565779999999E-3</c:v>
                </c:pt>
                <c:pt idx="10">
                  <c:v>2.870524248E-3</c:v>
                </c:pt>
                <c:pt idx="11">
                  <c:v>2.2216414E-3</c:v>
                </c:pt>
                <c:pt idx="12">
                  <c:v>2.240756877E-3</c:v>
                </c:pt>
                <c:pt idx="13">
                  <c:v>2E-3</c:v>
                </c:pt>
                <c:pt idx="14">
                  <c:v>2.995008319E-3</c:v>
                </c:pt>
                <c:pt idx="15">
                  <c:v>2.6026026020000001E-3</c:v>
                </c:pt>
                <c:pt idx="16">
                  <c:v>2.4718718029999999E-3</c:v>
                </c:pt>
                <c:pt idx="17">
                  <c:v>2.3390869489999999E-3</c:v>
                </c:pt>
                <c:pt idx="18">
                  <c:v>2.4019835730000002E-3</c:v>
                </c:pt>
                <c:pt idx="19">
                  <c:v>2.824643102E-3</c:v>
                </c:pt>
                <c:pt idx="20">
                  <c:v>3.1739002059999999E-3</c:v>
                </c:pt>
                <c:pt idx="21">
                  <c:v>2.8052458089999999E-3</c:v>
                </c:pt>
                <c:pt idx="22">
                  <c:v>3.4647633559999999E-3</c:v>
                </c:pt>
                <c:pt idx="23">
                  <c:v>4.0106951869999996E-3</c:v>
                </c:pt>
                <c:pt idx="24">
                  <c:v>4.119875074E-3</c:v>
                </c:pt>
                <c:pt idx="25">
                  <c:v>4.270937604E-3</c:v>
                </c:pt>
                <c:pt idx="26">
                  <c:v>4.0506990720000002E-3</c:v>
                </c:pt>
                <c:pt idx="27">
                  <c:v>4.3009329710000004E-3</c:v>
                </c:pt>
                <c:pt idx="28">
                  <c:v>4.6977124179999998E-3</c:v>
                </c:pt>
                <c:pt idx="29">
                  <c:v>4.4421217659999998E-3</c:v>
                </c:pt>
                <c:pt idx="30">
                  <c:v>4.1496384779999996E-3</c:v>
                </c:pt>
                <c:pt idx="31">
                  <c:v>4.4762757379999997E-3</c:v>
                </c:pt>
                <c:pt idx="32">
                  <c:v>4.5590951060000004E-3</c:v>
                </c:pt>
                <c:pt idx="33">
                  <c:v>4.590237348E-3</c:v>
                </c:pt>
                <c:pt idx="34">
                  <c:v>5.483068487E-3</c:v>
                </c:pt>
                <c:pt idx="35">
                  <c:v>5.3620510969999997E-3</c:v>
                </c:pt>
                <c:pt idx="36">
                  <c:v>5.5275564940000001E-3</c:v>
                </c:pt>
                <c:pt idx="37">
                  <c:v>5.4727307029999997E-3</c:v>
                </c:pt>
                <c:pt idx="38">
                  <c:v>5.1088830700000004E-3</c:v>
                </c:pt>
                <c:pt idx="39">
                  <c:v>5.1495464199999997E-3</c:v>
                </c:pt>
                <c:pt idx="40">
                  <c:v>5.2504038770000002E-3</c:v>
                </c:pt>
                <c:pt idx="41">
                  <c:v>4.8251241139999996E-3</c:v>
                </c:pt>
                <c:pt idx="42">
                  <c:v>4.4310171189999997E-3</c:v>
                </c:pt>
                <c:pt idx="43">
                  <c:v>4.0976142769999996E-3</c:v>
                </c:pt>
                <c:pt idx="44">
                  <c:v>3.9164490860000003E-3</c:v>
                </c:pt>
                <c:pt idx="45">
                  <c:v>3.9413526720000003E-3</c:v>
                </c:pt>
                <c:pt idx="46">
                  <c:v>3.520612914E-3</c:v>
                </c:pt>
                <c:pt idx="47">
                  <c:v>3.628357551E-3</c:v>
                </c:pt>
                <c:pt idx="48">
                  <c:v>3.7822482069999998E-3</c:v>
                </c:pt>
                <c:pt idx="49">
                  <c:v>3.7223355700000001E-3</c:v>
                </c:pt>
                <c:pt idx="50">
                  <c:v>3.676364994E-3</c:v>
                </c:pt>
                <c:pt idx="51">
                  <c:v>3.6858022350000001E-3</c:v>
                </c:pt>
                <c:pt idx="52">
                  <c:v>3.4265841550000001E-3</c:v>
                </c:pt>
                <c:pt idx="53">
                  <c:v>3.623188405E-3</c:v>
                </c:pt>
                <c:pt idx="54">
                  <c:v>3.6455179119999999E-3</c:v>
                </c:pt>
                <c:pt idx="55">
                  <c:v>3.772711491E-3</c:v>
                </c:pt>
                <c:pt idx="56">
                  <c:v>3.9293166980000002E-3</c:v>
                </c:pt>
                <c:pt idx="57">
                  <c:v>3.870689459E-3</c:v>
                </c:pt>
                <c:pt idx="58">
                  <c:v>4.0234509709999996E-3</c:v>
                </c:pt>
                <c:pt idx="59">
                  <c:v>4.218074449E-3</c:v>
                </c:pt>
                <c:pt idx="60">
                  <c:v>4.2703613199999999E-3</c:v>
                </c:pt>
                <c:pt idx="61">
                  <c:v>4.1650210039999996E-3</c:v>
                </c:pt>
                <c:pt idx="62">
                  <c:v>4.2899211090000004E-3</c:v>
                </c:pt>
                <c:pt idx="63">
                  <c:v>4.2436218989999998E-3</c:v>
                </c:pt>
                <c:pt idx="64">
                  <c:v>4.0640951869999999E-3</c:v>
                </c:pt>
                <c:pt idx="65">
                  <c:v>4.0181733789999997E-3</c:v>
                </c:pt>
                <c:pt idx="66">
                  <c:v>4.1594106659999996E-3</c:v>
                </c:pt>
                <c:pt idx="67">
                  <c:v>4.230607525E-3</c:v>
                </c:pt>
                <c:pt idx="68">
                  <c:v>4.2639260910000004E-3</c:v>
                </c:pt>
                <c:pt idx="69">
                  <c:v>3.9154603520000003E-3</c:v>
                </c:pt>
                <c:pt idx="70">
                  <c:v>4.0629761299999997E-3</c:v>
                </c:pt>
                <c:pt idx="71">
                  <c:v>4.5893679640000001E-3</c:v>
                </c:pt>
                <c:pt idx="72">
                  <c:v>4.5640426459999999E-3</c:v>
                </c:pt>
                <c:pt idx="73">
                  <c:v>4.4279275709999998E-3</c:v>
                </c:pt>
                <c:pt idx="74">
                  <c:v>4.5683445590000002E-3</c:v>
                </c:pt>
                <c:pt idx="75">
                  <c:v>4.5872571280000003E-3</c:v>
                </c:pt>
                <c:pt idx="76">
                  <c:v>4.6737331720000004E-3</c:v>
                </c:pt>
                <c:pt idx="77">
                  <c:v>4.5856616629999999E-3</c:v>
                </c:pt>
                <c:pt idx="78">
                  <c:v>4.7120705710000004E-3</c:v>
                </c:pt>
                <c:pt idx="79">
                  <c:v>4.9860390899999999E-3</c:v>
                </c:pt>
                <c:pt idx="80">
                  <c:v>4.9479865269999998E-3</c:v>
                </c:pt>
                <c:pt idx="81">
                  <c:v>5.1622418870000001E-3</c:v>
                </c:pt>
                <c:pt idx="82">
                  <c:v>5.2237181670000002E-3</c:v>
                </c:pt>
                <c:pt idx="83">
                  <c:v>4.7883793420000001E-3</c:v>
                </c:pt>
                <c:pt idx="84">
                  <c:v>4.7048759620000003E-3</c:v>
                </c:pt>
                <c:pt idx="85">
                  <c:v>4.7593865669999999E-3</c:v>
                </c:pt>
                <c:pt idx="86">
                  <c:v>4.7769629279999998E-3</c:v>
                </c:pt>
                <c:pt idx="87">
                  <c:v>5.1092318530000002E-3</c:v>
                </c:pt>
                <c:pt idx="88">
                  <c:v>4.7025882179999997E-3</c:v>
                </c:pt>
                <c:pt idx="89">
                  <c:v>4.6676147750000004E-3</c:v>
                </c:pt>
                <c:pt idx="90">
                  <c:v>4.959236578E-3</c:v>
                </c:pt>
                <c:pt idx="91">
                  <c:v>4.8964799320000002E-3</c:v>
                </c:pt>
                <c:pt idx="92">
                  <c:v>4.8496225890000003E-3</c:v>
                </c:pt>
                <c:pt idx="93">
                  <c:v>5.0489596079999997E-3</c:v>
                </c:pt>
                <c:pt idx="94">
                  <c:v>5.1082185559999998E-3</c:v>
                </c:pt>
                <c:pt idx="95">
                  <c:v>5.0603922720000001E-3</c:v>
                </c:pt>
                <c:pt idx="96">
                  <c:v>5.2008409869999999E-3</c:v>
                </c:pt>
                <c:pt idx="97">
                  <c:v>5.0739501240000002E-3</c:v>
                </c:pt>
                <c:pt idx="98">
                  <c:v>5.2699996480000001E-3</c:v>
                </c:pt>
                <c:pt idx="99">
                  <c:v>4.8154622509999998E-3</c:v>
                </c:pt>
                <c:pt idx="100">
                  <c:v>4.5610034200000002E-3</c:v>
                </c:pt>
                <c:pt idx="101">
                  <c:v>4.0563039199999996E-3</c:v>
                </c:pt>
                <c:pt idx="102">
                  <c:v>4.1345836950000001E-3</c:v>
                </c:pt>
                <c:pt idx="103">
                  <c:v>4.0860403349999999E-3</c:v>
                </c:pt>
                <c:pt idx="104">
                  <c:v>4.2908698240000003E-3</c:v>
                </c:pt>
                <c:pt idx="105">
                  <c:v>3.9462027859999997E-3</c:v>
                </c:pt>
                <c:pt idx="106">
                  <c:v>3.708629597E-3</c:v>
                </c:pt>
                <c:pt idx="107">
                  <c:v>3.501554886E-3</c:v>
                </c:pt>
                <c:pt idx="108">
                  <c:v>3.449386009E-3</c:v>
                </c:pt>
                <c:pt idx="109">
                  <c:v>3.2308032750000002E-3</c:v>
                </c:pt>
                <c:pt idx="110">
                  <c:v>3.1751480299999999E-3</c:v>
                </c:pt>
                <c:pt idx="111">
                  <c:v>2.8131957089999999E-3</c:v>
                </c:pt>
                <c:pt idx="112">
                  <c:v>2.630976893E-3</c:v>
                </c:pt>
                <c:pt idx="113">
                  <c:v>2.7241887399999999E-3</c:v>
                </c:pt>
                <c:pt idx="114">
                  <c:v>2.7389309099999999E-3</c:v>
                </c:pt>
                <c:pt idx="115">
                  <c:v>3.1458103520000001E-3</c:v>
                </c:pt>
                <c:pt idx="116">
                  <c:v>3.4304581800000001E-3</c:v>
                </c:pt>
                <c:pt idx="117">
                  <c:v>3.721820501E-3</c:v>
                </c:pt>
                <c:pt idx="118">
                  <c:v>4.0556199299999996E-3</c:v>
                </c:pt>
                <c:pt idx="119">
                  <c:v>4.1512417780000003E-3</c:v>
                </c:pt>
                <c:pt idx="120">
                  <c:v>3.9935148049999999E-3</c:v>
                </c:pt>
                <c:pt idx="121">
                  <c:v>3.7009622499999998E-3</c:v>
                </c:pt>
                <c:pt idx="122">
                  <c:v>3.6001756179999999E-3</c:v>
                </c:pt>
                <c:pt idx="123">
                  <c:v>3.5995276499999999E-3</c:v>
                </c:pt>
                <c:pt idx="124">
                  <c:v>3.4348680320000001E-3</c:v>
                </c:pt>
                <c:pt idx="125">
                  <c:v>3.156008451E-3</c:v>
                </c:pt>
                <c:pt idx="126">
                  <c:v>3.1439894309999998E-3</c:v>
                </c:pt>
                <c:pt idx="127">
                  <c:v>3.1130236870000002E-3</c:v>
                </c:pt>
                <c:pt idx="128">
                  <c:v>3.0213414239999999E-3</c:v>
                </c:pt>
                <c:pt idx="129">
                  <c:v>2.892147932E-3</c:v>
                </c:pt>
                <c:pt idx="130">
                  <c:v>2.8584570900000001E-3</c:v>
                </c:pt>
                <c:pt idx="131">
                  <c:v>2.831497895E-3</c:v>
                </c:pt>
                <c:pt idx="132">
                  <c:v>2.855777412E-3</c:v>
                </c:pt>
                <c:pt idx="133">
                  <c:v>2.8046238390000001E-3</c:v>
                </c:pt>
                <c:pt idx="134">
                  <c:v>2.9489540210000001E-3</c:v>
                </c:pt>
                <c:pt idx="135">
                  <c:v>3.3966247949999999E-3</c:v>
                </c:pt>
                <c:pt idx="136">
                  <c:v>3.47769562E-3</c:v>
                </c:pt>
                <c:pt idx="137">
                  <c:v>3.327387486E-3</c:v>
                </c:pt>
                <c:pt idx="138">
                  <c:v>3.2851743260000001E-3</c:v>
                </c:pt>
                <c:pt idx="139">
                  <c:v>3.4626038779999998E-3</c:v>
                </c:pt>
                <c:pt idx="140">
                  <c:v>3.5958489370000002E-3</c:v>
                </c:pt>
                <c:pt idx="141">
                  <c:v>3.7672912780000001E-3</c:v>
                </c:pt>
                <c:pt idx="142">
                  <c:v>3.331350386E-3</c:v>
                </c:pt>
                <c:pt idx="143">
                  <c:v>3.3281562010000001E-3</c:v>
                </c:pt>
                <c:pt idx="144">
                  <c:v>3.5617961329999998E-3</c:v>
                </c:pt>
                <c:pt idx="145">
                  <c:v>3.5587924930000001E-3</c:v>
                </c:pt>
                <c:pt idx="146">
                  <c:v>3.6310973049999999E-3</c:v>
                </c:pt>
                <c:pt idx="147">
                  <c:v>3.6846451939999999E-3</c:v>
                </c:pt>
                <c:pt idx="148">
                  <c:v>3.366578293E-3</c:v>
                </c:pt>
                <c:pt idx="149">
                  <c:v>3.4391479249999998E-3</c:v>
                </c:pt>
                <c:pt idx="150">
                  <c:v>3.5751088300000002E-3</c:v>
                </c:pt>
                <c:pt idx="151">
                  <c:v>3.6098034659999998E-3</c:v>
                </c:pt>
                <c:pt idx="152">
                  <c:v>3.6597677939999998E-3</c:v>
                </c:pt>
                <c:pt idx="153">
                  <c:v>3.7244727150000001E-3</c:v>
                </c:pt>
                <c:pt idx="154">
                  <c:v>3.4973821979999999E-3</c:v>
                </c:pt>
                <c:pt idx="155">
                  <c:v>3.559010022E-3</c:v>
                </c:pt>
                <c:pt idx="156">
                  <c:v>3.8595846350000002E-3</c:v>
                </c:pt>
                <c:pt idx="157">
                  <c:v>3.8553146820000002E-3</c:v>
                </c:pt>
                <c:pt idx="158">
                  <c:v>3.797292192E-3</c:v>
                </c:pt>
                <c:pt idx="159">
                  <c:v>3.70724707E-3</c:v>
                </c:pt>
                <c:pt idx="160">
                  <c:v>3.4493633459999999E-3</c:v>
                </c:pt>
                <c:pt idx="161">
                  <c:v>3.7398311289999998E-3</c:v>
                </c:pt>
                <c:pt idx="162">
                  <c:v>3.9024013290000002E-3</c:v>
                </c:pt>
                <c:pt idx="163">
                  <c:v>3.6438168980000001E-3</c:v>
                </c:pt>
                <c:pt idx="164">
                  <c:v>3.44038865E-3</c:v>
                </c:pt>
                <c:pt idx="165">
                  <c:v>3.1564114599999999E-3</c:v>
                </c:pt>
                <c:pt idx="166">
                  <c:v>3.3549541480000001E-3</c:v>
                </c:pt>
                <c:pt idx="167">
                  <c:v>3.2873710159999998E-3</c:v>
                </c:pt>
                <c:pt idx="168">
                  <c:v>3.2066445880000001E-3</c:v>
                </c:pt>
                <c:pt idx="169">
                  <c:v>3.2676384039999999E-3</c:v>
                </c:pt>
                <c:pt idx="170">
                  <c:v>3.2717695359999999E-3</c:v>
                </c:pt>
                <c:pt idx="171">
                  <c:v>3.0983611710000002E-3</c:v>
                </c:pt>
                <c:pt idx="172">
                  <c:v>3.419458713E-3</c:v>
                </c:pt>
                <c:pt idx="173">
                  <c:v>3.4485355010000001E-3</c:v>
                </c:pt>
                <c:pt idx="174">
                  <c:v>3.4959962860000001E-3</c:v>
                </c:pt>
                <c:pt idx="175">
                  <c:v>3.2419401760000002E-3</c:v>
                </c:pt>
                <c:pt idx="176">
                  <c:v>3.0913548660000002E-3</c:v>
                </c:pt>
                <c:pt idx="177">
                  <c:v>3.0666187640000001E-3</c:v>
                </c:pt>
                <c:pt idx="178">
                  <c:v>3.0442895020000001E-3</c:v>
                </c:pt>
                <c:pt idx="179">
                  <c:v>2.8589080420000001E-3</c:v>
                </c:pt>
                <c:pt idx="180">
                  <c:v>2.876918447E-3</c:v>
                </c:pt>
                <c:pt idx="181">
                  <c:v>2.8455768539999999E-3</c:v>
                </c:pt>
                <c:pt idx="182">
                  <c:v>2.8725821450000001E-3</c:v>
                </c:pt>
                <c:pt idx="183">
                  <c:v>2.7899653849999999E-3</c:v>
                </c:pt>
                <c:pt idx="184">
                  <c:v>2.6953866079999999E-3</c:v>
                </c:pt>
                <c:pt idx="185">
                  <c:v>2.889014669E-3</c:v>
                </c:pt>
                <c:pt idx="186">
                  <c:v>2.927713362E-3</c:v>
                </c:pt>
                <c:pt idx="187">
                  <c:v>2.7492775829999999E-3</c:v>
                </c:pt>
                <c:pt idx="188">
                  <c:v>2.983008781E-3</c:v>
                </c:pt>
                <c:pt idx="189">
                  <c:v>2.900767064E-3</c:v>
                </c:pt>
                <c:pt idx="190">
                  <c:v>2.9003242969999998E-3</c:v>
                </c:pt>
                <c:pt idx="191">
                  <c:v>3.1790210140000001E-3</c:v>
                </c:pt>
                <c:pt idx="192">
                  <c:v>3.2822484019999999E-3</c:v>
                </c:pt>
                <c:pt idx="193">
                  <c:v>3.229030522E-3</c:v>
                </c:pt>
                <c:pt idx="194">
                  <c:v>3.2949567769999999E-3</c:v>
                </c:pt>
                <c:pt idx="195">
                  <c:v>3.206081212E-3</c:v>
                </c:pt>
                <c:pt idx="196">
                  <c:v>3.1828285080000001E-3</c:v>
                </c:pt>
                <c:pt idx="197">
                  <c:v>3.3458007479999999E-3</c:v>
                </c:pt>
                <c:pt idx="198">
                  <c:v>3.1249143379999999E-3</c:v>
                </c:pt>
                <c:pt idx="199">
                  <c:v>2.9828265969999998E-3</c:v>
                </c:pt>
                <c:pt idx="200">
                  <c:v>3.0368501360000001E-3</c:v>
                </c:pt>
                <c:pt idx="201">
                  <c:v>2.9586252349999998E-3</c:v>
                </c:pt>
                <c:pt idx="202">
                  <c:v>3.0236962290000001E-3</c:v>
                </c:pt>
                <c:pt idx="203">
                  <c:v>3.4473525669999998E-3</c:v>
                </c:pt>
                <c:pt idx="204">
                  <c:v>3.4126071959999999E-3</c:v>
                </c:pt>
                <c:pt idx="205">
                  <c:v>3.7000539199999998E-3</c:v>
                </c:pt>
                <c:pt idx="206">
                  <c:v>3.7464756090000001E-3</c:v>
                </c:pt>
                <c:pt idx="207">
                  <c:v>3.8012976150000001E-3</c:v>
                </c:pt>
                <c:pt idx="208">
                  <c:v>3.9723348049999999E-3</c:v>
                </c:pt>
                <c:pt idx="209">
                  <c:v>3.9144212240000004E-3</c:v>
                </c:pt>
                <c:pt idx="210">
                  <c:v>3.6572622769999999E-3</c:v>
                </c:pt>
                <c:pt idx="211">
                  <c:v>3.7443890550000001E-3</c:v>
                </c:pt>
                <c:pt idx="212">
                  <c:v>3.7759744819999999E-3</c:v>
                </c:pt>
                <c:pt idx="213">
                  <c:v>4.0527633649999999E-3</c:v>
                </c:pt>
                <c:pt idx="214">
                  <c:v>4.279755132E-3</c:v>
                </c:pt>
                <c:pt idx="215">
                  <c:v>4.2852522630000001E-3</c:v>
                </c:pt>
                <c:pt idx="216">
                  <c:v>4.242788842E-3</c:v>
                </c:pt>
                <c:pt idx="217">
                  <c:v>4.9425126190000002E-3</c:v>
                </c:pt>
                <c:pt idx="218">
                  <c:v>5.0155411130000001E-3</c:v>
                </c:pt>
                <c:pt idx="219">
                  <c:v>4.9711236200000002E-3</c:v>
                </c:pt>
                <c:pt idx="220">
                  <c:v>4.7257979189999997E-3</c:v>
                </c:pt>
                <c:pt idx="221">
                  <c:v>4.9271485880000004E-3</c:v>
                </c:pt>
                <c:pt idx="222">
                  <c:v>4.9876219599999999E-3</c:v>
                </c:pt>
                <c:pt idx="223">
                  <c:v>5.2147751959999997E-3</c:v>
                </c:pt>
                <c:pt idx="224">
                  <c:v>4.7947767529999998E-3</c:v>
                </c:pt>
                <c:pt idx="225">
                  <c:v>5.1400076709999997E-3</c:v>
                </c:pt>
                <c:pt idx="226">
                  <c:v>5.2388674059999996E-3</c:v>
                </c:pt>
                <c:pt idx="227">
                  <c:v>5.4839716430000003E-3</c:v>
                </c:pt>
                <c:pt idx="228">
                  <c:v>5.3783212280000001E-3</c:v>
                </c:pt>
                <c:pt idx="229">
                  <c:v>5.1362731940000003E-3</c:v>
                </c:pt>
                <c:pt idx="230">
                  <c:v>4.7438330169999997E-3</c:v>
                </c:pt>
                <c:pt idx="231">
                  <c:v>5.2506689550000001E-3</c:v>
                </c:pt>
                <c:pt idx="232">
                  <c:v>5.2501706300000003E-3</c:v>
                </c:pt>
                <c:pt idx="233">
                  <c:v>5.3804347820000003E-3</c:v>
                </c:pt>
                <c:pt idx="234">
                  <c:v>5.5099516470000004E-3</c:v>
                </c:pt>
                <c:pt idx="235">
                  <c:v>5.2394783300000001E-3</c:v>
                </c:pt>
                <c:pt idx="236">
                  <c:v>5.2430614909999996E-3</c:v>
                </c:pt>
                <c:pt idx="237">
                  <c:v>5.059824989E-3</c:v>
                </c:pt>
                <c:pt idx="238">
                  <c:v>4.7422553420000003E-3</c:v>
                </c:pt>
                <c:pt idx="239">
                  <c:v>5.263825469E-3</c:v>
                </c:pt>
                <c:pt idx="240">
                  <c:v>5.2710353350000003E-3</c:v>
                </c:pt>
                <c:pt idx="241">
                  <c:v>4.8871928760000002E-3</c:v>
                </c:pt>
                <c:pt idx="242">
                  <c:v>4.460363587E-3</c:v>
                </c:pt>
                <c:pt idx="243">
                  <c:v>4.351129221E-3</c:v>
                </c:pt>
                <c:pt idx="244">
                  <c:v>4.1843971630000001E-3</c:v>
                </c:pt>
                <c:pt idx="245">
                  <c:v>4.8232722879999997E-3</c:v>
                </c:pt>
                <c:pt idx="246">
                  <c:v>4.2664138420000003E-3</c:v>
                </c:pt>
                <c:pt idx="247">
                  <c:v>4.1663194730000002E-3</c:v>
                </c:pt>
                <c:pt idx="248">
                  <c:v>4.535147392E-3</c:v>
                </c:pt>
                <c:pt idx="249">
                  <c:v>4.9918315479999999E-3</c:v>
                </c:pt>
                <c:pt idx="250">
                  <c:v>5.1413881740000004E-3</c:v>
                </c:pt>
                <c:pt idx="251">
                  <c:v>5.1843881440000001E-3</c:v>
                </c:pt>
                <c:pt idx="252">
                  <c:v>4.9494524009999997E-3</c:v>
                </c:pt>
                <c:pt idx="253">
                  <c:v>5.5161544519999996E-3</c:v>
                </c:pt>
                <c:pt idx="254">
                  <c:v>5.6245605809999996E-3</c:v>
                </c:pt>
                <c:pt idx="255">
                  <c:v>5.5401662040000001E-3</c:v>
                </c:pt>
                <c:pt idx="256">
                  <c:v>5.2496798969999996E-3</c:v>
                </c:pt>
                <c:pt idx="257">
                  <c:v>4.5561051799999997E-3</c:v>
                </c:pt>
                <c:pt idx="258">
                  <c:v>4.4022561559999996E-3</c:v>
                </c:pt>
                <c:pt idx="259">
                  <c:v>4.5729458620000002E-3</c:v>
                </c:pt>
                <c:pt idx="260">
                  <c:v>4.4515103329999996E-3</c:v>
                </c:pt>
                <c:pt idx="261">
                  <c:v>4.1768186559999997E-3</c:v>
                </c:pt>
                <c:pt idx="262">
                  <c:v>4.4717719390000004E-3</c:v>
                </c:pt>
                <c:pt idx="263">
                  <c:v>5.0940438869999998E-3</c:v>
                </c:pt>
                <c:pt idx="264">
                  <c:v>5.1556613120000002E-3</c:v>
                </c:pt>
                <c:pt idx="265">
                  <c:v>5.2151238589999999E-3</c:v>
                </c:pt>
                <c:pt idx="266">
                  <c:v>4.9273219999999996E-3</c:v>
                </c:pt>
                <c:pt idx="267">
                  <c:v>4.9738219889999997E-3</c:v>
                </c:pt>
                <c:pt idx="268">
                  <c:v>5.2097614469999998E-3</c:v>
                </c:pt>
                <c:pt idx="269">
                  <c:v>4.6701692930000002E-3</c:v>
                </c:pt>
                <c:pt idx="270">
                  <c:v>3.623188405E-3</c:v>
                </c:pt>
                <c:pt idx="271">
                  <c:v>4.0297582139999996E-3</c:v>
                </c:pt>
                <c:pt idx="272">
                  <c:v>4.9261083739999996E-3</c:v>
                </c:pt>
                <c:pt idx="273">
                  <c:v>4.893393918E-3</c:v>
                </c:pt>
                <c:pt idx="274">
                  <c:v>4.1167664670000003E-3</c:v>
                </c:pt>
                <c:pt idx="275">
                  <c:v>4.2421905120000004E-3</c:v>
                </c:pt>
                <c:pt idx="276">
                  <c:v>4.4624746449999997E-3</c:v>
                </c:pt>
                <c:pt idx="277">
                  <c:v>4.1736227039999999E-3</c:v>
                </c:pt>
                <c:pt idx="278">
                  <c:v>3.7783375310000001E-3</c:v>
                </c:pt>
                <c:pt idx="279">
                  <c:v>2.315886984E-3</c:v>
                </c:pt>
                <c:pt idx="280">
                  <c:v>2.424830261E-3</c:v>
                </c:pt>
                <c:pt idx="281">
                  <c:v>2.5445292620000001E-3</c:v>
                </c:pt>
                <c:pt idx="282">
                  <c:v>2.3215322109999999E-3</c:v>
                </c:pt>
                <c:pt idx="283">
                  <c:v>2.5396825390000002E-3</c:v>
                </c:pt>
                <c:pt idx="284">
                  <c:v>2.6684456299999998E-3</c:v>
                </c:pt>
                <c:pt idx="285">
                  <c:v>2.0804438280000001E-3</c:v>
                </c:pt>
                <c:pt idx="286">
                  <c:v>3.028009084E-3</c:v>
                </c:pt>
                <c:pt idx="287">
                  <c:v>4.3668122269999998E-3</c:v>
                </c:pt>
                <c:pt idx="288">
                  <c:v>4.9115913549999998E-3</c:v>
                </c:pt>
                <c:pt idx="289">
                  <c:v>4.0526849030000003E-3</c:v>
                </c:pt>
                <c:pt idx="290">
                  <c:v>5.2410901459999997E-3</c:v>
                </c:pt>
                <c:pt idx="291">
                  <c:v>6.3761955359999999E-3</c:v>
                </c:pt>
                <c:pt idx="292">
                  <c:v>7.3068893519999999E-3</c:v>
                </c:pt>
                <c:pt idx="293">
                  <c:v>6.6445182720000001E-3</c:v>
                </c:pt>
                <c:pt idx="294">
                  <c:v>6.2189054720000001E-3</c:v>
                </c:pt>
                <c:pt idx="295">
                  <c:v>5.1085568320000004E-3</c:v>
                </c:pt>
                <c:pt idx="296">
                  <c:v>6.9735006969999999E-3</c:v>
                </c:pt>
                <c:pt idx="297">
                  <c:v>4.27960057E-3</c:v>
                </c:pt>
                <c:pt idx="298">
                  <c:v>2.84090909E-3</c:v>
                </c:pt>
                <c:pt idx="299">
                  <c:v>1.420454545E-3</c:v>
                </c:pt>
                <c:pt idx="300">
                  <c:v>2.713704206E-3</c:v>
                </c:pt>
                <c:pt idx="301">
                  <c:v>2.538071065E-3</c:v>
                </c:pt>
                <c:pt idx="302">
                  <c:v>3.685503685E-3</c:v>
                </c:pt>
                <c:pt idx="303">
                  <c:v>3.3860045139999999E-3</c:v>
                </c:pt>
                <c:pt idx="304">
                  <c:v>4.3478260859999996E-3</c:v>
                </c:pt>
                <c:pt idx="305">
                  <c:v>4.0899795500000001E-3</c:v>
                </c:pt>
                <c:pt idx="306">
                  <c:v>3.8910505829999999E-3</c:v>
                </c:pt>
                <c:pt idx="307">
                  <c:v>2.994011976E-3</c:v>
                </c:pt>
                <c:pt idx="308">
                  <c:v>3.1578947360000002E-3</c:v>
                </c:pt>
                <c:pt idx="309">
                  <c:v>2.747252747E-3</c:v>
                </c:pt>
                <c:pt idx="310">
                  <c:v>1.6934801010000001E-3</c:v>
                </c:pt>
                <c:pt idx="311">
                  <c:v>7.6923076900000005E-4</c:v>
                </c:pt>
                <c:pt idx="312">
                  <c:v>7.4682598899999996E-4</c:v>
                </c:pt>
                <c:pt idx="313">
                  <c:v>7.2046109499999999E-4</c:v>
                </c:pt>
                <c:pt idx="314">
                  <c:v>1.3333333330000001E-3</c:v>
                </c:pt>
                <c:pt idx="315">
                  <c:v>1.1682242989999999E-3</c:v>
                </c:pt>
                <c:pt idx="316">
                  <c:v>1.1834319520000001E-3</c:v>
                </c:pt>
                <c:pt idx="317">
                  <c:v>1.8170805569999999E-3</c:v>
                </c:pt>
                <c:pt idx="318">
                  <c:v>1.8633540370000001E-3</c:v>
                </c:pt>
                <c:pt idx="319">
                  <c:v>1.82592818E-3</c:v>
                </c:pt>
                <c:pt idx="320">
                  <c:v>2.496878901E-3</c:v>
                </c:pt>
                <c:pt idx="321">
                  <c:v>2.5284450059999998E-3</c:v>
                </c:pt>
                <c:pt idx="322">
                  <c:v>2.5657472729999999E-3</c:v>
                </c:pt>
                <c:pt idx="323">
                  <c:v>1.9556714469999999E-3</c:v>
                </c:pt>
                <c:pt idx="324">
                  <c:v>1.965923984E-3</c:v>
                </c:pt>
                <c:pt idx="325">
                  <c:v>2.721088435E-3</c:v>
                </c:pt>
                <c:pt idx="326">
                  <c:v>2.8571428570000001E-3</c:v>
                </c:pt>
                <c:pt idx="327">
                  <c:v>2.1994134890000001E-3</c:v>
                </c:pt>
                <c:pt idx="328">
                  <c:v>2.2354694479999999E-3</c:v>
                </c:pt>
                <c:pt idx="329">
                  <c:v>2.3112480729999998E-3</c:v>
                </c:pt>
                <c:pt idx="330">
                  <c:v>2.3677979470000002E-3</c:v>
                </c:pt>
                <c:pt idx="331">
                  <c:v>2.3771790800000002E-3</c:v>
                </c:pt>
                <c:pt idx="332">
                  <c:v>3.2976092329999999E-3</c:v>
                </c:pt>
                <c:pt idx="333">
                  <c:v>4.1562759759999996E-3</c:v>
                </c:pt>
                <c:pt idx="334">
                  <c:v>4.1701417839999999E-3</c:v>
                </c:pt>
                <c:pt idx="335">
                  <c:v>3.472222222E-3</c:v>
                </c:pt>
                <c:pt idx="336">
                  <c:v>5.2724077320000003E-3</c:v>
                </c:pt>
                <c:pt idx="337">
                  <c:v>6.1135371169999996E-3</c:v>
                </c:pt>
                <c:pt idx="338">
                  <c:v>5.439709882E-3</c:v>
                </c:pt>
                <c:pt idx="339">
                  <c:v>4.3782837119999999E-3</c:v>
                </c:pt>
                <c:pt idx="340">
                  <c:v>3.3869602030000001E-3</c:v>
                </c:pt>
                <c:pt idx="341">
                  <c:v>3.3030553260000001E-3</c:v>
                </c:pt>
                <c:pt idx="342">
                  <c:v>4.0518638569999998E-3</c:v>
                </c:pt>
                <c:pt idx="343">
                  <c:v>2.3942537900000001E-3</c:v>
                </c:pt>
                <c:pt idx="344">
                  <c:v>3.1645569619999999E-3</c:v>
                </c:pt>
                <c:pt idx="345">
                  <c:v>3.1031807600000001E-3</c:v>
                </c:pt>
                <c:pt idx="346">
                  <c:v>3.0007501870000001E-3</c:v>
                </c:pt>
                <c:pt idx="347">
                  <c:v>3.0326004539999998E-3</c:v>
                </c:pt>
                <c:pt idx="348">
                  <c:v>3.8789759499999999E-3</c:v>
                </c:pt>
                <c:pt idx="349">
                  <c:v>3.7622272379999998E-3</c:v>
                </c:pt>
                <c:pt idx="350">
                  <c:v>3.65497076E-3</c:v>
                </c:pt>
                <c:pt idx="351">
                  <c:v>2.210759027E-3</c:v>
                </c:pt>
                <c:pt idx="352">
                  <c:v>2.2505626399999998E-3</c:v>
                </c:pt>
                <c:pt idx="353">
                  <c:v>3.903200624E-3</c:v>
                </c:pt>
                <c:pt idx="354">
                  <c:v>4.7095761380000004E-3</c:v>
                </c:pt>
                <c:pt idx="355">
                  <c:v>3.834355828E-3</c:v>
                </c:pt>
                <c:pt idx="356">
                  <c:v>3.8402457749999999E-3</c:v>
                </c:pt>
                <c:pt idx="357">
                  <c:v>4.7808764939999996E-3</c:v>
                </c:pt>
                <c:pt idx="358">
                  <c:v>5.4012345670000003E-3</c:v>
                </c:pt>
                <c:pt idx="359">
                  <c:v>5.2083333329999999E-3</c:v>
                </c:pt>
                <c:pt idx="360">
                  <c:v>2.9498525069999999E-3</c:v>
                </c:pt>
                <c:pt idx="361">
                  <c:v>2.2156573109999998E-3</c:v>
                </c:pt>
                <c:pt idx="362">
                  <c:v>2.2590361440000001E-3</c:v>
                </c:pt>
                <c:pt idx="363">
                  <c:v>1.4760147600000001E-3</c:v>
                </c:pt>
                <c:pt idx="364">
                  <c:v>7.1736011399999998E-4</c:v>
                </c:pt>
                <c:pt idx="365">
                  <c:v>7.1123755300000005E-4</c:v>
                </c:pt>
                <c:pt idx="366">
                  <c:v>6.6755674199999999E-4</c:v>
                </c:pt>
                <c:pt idx="367">
                  <c:v>3.0769230760000002E-3</c:v>
                </c:pt>
                <c:pt idx="368">
                  <c:v>2.9429075920000001E-3</c:v>
                </c:pt>
                <c:pt idx="369">
                  <c:v>3.4110289929999999E-3</c:v>
                </c:pt>
                <c:pt idx="370">
                  <c:v>3.6630036630000001E-3</c:v>
                </c:pt>
                <c:pt idx="371">
                  <c:v>4.0871934600000001E-3</c:v>
                </c:pt>
                <c:pt idx="372">
                  <c:v>3.44530577E-3</c:v>
                </c:pt>
                <c:pt idx="373">
                  <c:v>3.2840722490000002E-3</c:v>
                </c:pt>
                <c:pt idx="374">
                  <c:v>2.333722287E-3</c:v>
                </c:pt>
                <c:pt idx="375">
                  <c:v>2.2944550660000001E-3</c:v>
                </c:pt>
                <c:pt idx="376">
                  <c:v>1.914975105E-3</c:v>
                </c:pt>
                <c:pt idx="377">
                  <c:v>2.9487652039999999E-3</c:v>
                </c:pt>
                <c:pt idx="378">
                  <c:v>3.3494603640000001E-3</c:v>
                </c:pt>
                <c:pt idx="379">
                  <c:v>3.1813361610000001E-3</c:v>
                </c:pt>
                <c:pt idx="380">
                  <c:v>3.7024570849999998E-3</c:v>
                </c:pt>
                <c:pt idx="381">
                  <c:v>3.3624747810000002E-3</c:v>
                </c:pt>
                <c:pt idx="382">
                  <c:v>3.3057851229999998E-3</c:v>
                </c:pt>
                <c:pt idx="383">
                  <c:v>3.5760728210000002E-3</c:v>
                </c:pt>
                <c:pt idx="384">
                  <c:v>2.6126714559999999E-3</c:v>
                </c:pt>
                <c:pt idx="385">
                  <c:v>1.6118633130000001E-3</c:v>
                </c:pt>
                <c:pt idx="386">
                  <c:v>1.9348597220000001E-3</c:v>
                </c:pt>
                <c:pt idx="387">
                  <c:v>1.9847833269999999E-3</c:v>
                </c:pt>
                <c:pt idx="388">
                  <c:v>2.2515278219999999E-3</c:v>
                </c:pt>
                <c:pt idx="389">
                  <c:v>2.7898326100000001E-3</c:v>
                </c:pt>
                <c:pt idx="390">
                  <c:v>3.0385900939999999E-3</c:v>
                </c:pt>
                <c:pt idx="391">
                  <c:v>3.4413535990000001E-3</c:v>
                </c:pt>
                <c:pt idx="392">
                  <c:v>3.8644470860000001E-3</c:v>
                </c:pt>
                <c:pt idx="393">
                  <c:v>4.4742729300000002E-3</c:v>
                </c:pt>
                <c:pt idx="394">
                  <c:v>3.7369207769999998E-3</c:v>
                </c:pt>
                <c:pt idx="395">
                  <c:v>3.9452309119999999E-3</c:v>
                </c:pt>
                <c:pt idx="396">
                  <c:v>3.3768572709999998E-3</c:v>
                </c:pt>
                <c:pt idx="397">
                  <c:v>3.3281562010000001E-3</c:v>
                </c:pt>
                <c:pt idx="398">
                  <c:v>3.6535568450000002E-3</c:v>
                </c:pt>
                <c:pt idx="399">
                  <c:v>5.0809183279999998E-3</c:v>
                </c:pt>
                <c:pt idx="400">
                  <c:v>5.8645814819999996E-3</c:v>
                </c:pt>
                <c:pt idx="401">
                  <c:v>6.3191153230000002E-3</c:v>
                </c:pt>
                <c:pt idx="402">
                  <c:v>5.7754374039999997E-3</c:v>
                </c:pt>
                <c:pt idx="403">
                  <c:v>5.8304181239999999E-3</c:v>
                </c:pt>
                <c:pt idx="404">
                  <c:v>5.8110576119999998E-3</c:v>
                </c:pt>
                <c:pt idx="405">
                  <c:v>6.1106018940000001E-3</c:v>
                </c:pt>
                <c:pt idx="406">
                  <c:v>4.4804162450000004E-3</c:v>
                </c:pt>
                <c:pt idx="407">
                  <c:v>3.6630036630000001E-3</c:v>
                </c:pt>
                <c:pt idx="408">
                  <c:v>3.7878787870000001E-3</c:v>
                </c:pt>
                <c:pt idx="409">
                  <c:v>3.6853622019999998E-3</c:v>
                </c:pt>
                <c:pt idx="410">
                  <c:v>3.597514444E-3</c:v>
                </c:pt>
                <c:pt idx="411">
                  <c:v>3.6340982240000001E-3</c:v>
                </c:pt>
                <c:pt idx="412">
                  <c:v>2.9563931999999999E-3</c:v>
                </c:pt>
                <c:pt idx="413">
                  <c:v>2.6263430160000001E-3</c:v>
                </c:pt>
                <c:pt idx="414">
                  <c:v>2.3699986050000001E-3</c:v>
                </c:pt>
                <c:pt idx="415">
                  <c:v>1.8235973490000001E-3</c:v>
                </c:pt>
                <c:pt idx="416">
                  <c:v>1.745292997E-3</c:v>
                </c:pt>
                <c:pt idx="417">
                  <c:v>1.7555837309999999E-3</c:v>
                </c:pt>
                <c:pt idx="418">
                  <c:v>1.9489559160000001E-3</c:v>
                </c:pt>
                <c:pt idx="419">
                  <c:v>2.446561936E-3</c:v>
                </c:pt>
                <c:pt idx="420">
                  <c:v>2.2399392550000001E-3</c:v>
                </c:pt>
                <c:pt idx="421">
                  <c:v>2.1089023330000001E-3</c:v>
                </c:pt>
                <c:pt idx="422">
                  <c:v>2.2945066809999999E-3</c:v>
                </c:pt>
                <c:pt idx="423">
                  <c:v>2.2466861369999998E-3</c:v>
                </c:pt>
                <c:pt idx="424">
                  <c:v>2.1218098139999999E-3</c:v>
                </c:pt>
                <c:pt idx="425">
                  <c:v>1.9759400240000002E-3</c:v>
                </c:pt>
                <c:pt idx="426">
                  <c:v>1.907537422E-3</c:v>
                </c:pt>
                <c:pt idx="427">
                  <c:v>2.150018118E-3</c:v>
                </c:pt>
                <c:pt idx="428">
                  <c:v>2.1327645959999999E-3</c:v>
                </c:pt>
                <c:pt idx="429">
                  <c:v>2.0142421149999998E-3</c:v>
                </c:pt>
                <c:pt idx="430">
                  <c:v>2.1273362709999999E-3</c:v>
                </c:pt>
                <c:pt idx="431">
                  <c:v>2.343808595E-3</c:v>
                </c:pt>
                <c:pt idx="432">
                  <c:v>2.5208671780000001E-3</c:v>
                </c:pt>
                <c:pt idx="433">
                  <c:v>2.4989135149999999E-3</c:v>
                </c:pt>
                <c:pt idx="434">
                  <c:v>2.3552600800000002E-3</c:v>
                </c:pt>
                <c:pt idx="435">
                  <c:v>2.392344497E-3</c:v>
                </c:pt>
                <c:pt idx="436">
                  <c:v>2.472956776E-3</c:v>
                </c:pt>
                <c:pt idx="437">
                  <c:v>2.2421208479999999E-3</c:v>
                </c:pt>
                <c:pt idx="438">
                  <c:v>2.111548962E-3</c:v>
                </c:pt>
                <c:pt idx="439">
                  <c:v>2.0638897179999999E-3</c:v>
                </c:pt>
                <c:pt idx="440">
                  <c:v>2.0425403139999999E-3</c:v>
                </c:pt>
                <c:pt idx="441">
                  <c:v>1.833369618E-3</c:v>
                </c:pt>
                <c:pt idx="442">
                  <c:v>1.7405945320000001E-3</c:v>
                </c:pt>
                <c:pt idx="443">
                  <c:v>1.824837578E-3</c:v>
                </c:pt>
                <c:pt idx="444">
                  <c:v>1.7857322E-3</c:v>
                </c:pt>
                <c:pt idx="445">
                  <c:v>1.7252718969999999E-3</c:v>
                </c:pt>
                <c:pt idx="446">
                  <c:v>1.7955158609999999E-3</c:v>
                </c:pt>
                <c:pt idx="447">
                  <c:v>1.828964643E-3</c:v>
                </c:pt>
                <c:pt idx="448">
                  <c:v>1.9856610659999998E-3</c:v>
                </c:pt>
                <c:pt idx="449">
                  <c:v>1.8952593019999999E-3</c:v>
                </c:pt>
                <c:pt idx="450">
                  <c:v>1.7565245039999999E-3</c:v>
                </c:pt>
                <c:pt idx="451">
                  <c:v>1.8070753949999999E-3</c:v>
                </c:pt>
                <c:pt idx="452">
                  <c:v>1.8808187829999999E-3</c:v>
                </c:pt>
                <c:pt idx="453">
                  <c:v>1.7880326190000001E-3</c:v>
                </c:pt>
                <c:pt idx="454">
                  <c:v>1.700422069E-3</c:v>
                </c:pt>
                <c:pt idx="455">
                  <c:v>1.5722163550000001E-3</c:v>
                </c:pt>
                <c:pt idx="456">
                  <c:v>1.657095729E-3</c:v>
                </c:pt>
                <c:pt idx="457">
                  <c:v>1.6277272650000001E-3</c:v>
                </c:pt>
                <c:pt idx="458">
                  <c:v>1.538552079E-3</c:v>
                </c:pt>
                <c:pt idx="459">
                  <c:v>1.507704626E-3</c:v>
                </c:pt>
                <c:pt idx="460">
                  <c:v>1.503168013E-3</c:v>
                </c:pt>
                <c:pt idx="461">
                  <c:v>1.5837848890000001E-3</c:v>
                </c:pt>
                <c:pt idx="462">
                  <c:v>1.6105403950000001E-3</c:v>
                </c:pt>
                <c:pt idx="463">
                  <c:v>1.505392736E-3</c:v>
                </c:pt>
                <c:pt idx="464">
                  <c:v>1.5209654650000001E-3</c:v>
                </c:pt>
                <c:pt idx="465">
                  <c:v>1.6367642420000001E-3</c:v>
                </c:pt>
                <c:pt idx="466">
                  <c:v>1.6057550260000001E-3</c:v>
                </c:pt>
                <c:pt idx="467">
                  <c:v>1.6445925789999999E-3</c:v>
                </c:pt>
                <c:pt idx="468">
                  <c:v>1.519444317E-3</c:v>
                </c:pt>
                <c:pt idx="469">
                  <c:v>1.6174352430000001E-3</c:v>
                </c:pt>
                <c:pt idx="470">
                  <c:v>1.822471321E-3</c:v>
                </c:pt>
                <c:pt idx="471">
                  <c:v>1.9111577099999999E-3</c:v>
                </c:pt>
                <c:pt idx="472">
                  <c:v>1.919118874E-3</c:v>
                </c:pt>
                <c:pt idx="473">
                  <c:v>1.889342654E-3</c:v>
                </c:pt>
                <c:pt idx="474">
                  <c:v>1.826871081E-3</c:v>
                </c:pt>
                <c:pt idx="475">
                  <c:v>1.9963758100000001E-3</c:v>
                </c:pt>
                <c:pt idx="476">
                  <c:v>2.074447782E-3</c:v>
                </c:pt>
                <c:pt idx="477">
                  <c:v>2.0236087680000001E-3</c:v>
                </c:pt>
                <c:pt idx="478">
                  <c:v>2.1035150839999999E-3</c:v>
                </c:pt>
                <c:pt idx="479">
                  <c:v>2.3266143530000002E-3</c:v>
                </c:pt>
                <c:pt idx="480">
                  <c:v>2.7132880330000002E-3</c:v>
                </c:pt>
                <c:pt idx="481">
                  <c:v>2.8287499379999999E-3</c:v>
                </c:pt>
                <c:pt idx="482">
                  <c:v>2.826455624E-3</c:v>
                </c:pt>
                <c:pt idx="483">
                  <c:v>3.2365145219999999E-3</c:v>
                </c:pt>
                <c:pt idx="484">
                  <c:v>3.5245854269999998E-3</c:v>
                </c:pt>
                <c:pt idx="485">
                  <c:v>3.5141930980000001E-3</c:v>
                </c:pt>
                <c:pt idx="486">
                  <c:v>3.3091404569999998E-3</c:v>
                </c:pt>
                <c:pt idx="487">
                  <c:v>3.3922811699999998E-3</c:v>
                </c:pt>
                <c:pt idx="488">
                  <c:v>3.4002229650000001E-3</c:v>
                </c:pt>
                <c:pt idx="489">
                  <c:v>2.8926589000000001E-3</c:v>
                </c:pt>
                <c:pt idx="490">
                  <c:v>2.3812539579999999E-3</c:v>
                </c:pt>
                <c:pt idx="491">
                  <c:v>2.0637299459999999E-3</c:v>
                </c:pt>
                <c:pt idx="492">
                  <c:v>1.875541021E-3</c:v>
                </c:pt>
                <c:pt idx="493">
                  <c:v>1.802884615E-3</c:v>
                </c:pt>
                <c:pt idx="494">
                  <c:v>1.5823470749999999E-3</c:v>
                </c:pt>
                <c:pt idx="495">
                  <c:v>1.511699704E-3</c:v>
                </c:pt>
                <c:pt idx="496">
                  <c:v>1.5565586709999999E-3</c:v>
                </c:pt>
                <c:pt idx="497">
                  <c:v>1.484025525E-3</c:v>
                </c:pt>
                <c:pt idx="498">
                  <c:v>1.3854199179999999E-3</c:v>
                </c:pt>
                <c:pt idx="499">
                  <c:v>1.2255772640000001E-3</c:v>
                </c:pt>
                <c:pt idx="500">
                  <c:v>1.0977821610000001E-3</c:v>
                </c:pt>
                <c:pt idx="501">
                  <c:v>9.0930423500000003E-4</c:v>
                </c:pt>
                <c:pt idx="502">
                  <c:v>7.8441086600000004E-4</c:v>
                </c:pt>
                <c:pt idx="503">
                  <c:v>7.0081995899999995E-4</c:v>
                </c:pt>
                <c:pt idx="504">
                  <c:v>5.3076991099999999E-4</c:v>
                </c:pt>
                <c:pt idx="505">
                  <c:v>4.81546452E-4</c:v>
                </c:pt>
                <c:pt idx="506">
                  <c:v>4.6374431700000002E-4</c:v>
                </c:pt>
                <c:pt idx="507">
                  <c:v>4.2088413200000002E-4</c:v>
                </c:pt>
                <c:pt idx="508">
                  <c:v>4.61047942E-4</c:v>
                </c:pt>
                <c:pt idx="509">
                  <c:v>4.9482314699999998E-4</c:v>
                </c:pt>
                <c:pt idx="510">
                  <c:v>4.9487742900000003E-4</c:v>
                </c:pt>
                <c:pt idx="511">
                  <c:v>4.97583953E-4</c:v>
                </c:pt>
                <c:pt idx="512">
                  <c:v>4.5334160399999998E-4</c:v>
                </c:pt>
                <c:pt idx="513">
                  <c:v>4.6451945200000003E-4</c:v>
                </c:pt>
                <c:pt idx="514">
                  <c:v>4.6203733200000002E-4</c:v>
                </c:pt>
                <c:pt idx="515">
                  <c:v>4.7478193600000002E-4</c:v>
                </c:pt>
                <c:pt idx="516">
                  <c:v>4.6979650099999998E-4</c:v>
                </c:pt>
                <c:pt idx="517">
                  <c:v>4.9958904699999996E-4</c:v>
                </c:pt>
                <c:pt idx="518">
                  <c:v>5.1166097900000004E-4</c:v>
                </c:pt>
                <c:pt idx="519">
                  <c:v>5.6989014800000004E-4</c:v>
                </c:pt>
                <c:pt idx="520">
                  <c:v>5.8684077499999998E-4</c:v>
                </c:pt>
                <c:pt idx="521">
                  <c:v>5.9894284399999997E-4</c:v>
                </c:pt>
                <c:pt idx="522">
                  <c:v>6.2173792100000003E-4</c:v>
                </c:pt>
                <c:pt idx="523">
                  <c:v>6.4458807300000001E-4</c:v>
                </c:pt>
                <c:pt idx="524">
                  <c:v>6.3133787000000004E-4</c:v>
                </c:pt>
                <c:pt idx="525">
                  <c:v>6.1849391900000003E-4</c:v>
                </c:pt>
                <c:pt idx="526">
                  <c:v>6.9932211600000002E-4</c:v>
                </c:pt>
                <c:pt idx="527">
                  <c:v>7.6844828699999996E-4</c:v>
                </c:pt>
                <c:pt idx="528">
                  <c:v>8.5482344099999997E-4</c:v>
                </c:pt>
                <c:pt idx="529">
                  <c:v>8.4340039099999996E-4</c:v>
                </c:pt>
                <c:pt idx="530">
                  <c:v>8.5960244900000005E-4</c:v>
                </c:pt>
                <c:pt idx="531">
                  <c:v>9.2477182199999998E-4</c:v>
                </c:pt>
                <c:pt idx="532">
                  <c:v>1.0446479669999999E-3</c:v>
                </c:pt>
                <c:pt idx="533">
                  <c:v>1.1354648740000001E-3</c:v>
                </c:pt>
                <c:pt idx="534">
                  <c:v>1.161295674E-3</c:v>
                </c:pt>
                <c:pt idx="535">
                  <c:v>1.185520603E-3</c:v>
                </c:pt>
                <c:pt idx="536">
                  <c:v>1.2608151440000001E-3</c:v>
                </c:pt>
                <c:pt idx="537">
                  <c:v>1.332945339E-3</c:v>
                </c:pt>
                <c:pt idx="538">
                  <c:v>1.382891935E-3</c:v>
                </c:pt>
                <c:pt idx="539">
                  <c:v>1.7123287669999999E-3</c:v>
                </c:pt>
                <c:pt idx="540">
                  <c:v>1.6243831060000001E-3</c:v>
                </c:pt>
                <c:pt idx="541">
                  <c:v>1.7964310900000001E-3</c:v>
                </c:pt>
                <c:pt idx="542">
                  <c:v>1.7586407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AE-45A0-9B3E-567818B4F0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.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v_den_pozitivity_7dni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5.6413338621799998</c:v>
                </c:pt>
                <c:pt idx="1">
                  <c:v>6.1446251832999996</c:v>
                </c:pt>
                <c:pt idx="2">
                  <c:v>6.7589597326200002</c:v>
                </c:pt>
                <c:pt idx="3">
                  <c:v>2.1111111124800002</c:v>
                </c:pt>
                <c:pt idx="4">
                  <c:v>2.3557138959000001</c:v>
                </c:pt>
                <c:pt idx="5">
                  <c:v>2.6629668780400002</c:v>
                </c:pt>
                <c:pt idx="6">
                  <c:v>0.41911225268000002</c:v>
                </c:pt>
                <c:pt idx="7">
                  <c:v>-7.4455899170000006E-2</c:v>
                </c:pt>
                <c:pt idx="8">
                  <c:v>-0.18352725891999999</c:v>
                </c:pt>
                <c:pt idx="9">
                  <c:v>-0.25426849687000003</c:v>
                </c:pt>
                <c:pt idx="10">
                  <c:v>-0.30169713452000002</c:v>
                </c:pt>
                <c:pt idx="11">
                  <c:v>-0.50548876121999997</c:v>
                </c:pt>
                <c:pt idx="12">
                  <c:v>-0.49097472943999998</c:v>
                </c:pt>
                <c:pt idx="13">
                  <c:v>-0.32099999996</c:v>
                </c:pt>
                <c:pt idx="14">
                  <c:v>5.1447587410000002E-2</c:v>
                </c:pt>
                <c:pt idx="15">
                  <c:v>-0.13622511405000001</c:v>
                </c:pt>
                <c:pt idx="16">
                  <c:v>-0.13887792283</c:v>
                </c:pt>
                <c:pt idx="17">
                  <c:v>5.2864314189999997E-2</c:v>
                </c:pt>
                <c:pt idx="18">
                  <c:v>7.1951891630000001E-2</c:v>
                </c:pt>
                <c:pt idx="19">
                  <c:v>0.41232155100000001</c:v>
                </c:pt>
                <c:pt idx="20">
                  <c:v>5.9730013390000003E-2</c:v>
                </c:pt>
                <c:pt idx="21">
                  <c:v>7.7861755320000003E-2</c:v>
                </c:pt>
                <c:pt idx="22">
                  <c:v>0.40167598974000002</c:v>
                </c:pt>
                <c:pt idx="23">
                  <c:v>0.71464134273000002</c:v>
                </c:pt>
                <c:pt idx="24">
                  <c:v>0.71519702312</c:v>
                </c:pt>
                <c:pt idx="25">
                  <c:v>0.51202734283999995</c:v>
                </c:pt>
                <c:pt idx="26">
                  <c:v>0.27625281485999997</c:v>
                </c:pt>
                <c:pt idx="27">
                  <c:v>0.53317508120000001</c:v>
                </c:pt>
                <c:pt idx="28">
                  <c:v>0.35585375833999999</c:v>
                </c:pt>
                <c:pt idx="29">
                  <c:v>0.10756902703</c:v>
                </c:pt>
                <c:pt idx="30">
                  <c:v>7.2243462300000004E-3</c:v>
                </c:pt>
                <c:pt idx="31">
                  <c:v>4.8077999029999999E-2</c:v>
                </c:pt>
                <c:pt idx="32">
                  <c:v>0.12550822091</c:v>
                </c:pt>
                <c:pt idx="33">
                  <c:v>6.7265493080000002E-2</c:v>
                </c:pt>
                <c:pt idx="34">
                  <c:v>0.16717840495</c:v>
                </c:pt>
                <c:pt idx="35">
                  <c:v>0.20709232647</c:v>
                </c:pt>
                <c:pt idx="36">
                  <c:v>0.33205736433999999</c:v>
                </c:pt>
                <c:pt idx="37">
                  <c:v>0.22260803921</c:v>
                </c:pt>
                <c:pt idx="38">
                  <c:v>0.12059146632999999</c:v>
                </c:pt>
                <c:pt idx="39">
                  <c:v>0.12184752761000001</c:v>
                </c:pt>
                <c:pt idx="40">
                  <c:v>-4.24332854E-2</c:v>
                </c:pt>
                <c:pt idx="41">
                  <c:v>-0.10013462633</c:v>
                </c:pt>
                <c:pt idx="42">
                  <c:v>-0.19837687342999999</c:v>
                </c:pt>
                <c:pt idx="43">
                  <c:v>-0.25126696353</c:v>
                </c:pt>
                <c:pt idx="44">
                  <c:v>-0.23340404696</c:v>
                </c:pt>
                <c:pt idx="45">
                  <c:v>-0.23462139175999999</c:v>
                </c:pt>
                <c:pt idx="46">
                  <c:v>-0.32945864804000002</c:v>
                </c:pt>
                <c:pt idx="47">
                  <c:v>-0.24802814076999999</c:v>
                </c:pt>
                <c:pt idx="48">
                  <c:v>-0.14641534766</c:v>
                </c:pt>
                <c:pt idx="49">
                  <c:v>-9.1584683580000006E-2</c:v>
                </c:pt>
                <c:pt idx="50">
                  <c:v>-6.1301471490000002E-2</c:v>
                </c:pt>
                <c:pt idx="51">
                  <c:v>-6.4838256869999999E-2</c:v>
                </c:pt>
                <c:pt idx="52">
                  <c:v>-2.6708065119999999E-2</c:v>
                </c:pt>
                <c:pt idx="53">
                  <c:v>-1.4246517600000001E-3</c:v>
                </c:pt>
                <c:pt idx="54">
                  <c:v>-3.6150534679999999E-2</c:v>
                </c:pt>
                <c:pt idx="55">
                  <c:v>1.3533417400000001E-2</c:v>
                </c:pt>
                <c:pt idx="56">
                  <c:v>6.8804839670000006E-2</c:v>
                </c:pt>
                <c:pt idx="57">
                  <c:v>5.0162003330000003E-2</c:v>
                </c:pt>
                <c:pt idx="58">
                  <c:v>0.17418711725</c:v>
                </c:pt>
                <c:pt idx="59">
                  <c:v>0.16418854818</c:v>
                </c:pt>
                <c:pt idx="60">
                  <c:v>0.17140044928000001</c:v>
                </c:pt>
                <c:pt idx="61">
                  <c:v>0.10398608903000001</c:v>
                </c:pt>
                <c:pt idx="62">
                  <c:v>9.1772803949999995E-2</c:v>
                </c:pt>
                <c:pt idx="63">
                  <c:v>9.6347806750000001E-2</c:v>
                </c:pt>
                <c:pt idx="64">
                  <c:v>1.010182957E-2</c:v>
                </c:pt>
                <c:pt idx="65">
                  <c:v>-4.739154617E-2</c:v>
                </c:pt>
                <c:pt idx="66">
                  <c:v>-2.5981561199999999E-2</c:v>
                </c:pt>
                <c:pt idx="67">
                  <c:v>1.5746984450000001E-2</c:v>
                </c:pt>
                <c:pt idx="68">
                  <c:v>-6.0595561799999999E-3</c:v>
                </c:pt>
                <c:pt idx="69">
                  <c:v>-7.7330533869999996E-2</c:v>
                </c:pt>
                <c:pt idx="70">
                  <c:v>-2.7535206000000001E-4</c:v>
                </c:pt>
                <c:pt idx="71">
                  <c:v>0.14215279708</c:v>
                </c:pt>
                <c:pt idx="72">
                  <c:v>9.7281084379999994E-2</c:v>
                </c:pt>
                <c:pt idx="73">
                  <c:v>4.6641066279999997E-2</c:v>
                </c:pt>
                <c:pt idx="74">
                  <c:v>7.1393936359999993E-2</c:v>
                </c:pt>
                <c:pt idx="75">
                  <c:v>0.17157542550999999</c:v>
                </c:pt>
                <c:pt idx="76">
                  <c:v>0.15032257696000001</c:v>
                </c:pt>
                <c:pt idx="77">
                  <c:v>-8.0758418000000001E-4</c:v>
                </c:pt>
                <c:pt idx="78">
                  <c:v>3.2433510479999997E-2</c:v>
                </c:pt>
                <c:pt idx="79">
                  <c:v>0.12604350682000001</c:v>
                </c:pt>
                <c:pt idx="80">
                  <c:v>8.3102743909999999E-2</c:v>
                </c:pt>
                <c:pt idx="81">
                  <c:v>0.12534391313000001</c:v>
                </c:pt>
                <c:pt idx="82">
                  <c:v>0.11767573688000001</c:v>
                </c:pt>
                <c:pt idx="83">
                  <c:v>4.4206854730000002E-2</c:v>
                </c:pt>
                <c:pt idx="84">
                  <c:v>-1.5268466100000001E-3</c:v>
                </c:pt>
                <c:pt idx="85">
                  <c:v>-4.5457430010000001E-2</c:v>
                </c:pt>
                <c:pt idx="86">
                  <c:v>-3.4564281459999999E-2</c:v>
                </c:pt>
                <c:pt idx="87">
                  <c:v>-1.0268800870000001E-2</c:v>
                </c:pt>
                <c:pt idx="88">
                  <c:v>-9.9762263640000001E-2</c:v>
                </c:pt>
                <c:pt idx="89">
                  <c:v>-2.5220342489999999E-2</c:v>
                </c:pt>
                <c:pt idx="90">
                  <c:v>5.4063192750000003E-2</c:v>
                </c:pt>
                <c:pt idx="91">
                  <c:v>2.8804839249999999E-2</c:v>
                </c:pt>
                <c:pt idx="92">
                  <c:v>1.521043016E-2</c:v>
                </c:pt>
                <c:pt idx="93">
                  <c:v>-1.179673319E-2</c:v>
                </c:pt>
                <c:pt idx="94">
                  <c:v>8.6256826920000002E-2</c:v>
                </c:pt>
                <c:pt idx="95">
                  <c:v>8.4149510169999997E-2</c:v>
                </c:pt>
                <c:pt idx="96">
                  <c:v>4.8718064800000002E-2</c:v>
                </c:pt>
                <c:pt idx="97">
                  <c:v>3.6244443850000002E-2</c:v>
                </c:pt>
                <c:pt idx="98">
                  <c:v>8.66824276E-2</c:v>
                </c:pt>
                <c:pt idx="99">
                  <c:v>-4.6246628040000001E-2</c:v>
                </c:pt>
                <c:pt idx="100">
                  <c:v>-0.1071244564</c:v>
                </c:pt>
                <c:pt idx="101">
                  <c:v>-0.19842105078</c:v>
                </c:pt>
                <c:pt idx="102">
                  <c:v>-0.20501632229</c:v>
                </c:pt>
                <c:pt idx="103">
                  <c:v>-0.19470230586000001</c:v>
                </c:pt>
                <c:pt idx="104">
                  <c:v>-0.18579314789000001</c:v>
                </c:pt>
                <c:pt idx="105">
                  <c:v>-0.18051423095999999</c:v>
                </c:pt>
                <c:pt idx="106">
                  <c:v>-0.18688296071999999</c:v>
                </c:pt>
                <c:pt idx="107">
                  <c:v>-0.13676219654999999</c:v>
                </c:pt>
                <c:pt idx="108">
                  <c:v>-0.16572350121000001</c:v>
                </c:pt>
                <c:pt idx="109">
                  <c:v>-0.20930705276</c:v>
                </c:pt>
                <c:pt idx="110">
                  <c:v>-0.26002228912999997</c:v>
                </c:pt>
                <c:pt idx="111">
                  <c:v>-0.28711324238000002</c:v>
                </c:pt>
                <c:pt idx="112">
                  <c:v>-0.29057976154999998</c:v>
                </c:pt>
                <c:pt idx="113">
                  <c:v>-0.22200598628000001</c:v>
                </c:pt>
                <c:pt idx="114">
                  <c:v>-0.20596566958000001</c:v>
                </c:pt>
                <c:pt idx="115">
                  <c:v>-2.6307056089999999E-2</c:v>
                </c:pt>
                <c:pt idx="116">
                  <c:v>8.0408896709999997E-2</c:v>
                </c:pt>
                <c:pt idx="117">
                  <c:v>0.32298669767999999</c:v>
                </c:pt>
                <c:pt idx="118">
                  <c:v>0.54148823608999996</c:v>
                </c:pt>
                <c:pt idx="119">
                  <c:v>0.52384514224000001</c:v>
                </c:pt>
                <c:pt idx="120">
                  <c:v>0.45805605771000002</c:v>
                </c:pt>
                <c:pt idx="121">
                  <c:v>0.17647341571</c:v>
                </c:pt>
                <c:pt idx="122">
                  <c:v>4.9473693909999998E-2</c:v>
                </c:pt>
                <c:pt idx="123">
                  <c:v>-3.2858342030000001E-2</c:v>
                </c:pt>
                <c:pt idx="124">
                  <c:v>-0.15305968229</c:v>
                </c:pt>
                <c:pt idx="125">
                  <c:v>-0.23974352259000001</c:v>
                </c:pt>
                <c:pt idx="126">
                  <c:v>-0.21272623628000001</c:v>
                </c:pt>
                <c:pt idx="127">
                  <c:v>-0.15886099973000001</c:v>
                </c:pt>
                <c:pt idx="128">
                  <c:v>-0.16077943283999999</c:v>
                </c:pt>
                <c:pt idx="129">
                  <c:v>-0.19652015118999999</c:v>
                </c:pt>
                <c:pt idx="130">
                  <c:v>-0.16781167038</c:v>
                </c:pt>
                <c:pt idx="131">
                  <c:v>-0.10282309475</c:v>
                </c:pt>
                <c:pt idx="132">
                  <c:v>-9.1670797659999997E-2</c:v>
                </c:pt>
                <c:pt idx="133">
                  <c:v>-9.9067620100000003E-2</c:v>
                </c:pt>
                <c:pt idx="134">
                  <c:v>-2.3958696759999999E-2</c:v>
                </c:pt>
                <c:pt idx="135">
                  <c:v>0.17442982684</c:v>
                </c:pt>
                <c:pt idx="136">
                  <c:v>0.21663383793999999</c:v>
                </c:pt>
                <c:pt idx="137">
                  <c:v>0.17513330731000001</c:v>
                </c:pt>
                <c:pt idx="138">
                  <c:v>0.15036077817999999</c:v>
                </c:pt>
                <c:pt idx="139">
                  <c:v>0.23460545041</c:v>
                </c:pt>
                <c:pt idx="140">
                  <c:v>0.21936419197000001</c:v>
                </c:pt>
                <c:pt idx="141">
                  <c:v>0.10912788587</c:v>
                </c:pt>
                <c:pt idx="142">
                  <c:v>-4.208109334E-2</c:v>
                </c:pt>
                <c:pt idx="143">
                  <c:v>2.3102659000000001E-4</c:v>
                </c:pt>
                <c:pt idx="144">
                  <c:v>8.4203083159999997E-2</c:v>
                </c:pt>
                <c:pt idx="145">
                  <c:v>2.7779272010000002E-2</c:v>
                </c:pt>
                <c:pt idx="146">
                  <c:v>9.8025163500000002E-3</c:v>
                </c:pt>
                <c:pt idx="147">
                  <c:v>-2.193780037E-2</c:v>
                </c:pt>
                <c:pt idx="148">
                  <c:v>1.057466279E-2</c:v>
                </c:pt>
                <c:pt idx="149">
                  <c:v>3.3349313339999999E-2</c:v>
                </c:pt>
                <c:pt idx="150">
                  <c:v>3.73763587E-3</c:v>
                </c:pt>
                <c:pt idx="151">
                  <c:v>1.433378683E-2</c:v>
                </c:pt>
                <c:pt idx="152">
                  <c:v>7.8958195199999998E-3</c:v>
                </c:pt>
                <c:pt idx="153">
                  <c:v>1.080905186E-2</c:v>
                </c:pt>
                <c:pt idx="154">
                  <c:v>3.8853664939999998E-2</c:v>
                </c:pt>
                <c:pt idx="155">
                  <c:v>3.4852265620000003E-2</c:v>
                </c:pt>
                <c:pt idx="156">
                  <c:v>7.9571229440000002E-2</c:v>
                </c:pt>
                <c:pt idx="157">
                  <c:v>6.8012349779999995E-2</c:v>
                </c:pt>
                <c:pt idx="158">
                  <c:v>3.7577356190000001E-2</c:v>
                </c:pt>
                <c:pt idx="159">
                  <c:v>-4.6249888999999999E-3</c:v>
                </c:pt>
                <c:pt idx="160">
                  <c:v>-1.3729941210000001E-2</c:v>
                </c:pt>
                <c:pt idx="161">
                  <c:v>5.0806574260000001E-2</c:v>
                </c:pt>
                <c:pt idx="162">
                  <c:v>1.1093601519999999E-2</c:v>
                </c:pt>
                <c:pt idx="163">
                  <c:v>-5.4858760290000003E-2</c:v>
                </c:pt>
                <c:pt idx="164">
                  <c:v>-9.3988959479999995E-2</c:v>
                </c:pt>
                <c:pt idx="165">
                  <c:v>-0.14858346356999999</c:v>
                </c:pt>
                <c:pt idx="166">
                  <c:v>-2.7370035720000001E-2</c:v>
                </c:pt>
                <c:pt idx="167">
                  <c:v>-0.12098410259</c:v>
                </c:pt>
                <c:pt idx="168">
                  <c:v>-0.17828938705</c:v>
                </c:pt>
                <c:pt idx="169">
                  <c:v>-0.10323748545</c:v>
                </c:pt>
                <c:pt idx="170">
                  <c:v>-4.9011646979999997E-2</c:v>
                </c:pt>
                <c:pt idx="171">
                  <c:v>-1.8391229950000001E-2</c:v>
                </c:pt>
                <c:pt idx="172">
                  <c:v>1.922666067E-2</c:v>
                </c:pt>
                <c:pt idx="173">
                  <c:v>4.9025340979999998E-2</c:v>
                </c:pt>
                <c:pt idx="174">
                  <c:v>9.0235038540000007E-2</c:v>
                </c:pt>
                <c:pt idx="175">
                  <c:v>-7.8644650399999991E-3</c:v>
                </c:pt>
                <c:pt idx="176">
                  <c:v>-5.5142841820000003E-2</c:v>
                </c:pt>
                <c:pt idx="177">
                  <c:v>-1.024490214E-2</c:v>
                </c:pt>
                <c:pt idx="178">
                  <c:v>-0.10971596456</c:v>
                </c:pt>
                <c:pt idx="179">
                  <c:v>-0.17097908917999999</c:v>
                </c:pt>
                <c:pt idx="180">
                  <c:v>-0.17708194985</c:v>
                </c:pt>
                <c:pt idx="181">
                  <c:v>-0.12226114624999999</c:v>
                </c:pt>
                <c:pt idx="182">
                  <c:v>-7.07692033E-2</c:v>
                </c:pt>
                <c:pt idx="183">
                  <c:v>-9.0214467549999997E-2</c:v>
                </c:pt>
                <c:pt idx="184">
                  <c:v>-0.11460897321000001</c:v>
                </c:pt>
                <c:pt idx="185">
                  <c:v>1.0530813349999999E-2</c:v>
                </c:pt>
                <c:pt idx="186">
                  <c:v>1.765601491E-2</c:v>
                </c:pt>
                <c:pt idx="187">
                  <c:v>-3.3841739629999999E-2</c:v>
                </c:pt>
                <c:pt idx="188">
                  <c:v>3.84415938E-2</c:v>
                </c:pt>
                <c:pt idx="189">
                  <c:v>3.9714356159999999E-2</c:v>
                </c:pt>
                <c:pt idx="190">
                  <c:v>7.6032762190000006E-2</c:v>
                </c:pt>
                <c:pt idx="191">
                  <c:v>0.10038244115</c:v>
                </c:pt>
                <c:pt idx="192">
                  <c:v>0.12109622635</c:v>
                </c:pt>
                <c:pt idx="193">
                  <c:v>0.17450145519999999</c:v>
                </c:pt>
                <c:pt idx="194">
                  <c:v>0.10457495062</c:v>
                </c:pt>
                <c:pt idx="195">
                  <c:v>0.10525290078000001</c:v>
                </c:pt>
                <c:pt idx="196">
                  <c:v>9.7404352769999994E-2</c:v>
                </c:pt>
                <c:pt idx="197">
                  <c:v>5.2462608219999998E-2</c:v>
                </c:pt>
                <c:pt idx="198">
                  <c:v>-4.7934843650000003E-2</c:v>
                </c:pt>
                <c:pt idx="199">
                  <c:v>-7.6247010769999998E-2</c:v>
                </c:pt>
                <c:pt idx="200">
                  <c:v>-7.8333847289999994E-2</c:v>
                </c:pt>
                <c:pt idx="201">
                  <c:v>-7.7183315279999998E-2</c:v>
                </c:pt>
                <c:pt idx="202">
                  <c:v>-4.9997126320000002E-2</c:v>
                </c:pt>
                <c:pt idx="203">
                  <c:v>3.0352022320000002E-2</c:v>
                </c:pt>
                <c:pt idx="204">
                  <c:v>9.2064238209999996E-2</c:v>
                </c:pt>
                <c:pt idx="205">
                  <c:v>0.24045223537999999</c:v>
                </c:pt>
                <c:pt idx="206">
                  <c:v>0.23367154822</c:v>
                </c:pt>
                <c:pt idx="207">
                  <c:v>0.28481889832000001</c:v>
                </c:pt>
                <c:pt idx="208">
                  <c:v>0.31373474850999999</c:v>
                </c:pt>
                <c:pt idx="209">
                  <c:v>0.13548618771000001</c:v>
                </c:pt>
                <c:pt idx="210">
                  <c:v>7.1691544600000004E-2</c:v>
                </c:pt>
                <c:pt idx="211">
                  <c:v>1.19822943E-2</c:v>
                </c:pt>
                <c:pt idx="212">
                  <c:v>7.8737661899999992E-3</c:v>
                </c:pt>
                <c:pt idx="213">
                  <c:v>6.6152607729999993E-2</c:v>
                </c:pt>
                <c:pt idx="214">
                  <c:v>7.7390336429999998E-2</c:v>
                </c:pt>
                <c:pt idx="215">
                  <c:v>9.4734577030000003E-2</c:v>
                </c:pt>
                <c:pt idx="216">
                  <c:v>0.16009969224000001</c:v>
                </c:pt>
                <c:pt idx="217">
                  <c:v>0.31997838536000001</c:v>
                </c:pt>
                <c:pt idx="218">
                  <c:v>0.32827727964999998</c:v>
                </c:pt>
                <c:pt idx="219">
                  <c:v>0.22660100585000001</c:v>
                </c:pt>
                <c:pt idx="220">
                  <c:v>0.10422156717</c:v>
                </c:pt>
                <c:pt idx="221">
                  <c:v>0.14979195752999999</c:v>
                </c:pt>
                <c:pt idx="222">
                  <c:v>0.17555271915000001</c:v>
                </c:pt>
                <c:pt idx="223">
                  <c:v>5.5085863800000003E-2</c:v>
                </c:pt>
                <c:pt idx="224">
                  <c:v>-4.4016060279999998E-2</c:v>
                </c:pt>
                <c:pt idx="225">
                  <c:v>3.3973013730000001E-2</c:v>
                </c:pt>
                <c:pt idx="226">
                  <c:v>0.10856780078</c:v>
                </c:pt>
                <c:pt idx="227">
                  <c:v>0.11301121633</c:v>
                </c:pt>
                <c:pt idx="228">
                  <c:v>7.8333777320000006E-2</c:v>
                </c:pt>
                <c:pt idx="229">
                  <c:v>-1.5053765320000001E-2</c:v>
                </c:pt>
                <c:pt idx="230">
                  <c:v>-1.0624840030000001E-2</c:v>
                </c:pt>
                <c:pt idx="231">
                  <c:v>2.1529400550000001E-2</c:v>
                </c:pt>
                <c:pt idx="232">
                  <c:v>2.1575701599999999E-3</c:v>
                </c:pt>
                <c:pt idx="233">
                  <c:v>-1.887990451E-2</c:v>
                </c:pt>
                <c:pt idx="234">
                  <c:v>2.447425756E-2</c:v>
                </c:pt>
                <c:pt idx="235">
                  <c:v>2.009338913E-2</c:v>
                </c:pt>
                <c:pt idx="236">
                  <c:v>0.10523736232</c:v>
                </c:pt>
                <c:pt idx="237">
                  <c:v>-3.6346600329999999E-2</c:v>
                </c:pt>
                <c:pt idx="238">
                  <c:v>-9.6742624910000005E-2</c:v>
                </c:pt>
                <c:pt idx="239">
                  <c:v>-2.1672842009999999E-2</c:v>
                </c:pt>
                <c:pt idx="240">
                  <c:v>-4.3360872699999997E-2</c:v>
                </c:pt>
                <c:pt idx="241">
                  <c:v>-6.7236742249999995E-2</c:v>
                </c:pt>
                <c:pt idx="242">
                  <c:v>-0.14928261004000001</c:v>
                </c:pt>
                <c:pt idx="243">
                  <c:v>-0.14006329655999999</c:v>
                </c:pt>
                <c:pt idx="244">
                  <c:v>-0.11763562666999999</c:v>
                </c:pt>
                <c:pt idx="245">
                  <c:v>-8.3694488649999996E-2</c:v>
                </c:pt>
                <c:pt idx="246">
                  <c:v>-0.19059282079000001</c:v>
                </c:pt>
                <c:pt idx="247">
                  <c:v>-0.14750254825</c:v>
                </c:pt>
                <c:pt idx="248">
                  <c:v>1.676630246E-2</c:v>
                </c:pt>
                <c:pt idx="249">
                  <c:v>0.14724966656999999</c:v>
                </c:pt>
                <c:pt idx="250">
                  <c:v>0.22870463144</c:v>
                </c:pt>
                <c:pt idx="251">
                  <c:v>7.4869473340000006E-2</c:v>
                </c:pt>
                <c:pt idx="252">
                  <c:v>0.16009664891</c:v>
                </c:pt>
                <c:pt idx="253">
                  <c:v>0.32398739168000001</c:v>
                </c:pt>
                <c:pt idx="254">
                  <c:v>0.24021560818000001</c:v>
                </c:pt>
                <c:pt idx="255">
                  <c:v>0.10984638618000001</c:v>
                </c:pt>
                <c:pt idx="256">
                  <c:v>2.1062740119999999E-2</c:v>
                </c:pt>
                <c:pt idx="257">
                  <c:v>-0.12118748568</c:v>
                </c:pt>
                <c:pt idx="258">
                  <c:v>-0.11055692642999999</c:v>
                </c:pt>
                <c:pt idx="259">
                  <c:v>-0.17099024296000001</c:v>
                </c:pt>
                <c:pt idx="260">
                  <c:v>-0.20855855868000001</c:v>
                </c:pt>
                <c:pt idx="261">
                  <c:v>-0.24608423245</c:v>
                </c:pt>
                <c:pt idx="262">
                  <c:v>-0.14818197932999999</c:v>
                </c:pt>
                <c:pt idx="263">
                  <c:v>0.11806986137</c:v>
                </c:pt>
                <c:pt idx="264">
                  <c:v>0.17114068997000001</c:v>
                </c:pt>
                <c:pt idx="265">
                  <c:v>0.14042982714999999</c:v>
                </c:pt>
                <c:pt idx="266">
                  <c:v>0.10688769234999999</c:v>
                </c:pt>
                <c:pt idx="267">
                  <c:v>0.19081588131999999</c:v>
                </c:pt>
                <c:pt idx="268">
                  <c:v>0.16503290373999999</c:v>
                </c:pt>
                <c:pt idx="269">
                  <c:v>-8.3209843369999995E-2</c:v>
                </c:pt>
                <c:pt idx="270">
                  <c:v>-0.29724080272999998</c:v>
                </c:pt>
                <c:pt idx="271">
                  <c:v>-0.22729386242999999</c:v>
                </c:pt>
                <c:pt idx="272">
                  <c:v>-2.4630539000000001E-4</c:v>
                </c:pt>
                <c:pt idx="273">
                  <c:v>-1.617027532E-2</c:v>
                </c:pt>
                <c:pt idx="274">
                  <c:v>-0.20979751013</c:v>
                </c:pt>
                <c:pt idx="275">
                  <c:v>-9.1640956489999995E-2</c:v>
                </c:pt>
                <c:pt idx="276">
                  <c:v>0.23164300229000001</c:v>
                </c:pt>
                <c:pt idx="277">
                  <c:v>3.5700526519999998E-2</c:v>
                </c:pt>
                <c:pt idx="278">
                  <c:v>-0.23299748113999999</c:v>
                </c:pt>
                <c:pt idx="279">
                  <c:v>-0.52673195273999995</c:v>
                </c:pt>
                <c:pt idx="280">
                  <c:v>-0.41098668568000002</c:v>
                </c:pt>
                <c:pt idx="281">
                  <c:v>-0.40018505655999997</c:v>
                </c:pt>
                <c:pt idx="282">
                  <c:v>-0.47976573634000003</c:v>
                </c:pt>
                <c:pt idx="283">
                  <c:v>-0.39149206357999999</c:v>
                </c:pt>
                <c:pt idx="284">
                  <c:v>-0.29375138982999999</c:v>
                </c:pt>
                <c:pt idx="285">
                  <c:v>-0.10166435478999999</c:v>
                </c:pt>
                <c:pt idx="286">
                  <c:v>0.24875094669</c:v>
                </c:pt>
                <c:pt idx="287">
                  <c:v>0.71615720526000004</c:v>
                </c:pt>
                <c:pt idx="288">
                  <c:v>1.1156679763999999</c:v>
                </c:pt>
                <c:pt idx="289">
                  <c:v>0.59574468098</c:v>
                </c:pt>
                <c:pt idx="290">
                  <c:v>0.96409853252</c:v>
                </c:pt>
                <c:pt idx="291">
                  <c:v>2.0648246543200002</c:v>
                </c:pt>
                <c:pt idx="292">
                  <c:v>1.41310020851</c:v>
                </c:pt>
                <c:pt idx="293">
                  <c:v>0.52159468431</c:v>
                </c:pt>
                <c:pt idx="294">
                  <c:v>0.26616915424999998</c:v>
                </c:pt>
                <c:pt idx="295">
                  <c:v>0.26053639851999999</c:v>
                </c:pt>
                <c:pt idx="296">
                  <c:v>0.33054393317000003</c:v>
                </c:pt>
                <c:pt idx="297">
                  <c:v>-0.3288159772</c:v>
                </c:pt>
                <c:pt idx="298">
                  <c:v>-0.61120129877999996</c:v>
                </c:pt>
                <c:pt idx="299">
                  <c:v>-0.78622159095999999</c:v>
                </c:pt>
                <c:pt idx="300">
                  <c:v>-0.56363636363000003</c:v>
                </c:pt>
                <c:pt idx="301">
                  <c:v>-0.50317258895000005</c:v>
                </c:pt>
                <c:pt idx="302">
                  <c:v>-0.47149877153999997</c:v>
                </c:pt>
                <c:pt idx="303">
                  <c:v>-0.20880361178000001</c:v>
                </c:pt>
                <c:pt idx="304">
                  <c:v>0.53043478276</c:v>
                </c:pt>
                <c:pt idx="305">
                  <c:v>1.8793456041200001</c:v>
                </c:pt>
                <c:pt idx="306">
                  <c:v>0.43385213995999999</c:v>
                </c:pt>
                <c:pt idx="307">
                  <c:v>0.179640719</c:v>
                </c:pt>
                <c:pt idx="308">
                  <c:v>-0.14315789483999999</c:v>
                </c:pt>
                <c:pt idx="309">
                  <c:v>-0.18864468854999999</c:v>
                </c:pt>
                <c:pt idx="310">
                  <c:v>-0.61049957667999999</c:v>
                </c:pt>
                <c:pt idx="311">
                  <c:v>-0.81192307696999999</c:v>
                </c:pt>
                <c:pt idx="312">
                  <c:v>-0.80806572079000005</c:v>
                </c:pt>
                <c:pt idx="313">
                  <c:v>-0.75936599425999995</c:v>
                </c:pt>
                <c:pt idx="314">
                  <c:v>-0.57777777776999995</c:v>
                </c:pt>
                <c:pt idx="315">
                  <c:v>-0.57476635511999996</c:v>
                </c:pt>
                <c:pt idx="316">
                  <c:v>-0.30118343208999998</c:v>
                </c:pt>
                <c:pt idx="317">
                  <c:v>1.3622047248</c:v>
                </c:pt>
                <c:pt idx="318">
                  <c:v>1.4950310573600001</c:v>
                </c:pt>
                <c:pt idx="319">
                  <c:v>1.5343883141900001</c:v>
                </c:pt>
                <c:pt idx="320">
                  <c:v>0.87265917621</c:v>
                </c:pt>
                <c:pt idx="321">
                  <c:v>1.1643489252500001</c:v>
                </c:pt>
                <c:pt idx="322">
                  <c:v>1.1680564468900001</c:v>
                </c:pt>
                <c:pt idx="323">
                  <c:v>7.6271186470000002E-2</c:v>
                </c:pt>
                <c:pt idx="324">
                  <c:v>5.5045871560000001E-2</c:v>
                </c:pt>
                <c:pt idx="325">
                  <c:v>0.49024943303000001</c:v>
                </c:pt>
                <c:pt idx="326">
                  <c:v>0.14428571439000001</c:v>
                </c:pt>
                <c:pt idx="327">
                  <c:v>-0.13013196498999999</c:v>
                </c:pt>
                <c:pt idx="328">
                  <c:v>-0.12872578233000001</c:v>
                </c:pt>
                <c:pt idx="329">
                  <c:v>0.18181818144</c:v>
                </c:pt>
                <c:pt idx="330">
                  <c:v>0.20441988920000001</c:v>
                </c:pt>
                <c:pt idx="331">
                  <c:v>-0.12638668796999999</c:v>
                </c:pt>
                <c:pt idx="332">
                  <c:v>0.15416323160000001</c:v>
                </c:pt>
                <c:pt idx="333">
                  <c:v>0.88972014438000002</c:v>
                </c:pt>
                <c:pt idx="334">
                  <c:v>0.86544342518999995</c:v>
                </c:pt>
                <c:pt idx="335">
                  <c:v>0.50231481534</c:v>
                </c:pt>
                <c:pt idx="336">
                  <c:v>1.2267135330000001</c:v>
                </c:pt>
                <c:pt idx="337">
                  <c:v>1.5717612814399999</c:v>
                </c:pt>
                <c:pt idx="338">
                  <c:v>0.64959202185999998</c:v>
                </c:pt>
                <c:pt idx="339">
                  <c:v>5.3415061290000003E-2</c:v>
                </c:pt>
                <c:pt idx="340">
                  <c:v>-0.18780694315999999</c:v>
                </c:pt>
                <c:pt idx="341">
                  <c:v>-4.8720066049999997E-2</c:v>
                </c:pt>
                <c:pt idx="342">
                  <c:v>-0.23149648832</c:v>
                </c:pt>
                <c:pt idx="343">
                  <c:v>-0.60836848714000002</c:v>
                </c:pt>
                <c:pt idx="344">
                  <c:v>-0.41824894512999999</c:v>
                </c:pt>
                <c:pt idx="345">
                  <c:v>-0.29123351427999999</c:v>
                </c:pt>
                <c:pt idx="346">
                  <c:v>-0.11402850723000001</c:v>
                </c:pt>
                <c:pt idx="347">
                  <c:v>-8.1880212499999994E-2</c:v>
                </c:pt>
                <c:pt idx="348">
                  <c:v>-4.2668735450000002E-2</c:v>
                </c:pt>
                <c:pt idx="349">
                  <c:v>0.57135691032000002</c:v>
                </c:pt>
                <c:pt idx="350">
                  <c:v>0.15497076016</c:v>
                </c:pt>
                <c:pt idx="351">
                  <c:v>-0.28758290347999999</c:v>
                </c:pt>
                <c:pt idx="352">
                  <c:v>-0.25000000008000001</c:v>
                </c:pt>
                <c:pt idx="353">
                  <c:v>0.28708040614000002</c:v>
                </c:pt>
                <c:pt idx="354">
                  <c:v>0.21412872848</c:v>
                </c:pt>
                <c:pt idx="355">
                  <c:v>1.9171779220000001E-2</c:v>
                </c:pt>
                <c:pt idx="356">
                  <c:v>5.0691244099999998E-2</c:v>
                </c:pt>
                <c:pt idx="357">
                  <c:v>1.1625498010399999</c:v>
                </c:pt>
                <c:pt idx="358">
                  <c:v>1.3999485599699999</c:v>
                </c:pt>
                <c:pt idx="359">
                  <c:v>0.33437500007999998</c:v>
                </c:pt>
                <c:pt idx="360">
                  <c:v>-0.37364798432000002</c:v>
                </c:pt>
                <c:pt idx="361">
                  <c:v>-0.42215657325</c:v>
                </c:pt>
                <c:pt idx="362">
                  <c:v>-0.41174698798999998</c:v>
                </c:pt>
                <c:pt idx="363">
                  <c:v>-0.69126691268999996</c:v>
                </c:pt>
                <c:pt idx="364">
                  <c:v>-0.86718589886999997</c:v>
                </c:pt>
                <c:pt idx="365">
                  <c:v>-0.86344238980999999</c:v>
                </c:pt>
                <c:pt idx="366">
                  <c:v>-0.77369826443</c:v>
                </c:pt>
                <c:pt idx="367">
                  <c:v>0.38871794871999998</c:v>
                </c:pt>
                <c:pt idx="368">
                  <c:v>0.30272709439000001</c:v>
                </c:pt>
                <c:pt idx="369">
                  <c:v>1.3109721429800001</c:v>
                </c:pt>
                <c:pt idx="370">
                  <c:v>4.10622711175</c:v>
                </c:pt>
                <c:pt idx="371">
                  <c:v>4.7465940075199997</c:v>
                </c:pt>
                <c:pt idx="372">
                  <c:v>4.1610680459499996</c:v>
                </c:pt>
                <c:pt idx="373">
                  <c:v>6.7323481239999997E-2</c:v>
                </c:pt>
                <c:pt idx="374">
                  <c:v>-0.20700116667999999</c:v>
                </c:pt>
                <c:pt idx="375">
                  <c:v>-0.32734225633000003</c:v>
                </c:pt>
                <c:pt idx="376">
                  <c:v>-0.47721179632999999</c:v>
                </c:pt>
                <c:pt idx="377">
                  <c:v>-0.27853544666000002</c:v>
                </c:pt>
                <c:pt idx="378">
                  <c:v>-2.7819129089999999E-2</c:v>
                </c:pt>
                <c:pt idx="379">
                  <c:v>-3.1283138799999999E-2</c:v>
                </c:pt>
                <c:pt idx="380">
                  <c:v>0.58650286095000004</c:v>
                </c:pt>
                <c:pt idx="381">
                  <c:v>0.46547859264000002</c:v>
                </c:pt>
                <c:pt idx="382">
                  <c:v>0.72628099152000003</c:v>
                </c:pt>
                <c:pt idx="383">
                  <c:v>0.21273569565</c:v>
                </c:pt>
                <c:pt idx="384">
                  <c:v>-0.21997242180000001</c:v>
                </c:pt>
                <c:pt idx="385">
                  <c:v>-0.49333763191000002</c:v>
                </c:pt>
                <c:pt idx="386">
                  <c:v>-0.47741197869000002</c:v>
                </c:pt>
                <c:pt idx="387">
                  <c:v>-0.40972543846999998</c:v>
                </c:pt>
                <c:pt idx="388">
                  <c:v>-0.31891283364</c:v>
                </c:pt>
                <c:pt idx="389">
                  <c:v>-0.2198613536</c:v>
                </c:pt>
                <c:pt idx="390">
                  <c:v>0.16302035872000001</c:v>
                </c:pt>
                <c:pt idx="391">
                  <c:v>1.13501577413</c:v>
                </c:pt>
                <c:pt idx="392">
                  <c:v>0.99727506963000001</c:v>
                </c:pt>
                <c:pt idx="393">
                  <c:v>1.2542878454899999</c:v>
                </c:pt>
                <c:pt idx="394">
                  <c:v>0.65972667114000005</c:v>
                </c:pt>
                <c:pt idx="395">
                  <c:v>0.41414610247</c:v>
                </c:pt>
                <c:pt idx="396">
                  <c:v>0.11132372795000001</c:v>
                </c:pt>
                <c:pt idx="397">
                  <c:v>-3.2893277229999997E-2</c:v>
                </c:pt>
                <c:pt idx="398">
                  <c:v>-5.4571905449999999E-2</c:v>
                </c:pt>
                <c:pt idx="399">
                  <c:v>0.13558524647</c:v>
                </c:pt>
                <c:pt idx="400">
                  <c:v>0.56936200469999998</c:v>
                </c:pt>
                <c:pt idx="401">
                  <c:v>0.60170987805999998</c:v>
                </c:pt>
                <c:pt idx="402">
                  <c:v>0.71029953015000002</c:v>
                </c:pt>
                <c:pt idx="403">
                  <c:v>0.75184629923000001</c:v>
                </c:pt>
                <c:pt idx="404">
                  <c:v>0.59052065110999996</c:v>
                </c:pt>
                <c:pt idx="405">
                  <c:v>0.20265698038999999</c:v>
                </c:pt>
                <c:pt idx="406">
                  <c:v>-0.23602114511</c:v>
                </c:pt>
                <c:pt idx="407">
                  <c:v>-0.42032967025000001</c:v>
                </c:pt>
                <c:pt idx="408">
                  <c:v>-0.34413992878999999</c:v>
                </c:pt>
                <c:pt idx="409">
                  <c:v>-0.36790773429000001</c:v>
                </c:pt>
                <c:pt idx="410">
                  <c:v>-0.38091915719000002</c:v>
                </c:pt>
                <c:pt idx="411">
                  <c:v>-0.40527982560999998</c:v>
                </c:pt>
                <c:pt idx="412">
                  <c:v>-0.34015211124</c:v>
                </c:pt>
                <c:pt idx="413">
                  <c:v>-0.28300835663000001</c:v>
                </c:pt>
                <c:pt idx="414">
                  <c:v>-0.37432036813000003</c:v>
                </c:pt>
                <c:pt idx="415">
                  <c:v>-0.50517825682999995</c:v>
                </c:pt>
                <c:pt idx="416">
                  <c:v>-0.51486143441999999</c:v>
                </c:pt>
                <c:pt idx="417">
                  <c:v>-0.51691351668999996</c:v>
                </c:pt>
                <c:pt idx="418">
                  <c:v>-0.34076566134000003</c:v>
                </c:pt>
                <c:pt idx="419">
                  <c:v>-6.8453008189999998E-2</c:v>
                </c:pt>
                <c:pt idx="420">
                  <c:v>-5.4877395170000003E-2</c:v>
                </c:pt>
                <c:pt idx="421">
                  <c:v>0.15645174311000001</c:v>
                </c:pt>
                <c:pt idx="422">
                  <c:v>0.31468279821</c:v>
                </c:pt>
                <c:pt idx="423">
                  <c:v>0.27973738724000002</c:v>
                </c:pt>
                <c:pt idx="424">
                  <c:v>8.8690511969999997E-2</c:v>
                </c:pt>
                <c:pt idx="425">
                  <c:v>-0.19236051418</c:v>
                </c:pt>
                <c:pt idx="426">
                  <c:v>-0.14839769974</c:v>
                </c:pt>
                <c:pt idx="427">
                  <c:v>1.9496296409999999E-2</c:v>
                </c:pt>
                <c:pt idx="428">
                  <c:v>-7.0491006339999995E-2</c:v>
                </c:pt>
                <c:pt idx="429">
                  <c:v>-0.10346083423000001</c:v>
                </c:pt>
                <c:pt idx="430">
                  <c:v>2.6045958300000001E-3</c:v>
                </c:pt>
                <c:pt idx="431">
                  <c:v>0.18617395595</c:v>
                </c:pt>
                <c:pt idx="432">
                  <c:v>0.32152960613999998</c:v>
                </c:pt>
                <c:pt idx="433">
                  <c:v>0.16227556134000001</c:v>
                </c:pt>
                <c:pt idx="434">
                  <c:v>0.10432257005999999</c:v>
                </c:pt>
                <c:pt idx="435">
                  <c:v>0.18771446549000001</c:v>
                </c:pt>
                <c:pt idx="436">
                  <c:v>0.16246632453000001</c:v>
                </c:pt>
                <c:pt idx="437">
                  <c:v>-4.3385687380000003E-2</c:v>
                </c:pt>
                <c:pt idx="438">
                  <c:v>-0.16237198831999999</c:v>
                </c:pt>
                <c:pt idx="439">
                  <c:v>-0.17408517516999999</c:v>
                </c:pt>
                <c:pt idx="440">
                  <c:v>-0.13277504622</c:v>
                </c:pt>
                <c:pt idx="441">
                  <c:v>-0.23365149948</c:v>
                </c:pt>
                <c:pt idx="442">
                  <c:v>-0.29614842082999998</c:v>
                </c:pt>
                <c:pt idx="443">
                  <c:v>-0.18611096291000001</c:v>
                </c:pt>
                <c:pt idx="444">
                  <c:v>-0.15430225291999999</c:v>
                </c:pt>
                <c:pt idx="445">
                  <c:v>-0.16406778814</c:v>
                </c:pt>
                <c:pt idx="446">
                  <c:v>-0.12093981759</c:v>
                </c:pt>
                <c:pt idx="447">
                  <c:v>-2.40266608E-3</c:v>
                </c:pt>
                <c:pt idx="448">
                  <c:v>0.14079472816999999</c:v>
                </c:pt>
                <c:pt idx="449">
                  <c:v>3.8590680529999997E-2</c:v>
                </c:pt>
                <c:pt idx="450">
                  <c:v>-1.6356145669999999E-2</c:v>
                </c:pt>
                <c:pt idx="451">
                  <c:v>4.7414844079999997E-2</c:v>
                </c:pt>
                <c:pt idx="452">
                  <c:v>4.7508865749999997E-2</c:v>
                </c:pt>
                <c:pt idx="453">
                  <c:v>-2.2379888069999999E-2</c:v>
                </c:pt>
                <c:pt idx="454">
                  <c:v>-0.14364938803999999</c:v>
                </c:pt>
                <c:pt idx="455">
                  <c:v>-0.17044788892000001</c:v>
                </c:pt>
                <c:pt idx="456">
                  <c:v>-5.6605401610000002E-2</c:v>
                </c:pt>
                <c:pt idx="457">
                  <c:v>-9.9247729500000006E-2</c:v>
                </c:pt>
                <c:pt idx="458">
                  <c:v>-0.18197750207999999</c:v>
                </c:pt>
                <c:pt idx="459">
                  <c:v>-0.15678013365999999</c:v>
                </c:pt>
                <c:pt idx="460">
                  <c:v>-0.1160029969</c:v>
                </c:pt>
                <c:pt idx="461">
                  <c:v>7.3581056200000003E-3</c:v>
                </c:pt>
                <c:pt idx="462">
                  <c:v>-2.8094535019999999E-2</c:v>
                </c:pt>
                <c:pt idx="463">
                  <c:v>-7.5156650389999996E-2</c:v>
                </c:pt>
                <c:pt idx="464">
                  <c:v>-1.143062639E-2</c:v>
                </c:pt>
                <c:pt idx="465">
                  <c:v>8.5600066330000002E-2</c:v>
                </c:pt>
                <c:pt idx="466">
                  <c:v>6.8247203310000004E-2</c:v>
                </c:pt>
                <c:pt idx="467">
                  <c:v>3.8393907159999997E-2</c:v>
                </c:pt>
                <c:pt idx="468">
                  <c:v>-5.6562429769999999E-2</c:v>
                </c:pt>
                <c:pt idx="469">
                  <c:v>7.4427426350000006E-2</c:v>
                </c:pt>
                <c:pt idx="470">
                  <c:v>0.19823320314000001</c:v>
                </c:pt>
                <c:pt idx="471">
                  <c:v>0.16764385544999999</c:v>
                </c:pt>
                <c:pt idx="472">
                  <c:v>0.19515046997999999</c:v>
                </c:pt>
                <c:pt idx="473">
                  <c:v>0.14882109899000001</c:v>
                </c:pt>
                <c:pt idx="474">
                  <c:v>0.20232841739999999</c:v>
                </c:pt>
                <c:pt idx="475">
                  <c:v>0.23428484611</c:v>
                </c:pt>
                <c:pt idx="476">
                  <c:v>0.13826086484</c:v>
                </c:pt>
                <c:pt idx="477">
                  <c:v>5.8839235189999999E-2</c:v>
                </c:pt>
                <c:pt idx="478">
                  <c:v>9.608378746E-2</c:v>
                </c:pt>
                <c:pt idx="479">
                  <c:v>0.23144118303</c:v>
                </c:pt>
                <c:pt idx="480">
                  <c:v>0.48521045693999998</c:v>
                </c:pt>
                <c:pt idx="481">
                  <c:v>0.41694260360000002</c:v>
                </c:pt>
                <c:pt idx="482">
                  <c:v>0.36250989228000002</c:v>
                </c:pt>
                <c:pt idx="483">
                  <c:v>0.59937759371999999</c:v>
                </c:pt>
                <c:pt idx="484">
                  <c:v>0.67556936187000005</c:v>
                </c:pt>
                <c:pt idx="485">
                  <c:v>0.51043214078999999</c:v>
                </c:pt>
                <c:pt idx="486">
                  <c:v>0.21960529686999999</c:v>
                </c:pt>
                <c:pt idx="487">
                  <c:v>0.19921564094999999</c:v>
                </c:pt>
                <c:pt idx="488">
                  <c:v>0.20299888528999999</c:v>
                </c:pt>
                <c:pt idx="489">
                  <c:v>-0.10624257041</c:v>
                </c:pt>
                <c:pt idx="490">
                  <c:v>-0.32438750390999999</c:v>
                </c:pt>
                <c:pt idx="491">
                  <c:v>-0.41274429479000002</c:v>
                </c:pt>
                <c:pt idx="492">
                  <c:v>-0.43322411199999999</c:v>
                </c:pt>
                <c:pt idx="493">
                  <c:v>-0.46853325987</c:v>
                </c:pt>
                <c:pt idx="494">
                  <c:v>-0.53463431919000004</c:v>
                </c:pt>
                <c:pt idx="495">
                  <c:v>-0.4774013265</c:v>
                </c:pt>
                <c:pt idx="496">
                  <c:v>-0.34632815378999998</c:v>
                </c:pt>
                <c:pt idx="497">
                  <c:v>-0.28090129820999998</c:v>
                </c:pt>
                <c:pt idx="498">
                  <c:v>-0.26132251840999998</c:v>
                </c:pt>
                <c:pt idx="499">
                  <c:v>-0.32021314408000001</c:v>
                </c:pt>
                <c:pt idx="500">
                  <c:v>-0.30623175006999998</c:v>
                </c:pt>
                <c:pt idx="501">
                  <c:v>-0.39848884496999998</c:v>
                </c:pt>
                <c:pt idx="502">
                  <c:v>-0.49606084202</c:v>
                </c:pt>
                <c:pt idx="503">
                  <c:v>-0.52775747640000004</c:v>
                </c:pt>
                <c:pt idx="504">
                  <c:v>-0.61688878288000004</c:v>
                </c:pt>
                <c:pt idx="505">
                  <c:v>-0.60708601069000001</c:v>
                </c:pt>
                <c:pt idx="506">
                  <c:v>-0.57756253155000004</c:v>
                </c:pt>
                <c:pt idx="507">
                  <c:v>-0.53713606974999994</c:v>
                </c:pt>
                <c:pt idx="508">
                  <c:v>-0.41223667086999999</c:v>
                </c:pt>
                <c:pt idx="509">
                  <c:v>-0.29393685119000001</c:v>
                </c:pt>
                <c:pt idx="510">
                  <c:v>-6.7623430139999996E-2</c:v>
                </c:pt>
                <c:pt idx="511">
                  <c:v>3.3304161899999997E-2</c:v>
                </c:pt>
                <c:pt idx="512">
                  <c:v>-2.2432001029999999E-2</c:v>
                </c:pt>
                <c:pt idx="513">
                  <c:v>0.10367537448</c:v>
                </c:pt>
                <c:pt idx="514">
                  <c:v>2.1459590400000001E-3</c:v>
                </c:pt>
                <c:pt idx="515">
                  <c:v>-4.0501765369999998E-2</c:v>
                </c:pt>
                <c:pt idx="516">
                  <c:v>-5.0681090970000002E-2</c:v>
                </c:pt>
                <c:pt idx="517">
                  <c:v>4.0296596900000004E-3</c:v>
                </c:pt>
                <c:pt idx="518">
                  <c:v>0.12864333316000001</c:v>
                </c:pt>
                <c:pt idx="519">
                  <c:v>0.22683807006000001</c:v>
                </c:pt>
                <c:pt idx="520">
                  <c:v>0.27011549576999999</c:v>
                </c:pt>
                <c:pt idx="521">
                  <c:v>0.26151144048000002</c:v>
                </c:pt>
                <c:pt idx="522">
                  <c:v>0.32341965016000002</c:v>
                </c:pt>
                <c:pt idx="523">
                  <c:v>0.2902365992</c:v>
                </c:pt>
                <c:pt idx="524">
                  <c:v>0.23389880391000001</c:v>
                </c:pt>
                <c:pt idx="525">
                  <c:v>8.5286210279999997E-2</c:v>
                </c:pt>
                <c:pt idx="526">
                  <c:v>0.19167267474999999</c:v>
                </c:pt>
                <c:pt idx="527">
                  <c:v>0.28300771049000001</c:v>
                </c:pt>
                <c:pt idx="528">
                  <c:v>0.37489352366000001</c:v>
                </c:pt>
                <c:pt idx="529">
                  <c:v>0.30843313167999997</c:v>
                </c:pt>
                <c:pt idx="530">
                  <c:v>0.36155692512999998</c:v>
                </c:pt>
                <c:pt idx="531">
                  <c:v>0.49519953808</c:v>
                </c:pt>
                <c:pt idx="532">
                  <c:v>0.49380084384</c:v>
                </c:pt>
                <c:pt idx="533">
                  <c:v>0.47760739818999998</c:v>
                </c:pt>
                <c:pt idx="534">
                  <c:v>0.35852109136999999</c:v>
                </c:pt>
                <c:pt idx="535">
                  <c:v>0.40564388592</c:v>
                </c:pt>
                <c:pt idx="536">
                  <c:v>0.46674214977</c:v>
                </c:pt>
                <c:pt idx="537">
                  <c:v>0.44137754555999997</c:v>
                </c:pt>
                <c:pt idx="538">
                  <c:v>0.32378751376999998</c:v>
                </c:pt>
                <c:pt idx="539">
                  <c:v>0.50804204181000001</c:v>
                </c:pt>
                <c:pt idx="540">
                  <c:v>0.39876789552000003</c:v>
                </c:pt>
                <c:pt idx="541">
                  <c:v>0.51530988617999995</c:v>
                </c:pt>
                <c:pt idx="542">
                  <c:v>0.3948442389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975-4E54-8379-48514118E2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JIP_v_den_pozitivity_7dni_z_HOSP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6.8702290075999997E-2</c:v>
                </c:pt>
                <c:pt idx="1">
                  <c:v>7.4074074074000004E-2</c:v>
                </c:pt>
                <c:pt idx="2">
                  <c:v>0.08</c:v>
                </c:pt>
                <c:pt idx="3">
                  <c:v>9.3167701862999996E-2</c:v>
                </c:pt>
                <c:pt idx="4">
                  <c:v>7.8212290502000001E-2</c:v>
                </c:pt>
                <c:pt idx="5">
                  <c:v>9.2391304347000006E-2</c:v>
                </c:pt>
                <c:pt idx="6">
                  <c:v>8.2125603864000002E-2</c:v>
                </c:pt>
                <c:pt idx="7">
                  <c:v>7.0093457942999995E-2</c:v>
                </c:pt>
                <c:pt idx="8">
                  <c:v>7.8512396693999995E-2</c:v>
                </c:pt>
                <c:pt idx="9">
                  <c:v>7.4688796680000002E-2</c:v>
                </c:pt>
                <c:pt idx="10">
                  <c:v>6.0606060606000003E-2</c:v>
                </c:pt>
                <c:pt idx="11">
                  <c:v>7.2519083969000003E-2</c:v>
                </c:pt>
                <c:pt idx="12">
                  <c:v>5.9027777777000003E-2</c:v>
                </c:pt>
                <c:pt idx="13">
                  <c:v>6.4406779661000002E-2</c:v>
                </c:pt>
                <c:pt idx="14">
                  <c:v>7.2254335259999997E-2</c:v>
                </c:pt>
                <c:pt idx="15">
                  <c:v>5.9139784946000001E-2</c:v>
                </c:pt>
                <c:pt idx="16">
                  <c:v>5.9322033897999997E-2</c:v>
                </c:pt>
                <c:pt idx="17">
                  <c:v>5.5888223552000002E-2</c:v>
                </c:pt>
                <c:pt idx="18">
                  <c:v>5.6985294116999999E-2</c:v>
                </c:pt>
                <c:pt idx="19">
                  <c:v>6.8222621184000007E-2</c:v>
                </c:pt>
                <c:pt idx="20">
                  <c:v>7.0491803278000004E-2</c:v>
                </c:pt>
                <c:pt idx="21">
                  <c:v>7.0643642071999996E-2</c:v>
                </c:pt>
                <c:pt idx="22">
                  <c:v>7.4074074074000004E-2</c:v>
                </c:pt>
                <c:pt idx="23">
                  <c:v>7.8873239435999998E-2</c:v>
                </c:pt>
                <c:pt idx="24">
                  <c:v>8.1686429512000003E-2</c:v>
                </c:pt>
                <c:pt idx="25">
                  <c:v>7.8381795195000006E-2</c:v>
                </c:pt>
                <c:pt idx="26">
                  <c:v>7.3027090693999999E-2</c:v>
                </c:pt>
                <c:pt idx="27">
                  <c:v>7.8199052131999999E-2</c:v>
                </c:pt>
                <c:pt idx="28">
                  <c:v>7.0118662351000005E-2</c:v>
                </c:pt>
                <c:pt idx="29">
                  <c:v>6.6191446028000006E-2</c:v>
                </c:pt>
                <c:pt idx="30">
                  <c:v>6.7372473532000002E-2</c:v>
                </c:pt>
                <c:pt idx="31">
                  <c:v>6.6367713004000004E-2</c:v>
                </c:pt>
                <c:pt idx="32">
                  <c:v>7.6923076923000003E-2</c:v>
                </c:pt>
                <c:pt idx="33">
                  <c:v>8.1327800828999999E-2</c:v>
                </c:pt>
                <c:pt idx="34">
                  <c:v>7.3518915059999995E-2</c:v>
                </c:pt>
                <c:pt idx="35">
                  <c:v>8.0185553345999999E-2</c:v>
                </c:pt>
                <c:pt idx="36">
                  <c:v>8.5662211421000001E-2</c:v>
                </c:pt>
                <c:pt idx="37">
                  <c:v>7.9268292682000002E-2</c:v>
                </c:pt>
                <c:pt idx="38">
                  <c:v>8.0818414322000001E-2</c:v>
                </c:pt>
                <c:pt idx="39">
                  <c:v>7.5815738963000007E-2</c:v>
                </c:pt>
                <c:pt idx="40">
                  <c:v>7.3630924988000002E-2</c:v>
                </c:pt>
                <c:pt idx="41">
                  <c:v>7.0286195285999997E-2</c:v>
                </c:pt>
                <c:pt idx="42">
                  <c:v>6.5509076558000007E-2</c:v>
                </c:pt>
                <c:pt idx="43">
                  <c:v>6.0628195762999999E-2</c:v>
                </c:pt>
                <c:pt idx="44">
                  <c:v>6.1437001041E-2</c:v>
                </c:pt>
                <c:pt idx="45">
                  <c:v>6.1270557884000001E-2</c:v>
                </c:pt>
                <c:pt idx="46">
                  <c:v>5.6507363991000002E-2</c:v>
                </c:pt>
                <c:pt idx="47">
                  <c:v>5.6805399324999999E-2</c:v>
                </c:pt>
                <c:pt idx="48">
                  <c:v>5.6739477890000001E-2</c:v>
                </c:pt>
                <c:pt idx="49">
                  <c:v>5.6818181818000003E-2</c:v>
                </c:pt>
                <c:pt idx="50">
                  <c:v>5.6569754338000003E-2</c:v>
                </c:pt>
                <c:pt idx="51">
                  <c:v>5.5904522613000003E-2</c:v>
                </c:pt>
                <c:pt idx="52">
                  <c:v>5.1899725812000003E-2</c:v>
                </c:pt>
                <c:pt idx="53">
                  <c:v>5.4487179487E-2</c:v>
                </c:pt>
                <c:pt idx="54">
                  <c:v>5.4923215897999998E-2</c:v>
                </c:pt>
                <c:pt idx="55">
                  <c:v>5.6718433489999998E-2</c:v>
                </c:pt>
                <c:pt idx="56">
                  <c:v>5.5143502095999997E-2</c:v>
                </c:pt>
                <c:pt idx="57">
                  <c:v>5.3097345131999998E-2</c:v>
                </c:pt>
                <c:pt idx="58">
                  <c:v>5.4221656861E-2</c:v>
                </c:pt>
                <c:pt idx="59">
                  <c:v>5.4334554334000001E-2</c:v>
                </c:pt>
                <c:pt idx="60">
                  <c:v>5.4239877769000001E-2</c:v>
                </c:pt>
                <c:pt idx="61">
                  <c:v>5.3928405392000001E-2</c:v>
                </c:pt>
                <c:pt idx="62">
                  <c:v>5.1114227832000002E-2</c:v>
                </c:pt>
                <c:pt idx="63">
                  <c:v>5.0108932460999997E-2</c:v>
                </c:pt>
                <c:pt idx="64">
                  <c:v>4.9315068492999999E-2</c:v>
                </c:pt>
                <c:pt idx="65">
                  <c:v>4.8890971571000003E-2</c:v>
                </c:pt>
                <c:pt idx="66">
                  <c:v>4.9747186429000001E-2</c:v>
                </c:pt>
                <c:pt idx="67">
                  <c:v>4.8168590065000003E-2</c:v>
                </c:pt>
                <c:pt idx="68">
                  <c:v>4.6594982078000002E-2</c:v>
                </c:pt>
                <c:pt idx="69">
                  <c:v>4.6145685997000002E-2</c:v>
                </c:pt>
                <c:pt idx="70">
                  <c:v>4.5429565854000001E-2</c:v>
                </c:pt>
                <c:pt idx="71">
                  <c:v>4.5498176233000003E-2</c:v>
                </c:pt>
                <c:pt idx="72">
                  <c:v>4.3089753772E-2</c:v>
                </c:pt>
                <c:pt idx="73">
                  <c:v>0.04</c:v>
                </c:pt>
                <c:pt idx="74">
                  <c:v>3.9991711562000001E-2</c:v>
                </c:pt>
                <c:pt idx="75">
                  <c:v>3.9110921136000003E-2</c:v>
                </c:pt>
                <c:pt idx="76">
                  <c:v>3.9707187222E-2</c:v>
                </c:pt>
                <c:pt idx="77">
                  <c:v>4.0801368189000001E-2</c:v>
                </c:pt>
                <c:pt idx="78">
                  <c:v>4.1830708660999999E-2</c:v>
                </c:pt>
                <c:pt idx="79">
                  <c:v>3.9827498730999999E-2</c:v>
                </c:pt>
                <c:pt idx="80">
                  <c:v>4.1358531908999997E-2</c:v>
                </c:pt>
                <c:pt idx="81">
                  <c:v>4.3564356435E-2</c:v>
                </c:pt>
                <c:pt idx="82">
                  <c:v>4.3717429066999998E-2</c:v>
                </c:pt>
                <c:pt idx="83">
                  <c:v>4.1104110410999997E-2</c:v>
                </c:pt>
                <c:pt idx="84">
                  <c:v>3.9965743647999999E-2</c:v>
                </c:pt>
                <c:pt idx="85">
                  <c:v>4.2527339003E-2</c:v>
                </c:pt>
                <c:pt idx="86">
                  <c:v>4.3423536814999997E-2</c:v>
                </c:pt>
                <c:pt idx="87">
                  <c:v>4.4012944982999999E-2</c:v>
                </c:pt>
                <c:pt idx="88">
                  <c:v>4.0567282321000001E-2</c:v>
                </c:pt>
                <c:pt idx="89">
                  <c:v>4.0695766326999998E-2</c:v>
                </c:pt>
                <c:pt idx="90">
                  <c:v>4.4348116037999999E-2</c:v>
                </c:pt>
                <c:pt idx="91">
                  <c:v>4.4117647057999997E-2</c:v>
                </c:pt>
                <c:pt idx="92">
                  <c:v>4.3909348441000001E-2</c:v>
                </c:pt>
                <c:pt idx="93">
                  <c:v>4.7685346327E-2</c:v>
                </c:pt>
                <c:pt idx="94">
                  <c:v>4.7683462969000001E-2</c:v>
                </c:pt>
                <c:pt idx="95">
                  <c:v>4.7843665767999997E-2</c:v>
                </c:pt>
                <c:pt idx="96">
                  <c:v>4.8993288590000003E-2</c:v>
                </c:pt>
                <c:pt idx="97">
                  <c:v>4.6838407493999999E-2</c:v>
                </c:pt>
                <c:pt idx="98">
                  <c:v>4.7555703358000002E-2</c:v>
                </c:pt>
                <c:pt idx="99">
                  <c:v>4.601029601E-2</c:v>
                </c:pt>
                <c:pt idx="100">
                  <c:v>4.2471042471000003E-2</c:v>
                </c:pt>
                <c:pt idx="101">
                  <c:v>4.2428198432999997E-2</c:v>
                </c:pt>
                <c:pt idx="102">
                  <c:v>4.4043092521999998E-2</c:v>
                </c:pt>
                <c:pt idx="103">
                  <c:v>4.3818466352999998E-2</c:v>
                </c:pt>
                <c:pt idx="104">
                  <c:v>4.6201550387000002E-2</c:v>
                </c:pt>
                <c:pt idx="105">
                  <c:v>4.3243243243000003E-2</c:v>
                </c:pt>
                <c:pt idx="106">
                  <c:v>4.3079743354E-2</c:v>
                </c:pt>
                <c:pt idx="107">
                  <c:v>4.3912780132999998E-2</c:v>
                </c:pt>
                <c:pt idx="108">
                  <c:v>4.2061611374000003E-2</c:v>
                </c:pt>
                <c:pt idx="109">
                  <c:v>4.1641701617000003E-2</c:v>
                </c:pt>
                <c:pt idx="110">
                  <c:v>4.1506077675000003E-2</c:v>
                </c:pt>
                <c:pt idx="111">
                  <c:v>3.9007092197999998E-2</c:v>
                </c:pt>
                <c:pt idx="112">
                  <c:v>4.3831640057999999E-2</c:v>
                </c:pt>
                <c:pt idx="113">
                  <c:v>4.4481512371000002E-2</c:v>
                </c:pt>
                <c:pt idx="114">
                  <c:v>4.5943588251999998E-2</c:v>
                </c:pt>
                <c:pt idx="115">
                  <c:v>4.7900650502E-2</c:v>
                </c:pt>
                <c:pt idx="116">
                  <c:v>4.8937360178000003E-2</c:v>
                </c:pt>
                <c:pt idx="117">
                  <c:v>4.8391385268999998E-2</c:v>
                </c:pt>
                <c:pt idx="118">
                  <c:v>5.1017905321999998E-2</c:v>
                </c:pt>
                <c:pt idx="119">
                  <c:v>5.0297210790999997E-2</c:v>
                </c:pt>
                <c:pt idx="120">
                  <c:v>5.1507814218999998E-2</c:v>
                </c:pt>
                <c:pt idx="121">
                  <c:v>5.0789154188000001E-2</c:v>
                </c:pt>
                <c:pt idx="122">
                  <c:v>5.0683033061999998E-2</c:v>
                </c:pt>
                <c:pt idx="123">
                  <c:v>4.8714998081999999E-2</c:v>
                </c:pt>
                <c:pt idx="124">
                  <c:v>4.8812664907000002E-2</c:v>
                </c:pt>
                <c:pt idx="125">
                  <c:v>4.5479653839000003E-2</c:v>
                </c:pt>
                <c:pt idx="126">
                  <c:v>4.4646098002999998E-2</c:v>
                </c:pt>
                <c:pt idx="127">
                  <c:v>4.2796005706E-2</c:v>
                </c:pt>
                <c:pt idx="128">
                  <c:v>4.0943789034999997E-2</c:v>
                </c:pt>
                <c:pt idx="129">
                  <c:v>4.0233722871000001E-2</c:v>
                </c:pt>
                <c:pt idx="130">
                  <c:v>4.0611724723000002E-2</c:v>
                </c:pt>
                <c:pt idx="131">
                  <c:v>4.1536863966000002E-2</c:v>
                </c:pt>
                <c:pt idx="132">
                  <c:v>4.0439872294999998E-2</c:v>
                </c:pt>
                <c:pt idx="133">
                  <c:v>3.9022611232000001E-2</c:v>
                </c:pt>
                <c:pt idx="134">
                  <c:v>3.8892050843999999E-2</c:v>
                </c:pt>
                <c:pt idx="135">
                  <c:v>4.0901835593999999E-2</c:v>
                </c:pt>
                <c:pt idx="136">
                  <c:v>4.1235019296999999E-2</c:v>
                </c:pt>
                <c:pt idx="137">
                  <c:v>4.0100250625999999E-2</c:v>
                </c:pt>
                <c:pt idx="138">
                  <c:v>3.7857603784999999E-2</c:v>
                </c:pt>
                <c:pt idx="139">
                  <c:v>4.1175161362000001E-2</c:v>
                </c:pt>
                <c:pt idx="140">
                  <c:v>4.3317972349999997E-2</c:v>
                </c:pt>
                <c:pt idx="141">
                  <c:v>4.3025676612999997E-2</c:v>
                </c:pt>
                <c:pt idx="142">
                  <c:v>4.0594760442999998E-2</c:v>
                </c:pt>
                <c:pt idx="143">
                  <c:v>4.1162227602000001E-2</c:v>
                </c:pt>
                <c:pt idx="144">
                  <c:v>4.1142303969000003E-2</c:v>
                </c:pt>
                <c:pt idx="145">
                  <c:v>4.3330087633000003E-2</c:v>
                </c:pt>
                <c:pt idx="146">
                  <c:v>4.3285784553999999E-2</c:v>
                </c:pt>
                <c:pt idx="147">
                  <c:v>4.3673571250000001E-2</c:v>
                </c:pt>
                <c:pt idx="148">
                  <c:v>4.1890166027999998E-2</c:v>
                </c:pt>
                <c:pt idx="149">
                  <c:v>4.2383765732999998E-2</c:v>
                </c:pt>
                <c:pt idx="150">
                  <c:v>4.3344447293999999E-2</c:v>
                </c:pt>
                <c:pt idx="151">
                  <c:v>4.5466287780000003E-2</c:v>
                </c:pt>
                <c:pt idx="152">
                  <c:v>4.5677419354E-2</c:v>
                </c:pt>
                <c:pt idx="153">
                  <c:v>4.4489383214999997E-2</c:v>
                </c:pt>
                <c:pt idx="154">
                  <c:v>4.1012658227000003E-2</c:v>
                </c:pt>
                <c:pt idx="155">
                  <c:v>4.2954031650000002E-2</c:v>
                </c:pt>
                <c:pt idx="156">
                  <c:v>4.6494464944000002E-2</c:v>
                </c:pt>
                <c:pt idx="157">
                  <c:v>4.7277227722E-2</c:v>
                </c:pt>
                <c:pt idx="158">
                  <c:v>4.6687851380999998E-2</c:v>
                </c:pt>
                <c:pt idx="159">
                  <c:v>4.4696786662999997E-2</c:v>
                </c:pt>
                <c:pt idx="160">
                  <c:v>4.4531441153999998E-2</c:v>
                </c:pt>
                <c:pt idx="161">
                  <c:v>4.5786653677000001E-2</c:v>
                </c:pt>
                <c:pt idx="162">
                  <c:v>4.7261269995000001E-2</c:v>
                </c:pt>
                <c:pt idx="163">
                  <c:v>4.4460641399000002E-2</c:v>
                </c:pt>
                <c:pt idx="164">
                  <c:v>4.1062801932000001E-2</c:v>
                </c:pt>
                <c:pt idx="165">
                  <c:v>3.9603960395999997E-2</c:v>
                </c:pt>
                <c:pt idx="166">
                  <c:v>4.0056550423999998E-2</c:v>
                </c:pt>
                <c:pt idx="167">
                  <c:v>4.0411118896999998E-2</c:v>
                </c:pt>
                <c:pt idx="168">
                  <c:v>4.3072014584999999E-2</c:v>
                </c:pt>
                <c:pt idx="169">
                  <c:v>4.3726653482E-2</c:v>
                </c:pt>
                <c:pt idx="170">
                  <c:v>4.2356482475999997E-2</c:v>
                </c:pt>
                <c:pt idx="171">
                  <c:v>4.2774086378000002E-2</c:v>
                </c:pt>
                <c:pt idx="172">
                  <c:v>4.3877551020000002E-2</c:v>
                </c:pt>
                <c:pt idx="173">
                  <c:v>4.4574425171E-2</c:v>
                </c:pt>
                <c:pt idx="174">
                  <c:v>4.3275761692000002E-2</c:v>
                </c:pt>
                <c:pt idx="175">
                  <c:v>4.2159481114000003E-2</c:v>
                </c:pt>
                <c:pt idx="176">
                  <c:v>4.1603630862000002E-2</c:v>
                </c:pt>
                <c:pt idx="177">
                  <c:v>4.2541537337000002E-2</c:v>
                </c:pt>
                <c:pt idx="178">
                  <c:v>4.1570026761000002E-2</c:v>
                </c:pt>
                <c:pt idx="179">
                  <c:v>4.1666666666000003E-2</c:v>
                </c:pt>
                <c:pt idx="180">
                  <c:v>4.1444539981999998E-2</c:v>
                </c:pt>
                <c:pt idx="181">
                  <c:v>4.0495867768000002E-2</c:v>
                </c:pt>
                <c:pt idx="182">
                  <c:v>4.0179286056999997E-2</c:v>
                </c:pt>
                <c:pt idx="183">
                  <c:v>3.9253231211000002E-2</c:v>
                </c:pt>
                <c:pt idx="184">
                  <c:v>4.0031897926000003E-2</c:v>
                </c:pt>
                <c:pt idx="185">
                  <c:v>4.1480536056000002E-2</c:v>
                </c:pt>
                <c:pt idx="186">
                  <c:v>3.9530084139999998E-2</c:v>
                </c:pt>
                <c:pt idx="187">
                  <c:v>3.7881169442999997E-2</c:v>
                </c:pt>
                <c:pt idx="188">
                  <c:v>3.8399999999999997E-2</c:v>
                </c:pt>
                <c:pt idx="189">
                  <c:v>3.640776699E-2</c:v>
                </c:pt>
                <c:pt idx="190">
                  <c:v>3.6091410559000003E-2</c:v>
                </c:pt>
                <c:pt idx="191">
                  <c:v>3.5573744687000003E-2</c:v>
                </c:pt>
                <c:pt idx="192">
                  <c:v>3.3644859813E-2</c:v>
                </c:pt>
                <c:pt idx="193">
                  <c:v>3.5213462137000003E-2</c:v>
                </c:pt>
                <c:pt idx="194">
                  <c:v>3.4585756955999997E-2</c:v>
                </c:pt>
                <c:pt idx="195">
                  <c:v>3.3060453400000002E-2</c:v>
                </c:pt>
                <c:pt idx="196">
                  <c:v>3.4307496823000001E-2</c:v>
                </c:pt>
                <c:pt idx="197">
                  <c:v>3.3061889249999997E-2</c:v>
                </c:pt>
                <c:pt idx="198">
                  <c:v>3.1732845986999998E-2</c:v>
                </c:pt>
                <c:pt idx="199">
                  <c:v>3.3481380252000002E-2</c:v>
                </c:pt>
                <c:pt idx="200">
                  <c:v>3.1916769529000001E-2</c:v>
                </c:pt>
                <c:pt idx="201">
                  <c:v>3.2443090159000001E-2</c:v>
                </c:pt>
                <c:pt idx="202">
                  <c:v>3.5759897828000001E-2</c:v>
                </c:pt>
                <c:pt idx="203">
                  <c:v>3.5331704566000002E-2</c:v>
                </c:pt>
                <c:pt idx="204">
                  <c:v>3.6216528606999997E-2</c:v>
                </c:pt>
                <c:pt idx="205">
                  <c:v>3.6210608728999998E-2</c:v>
                </c:pt>
                <c:pt idx="206">
                  <c:v>3.4916201117000001E-2</c:v>
                </c:pt>
                <c:pt idx="207">
                  <c:v>3.4902273632999997E-2</c:v>
                </c:pt>
                <c:pt idx="208">
                  <c:v>3.5389282102999998E-2</c:v>
                </c:pt>
                <c:pt idx="209">
                  <c:v>3.2923525734000002E-2</c:v>
                </c:pt>
                <c:pt idx="210">
                  <c:v>3.1749414019999998E-2</c:v>
                </c:pt>
                <c:pt idx="211">
                  <c:v>3.2804692591000002E-2</c:v>
                </c:pt>
                <c:pt idx="212">
                  <c:v>3.2940129089E-2</c:v>
                </c:pt>
                <c:pt idx="213">
                  <c:v>3.3574259734000002E-2</c:v>
                </c:pt>
                <c:pt idx="214">
                  <c:v>3.4285714284999998E-2</c:v>
                </c:pt>
                <c:pt idx="215">
                  <c:v>3.3743070618999997E-2</c:v>
                </c:pt>
                <c:pt idx="216">
                  <c:v>3.5167785234E-2</c:v>
                </c:pt>
                <c:pt idx="217">
                  <c:v>3.5338548690999998E-2</c:v>
                </c:pt>
                <c:pt idx="218">
                  <c:v>3.4173669466999998E-2</c:v>
                </c:pt>
                <c:pt idx="219">
                  <c:v>3.6643026003999997E-2</c:v>
                </c:pt>
                <c:pt idx="220">
                  <c:v>3.5724918129999998E-2</c:v>
                </c:pt>
                <c:pt idx="221">
                  <c:v>3.8582183185999999E-2</c:v>
                </c:pt>
                <c:pt idx="222">
                  <c:v>4.0303931284999997E-2</c:v>
                </c:pt>
                <c:pt idx="223">
                  <c:v>4.2262678802999998E-2</c:v>
                </c:pt>
                <c:pt idx="224">
                  <c:v>4.6602632514999999E-2</c:v>
                </c:pt>
                <c:pt idx="225">
                  <c:v>4.5098770033000002E-2</c:v>
                </c:pt>
                <c:pt idx="226">
                  <c:v>4.1138023836000001E-2</c:v>
                </c:pt>
                <c:pt idx="227">
                  <c:v>4.4272948822000002E-2</c:v>
                </c:pt>
                <c:pt idx="228">
                  <c:v>4.2131350680999997E-2</c:v>
                </c:pt>
                <c:pt idx="229">
                  <c:v>4.0893760538999999E-2</c:v>
                </c:pt>
                <c:pt idx="230">
                  <c:v>3.9393939393000003E-2</c:v>
                </c:pt>
                <c:pt idx="231">
                  <c:v>3.8410596025999999E-2</c:v>
                </c:pt>
                <c:pt idx="232">
                  <c:v>4.0687160940000001E-2</c:v>
                </c:pt>
                <c:pt idx="233">
                  <c:v>4.4769085767999997E-2</c:v>
                </c:pt>
                <c:pt idx="234">
                  <c:v>4.4783464565999999E-2</c:v>
                </c:pt>
                <c:pt idx="235">
                  <c:v>4.5478036175E-2</c:v>
                </c:pt>
                <c:pt idx="236">
                  <c:v>4.9197860962000003E-2</c:v>
                </c:pt>
                <c:pt idx="237">
                  <c:v>4.7217537942000003E-2</c:v>
                </c:pt>
                <c:pt idx="238">
                  <c:v>4.6497939964E-2</c:v>
                </c:pt>
                <c:pt idx="239">
                  <c:v>5.0219711235999998E-2</c:v>
                </c:pt>
                <c:pt idx="240">
                  <c:v>4.8253968252999997E-2</c:v>
                </c:pt>
                <c:pt idx="241">
                  <c:v>4.6496398166E-2</c:v>
                </c:pt>
                <c:pt idx="242">
                  <c:v>4.1474654377E-2</c:v>
                </c:pt>
                <c:pt idx="243">
                  <c:v>3.6072144287999999E-2</c:v>
                </c:pt>
                <c:pt idx="244">
                  <c:v>3.8952316990999998E-2</c:v>
                </c:pt>
                <c:pt idx="245">
                  <c:v>4.0396881644000002E-2</c:v>
                </c:pt>
                <c:pt idx="246">
                  <c:v>3.6710719529999998E-2</c:v>
                </c:pt>
                <c:pt idx="247">
                  <c:v>3.4883720930000001E-2</c:v>
                </c:pt>
                <c:pt idx="248">
                  <c:v>3.8065027755000001E-2</c:v>
                </c:pt>
                <c:pt idx="249">
                  <c:v>4.1841004183999997E-2</c:v>
                </c:pt>
                <c:pt idx="250">
                  <c:v>4.6086956520999998E-2</c:v>
                </c:pt>
                <c:pt idx="251">
                  <c:v>4.5751633985999997E-2</c:v>
                </c:pt>
                <c:pt idx="252">
                  <c:v>4.5279383429000002E-2</c:v>
                </c:pt>
                <c:pt idx="253">
                  <c:v>4.7283702213000003E-2</c:v>
                </c:pt>
                <c:pt idx="254">
                  <c:v>4.7669491525000003E-2</c:v>
                </c:pt>
                <c:pt idx="255">
                  <c:v>4.4673539518000002E-2</c:v>
                </c:pt>
                <c:pt idx="256">
                  <c:v>4.3735224586000002E-2</c:v>
                </c:pt>
                <c:pt idx="257">
                  <c:v>3.9555006179999998E-2</c:v>
                </c:pt>
                <c:pt idx="258">
                  <c:v>3.6684782607999997E-2</c:v>
                </c:pt>
                <c:pt idx="259">
                  <c:v>3.9881831610000001E-2</c:v>
                </c:pt>
                <c:pt idx="260">
                  <c:v>3.9473684209999998E-2</c:v>
                </c:pt>
                <c:pt idx="261">
                  <c:v>3.7837837837000003E-2</c:v>
                </c:pt>
                <c:pt idx="262">
                  <c:v>4.1745730549999999E-2</c:v>
                </c:pt>
                <c:pt idx="263">
                  <c:v>5.2313883298999997E-2</c:v>
                </c:pt>
                <c:pt idx="264">
                  <c:v>5.4229934924000002E-2</c:v>
                </c:pt>
                <c:pt idx="265">
                  <c:v>5.3012048191999998E-2</c:v>
                </c:pt>
                <c:pt idx="266">
                  <c:v>4.8223350253000001E-2</c:v>
                </c:pt>
                <c:pt idx="267">
                  <c:v>4.9222797927000003E-2</c:v>
                </c:pt>
                <c:pt idx="268">
                  <c:v>5.8988764043999997E-2</c:v>
                </c:pt>
                <c:pt idx="269">
                  <c:v>5.0156739811000002E-2</c:v>
                </c:pt>
                <c:pt idx="270">
                  <c:v>3.3003300329999999E-2</c:v>
                </c:pt>
                <c:pt idx="271">
                  <c:v>4.6511627905999997E-2</c:v>
                </c:pt>
                <c:pt idx="272">
                  <c:v>5.2631578946999998E-2</c:v>
                </c:pt>
                <c:pt idx="273">
                  <c:v>5.5118110236000002E-2</c:v>
                </c:pt>
                <c:pt idx="274">
                  <c:v>4.7619047619000002E-2</c:v>
                </c:pt>
                <c:pt idx="275">
                  <c:v>4.6948356806999998E-2</c:v>
                </c:pt>
                <c:pt idx="276">
                  <c:v>5.9701492537000002E-2</c:v>
                </c:pt>
                <c:pt idx="277">
                  <c:v>5.5837563451000001E-2</c:v>
                </c:pt>
                <c:pt idx="278">
                  <c:v>3.2967032967000001E-2</c:v>
                </c:pt>
                <c:pt idx="279">
                  <c:v>3.2258064516000003E-2</c:v>
                </c:pt>
                <c:pt idx="280">
                  <c:v>2.6666666666E-2</c:v>
                </c:pt>
                <c:pt idx="281">
                  <c:v>3.1496062992000001E-2</c:v>
                </c:pt>
                <c:pt idx="282">
                  <c:v>4.8000000000000001E-2</c:v>
                </c:pt>
                <c:pt idx="283">
                  <c:v>3.7383177570000002E-2</c:v>
                </c:pt>
                <c:pt idx="284">
                  <c:v>0.05</c:v>
                </c:pt>
                <c:pt idx="285">
                  <c:v>5.3763440859999997E-2</c:v>
                </c:pt>
                <c:pt idx="286">
                  <c:v>5.6818181818000003E-2</c:v>
                </c:pt>
                <c:pt idx="287">
                  <c:v>8.1081081080999998E-2</c:v>
                </c:pt>
                <c:pt idx="288">
                  <c:v>9.2307692307000005E-2</c:v>
                </c:pt>
                <c:pt idx="289">
                  <c:v>4.2253521125999997E-2</c:v>
                </c:pt>
                <c:pt idx="290">
                  <c:v>5.7971014491999998E-2</c:v>
                </c:pt>
                <c:pt idx="291">
                  <c:v>5.6338028169E-2</c:v>
                </c:pt>
                <c:pt idx="292">
                  <c:v>7.3529411764000005E-2</c:v>
                </c:pt>
                <c:pt idx="293">
                  <c:v>7.4626865671000006E-2</c:v>
                </c:pt>
                <c:pt idx="294">
                  <c:v>6.1538461538000001E-2</c:v>
                </c:pt>
                <c:pt idx="295">
                  <c:v>4.5454545454000003E-2</c:v>
                </c:pt>
                <c:pt idx="296">
                  <c:v>8.6956521738999995E-2</c:v>
                </c:pt>
                <c:pt idx="297">
                  <c:v>6.8181818180999998E-2</c:v>
                </c:pt>
                <c:pt idx="298">
                  <c:v>5.5555555554999997E-2</c:v>
                </c:pt>
                <c:pt idx="299">
                  <c:v>2.7777777776999999E-2</c:v>
                </c:pt>
                <c:pt idx="300">
                  <c:v>5.7142857142E-2</c:v>
                </c:pt>
                <c:pt idx="301">
                  <c:v>6.6666666666000005E-2</c:v>
                </c:pt>
                <c:pt idx="302">
                  <c:v>0.12121212121200001</c:v>
                </c:pt>
                <c:pt idx="303">
                  <c:v>9.0909090908999998E-2</c:v>
                </c:pt>
                <c:pt idx="304">
                  <c:v>0.10344827586200001</c:v>
                </c:pt>
                <c:pt idx="305">
                  <c:v>0.10344827586200001</c:v>
                </c:pt>
                <c:pt idx="306">
                  <c:v>0.1</c:v>
                </c:pt>
                <c:pt idx="307">
                  <c:v>0.12</c:v>
                </c:pt>
                <c:pt idx="309">
                  <c:v>0.12903225806400001</c:v>
                </c:pt>
                <c:pt idx="310">
                  <c:v>0.08</c:v>
                </c:pt>
                <c:pt idx="311">
                  <c:v>7.6923076923000003E-2</c:v>
                </c:pt>
                <c:pt idx="312">
                  <c:v>0.111111111111</c:v>
                </c:pt>
                <c:pt idx="313">
                  <c:v>0.1</c:v>
                </c:pt>
                <c:pt idx="314">
                  <c:v>8.5714285713999999E-2</c:v>
                </c:pt>
                <c:pt idx="316">
                  <c:v>0.105263157894</c:v>
                </c:pt>
                <c:pt idx="317">
                  <c:v>8.3333333332999998E-2</c:v>
                </c:pt>
                <c:pt idx="318">
                  <c:v>0.105263157894</c:v>
                </c:pt>
                <c:pt idx="319">
                  <c:v>0.10810810810800001</c:v>
                </c:pt>
                <c:pt idx="320">
                  <c:v>8.3333333332999998E-2</c:v>
                </c:pt>
                <c:pt idx="321">
                  <c:v>9.7560975608999997E-2</c:v>
                </c:pt>
                <c:pt idx="322">
                  <c:v>0.13157894736799999</c:v>
                </c:pt>
                <c:pt idx="323">
                  <c:v>7.6923076923000003E-2</c:v>
                </c:pt>
                <c:pt idx="324">
                  <c:v>7.6923076923000003E-2</c:v>
                </c:pt>
                <c:pt idx="325">
                  <c:v>7.8947368421000003E-2</c:v>
                </c:pt>
                <c:pt idx="326">
                  <c:v>7.4999999999999997E-2</c:v>
                </c:pt>
                <c:pt idx="327">
                  <c:v>6.5217391304000005E-2</c:v>
                </c:pt>
                <c:pt idx="328">
                  <c:v>0.06</c:v>
                </c:pt>
                <c:pt idx="329">
                  <c:v>4.1666666666000003E-2</c:v>
                </c:pt>
                <c:pt idx="330">
                  <c:v>6.1224489795000003E-2</c:v>
                </c:pt>
                <c:pt idx="331">
                  <c:v>7.4074074074000004E-2</c:v>
                </c:pt>
                <c:pt idx="332">
                  <c:v>9.4339622641000001E-2</c:v>
                </c:pt>
                <c:pt idx="333">
                  <c:v>9.6153846153000003E-2</c:v>
                </c:pt>
                <c:pt idx="334">
                  <c:v>0.125</c:v>
                </c:pt>
                <c:pt idx="335">
                  <c:v>0.116279069767</c:v>
                </c:pt>
                <c:pt idx="336">
                  <c:v>0.13953488372</c:v>
                </c:pt>
                <c:pt idx="337">
                  <c:v>0.125</c:v>
                </c:pt>
                <c:pt idx="338">
                  <c:v>0.125</c:v>
                </c:pt>
                <c:pt idx="339">
                  <c:v>8.8888888888000006E-2</c:v>
                </c:pt>
                <c:pt idx="340">
                  <c:v>8.6956521738999995E-2</c:v>
                </c:pt>
                <c:pt idx="341">
                  <c:v>6.8181818180999998E-2</c:v>
                </c:pt>
                <c:pt idx="342">
                  <c:v>9.5238095238000003E-2</c:v>
                </c:pt>
                <c:pt idx="343">
                  <c:v>6.5217391304000005E-2</c:v>
                </c:pt>
                <c:pt idx="344">
                  <c:v>9.7560975608999997E-2</c:v>
                </c:pt>
                <c:pt idx="345">
                  <c:v>0.116279069767</c:v>
                </c:pt>
                <c:pt idx="346">
                  <c:v>0.1</c:v>
                </c:pt>
                <c:pt idx="347">
                  <c:v>9.3023255813E-2</c:v>
                </c:pt>
                <c:pt idx="348">
                  <c:v>0.10869565217300001</c:v>
                </c:pt>
                <c:pt idx="349">
                  <c:v>0.102040816326</c:v>
                </c:pt>
                <c:pt idx="350">
                  <c:v>0.102040816326</c:v>
                </c:pt>
                <c:pt idx="351">
                  <c:v>5.8823529410999997E-2</c:v>
                </c:pt>
                <c:pt idx="352">
                  <c:v>7.1428571428000007E-2</c:v>
                </c:pt>
                <c:pt idx="353">
                  <c:v>8.3333333332999998E-2</c:v>
                </c:pt>
                <c:pt idx="354">
                  <c:v>8.7719298244999994E-2</c:v>
                </c:pt>
                <c:pt idx="355">
                  <c:v>6.8965517241000002E-2</c:v>
                </c:pt>
                <c:pt idx="356">
                  <c:v>7.1428571428000007E-2</c:v>
                </c:pt>
                <c:pt idx="357">
                  <c:v>8.3333333332999998E-2</c:v>
                </c:pt>
                <c:pt idx="358">
                  <c:v>9.8360655736999994E-2</c:v>
                </c:pt>
                <c:pt idx="359">
                  <c:v>6.8965517241000002E-2</c:v>
                </c:pt>
                <c:pt idx="360">
                  <c:v>5.4545454544999997E-2</c:v>
                </c:pt>
                <c:pt idx="361">
                  <c:v>5.5555555554999997E-2</c:v>
                </c:pt>
                <c:pt idx="362">
                  <c:v>5.8823529410999997E-2</c:v>
                </c:pt>
                <c:pt idx="363">
                  <c:v>4.2553191488999997E-2</c:v>
                </c:pt>
                <c:pt idx="364">
                  <c:v>2.2222222222000002E-2</c:v>
                </c:pt>
                <c:pt idx="365">
                  <c:v>0.02</c:v>
                </c:pt>
                <c:pt idx="366">
                  <c:v>3.7735849055999998E-2</c:v>
                </c:pt>
                <c:pt idx="367">
                  <c:v>8.3333333332999998E-2</c:v>
                </c:pt>
                <c:pt idx="368">
                  <c:v>8.0645161290000003E-2</c:v>
                </c:pt>
                <c:pt idx="369">
                  <c:v>0.101449275362</c:v>
                </c:pt>
                <c:pt idx="370">
                  <c:v>0.10975609756</c:v>
                </c:pt>
                <c:pt idx="371">
                  <c:v>0.116279069767</c:v>
                </c:pt>
                <c:pt idx="372">
                  <c:v>0.10465116279</c:v>
                </c:pt>
                <c:pt idx="373">
                  <c:v>8.6956521738999995E-2</c:v>
                </c:pt>
                <c:pt idx="374">
                  <c:v>7.6923076923000003E-2</c:v>
                </c:pt>
                <c:pt idx="375">
                  <c:v>7.2916666665999996E-2</c:v>
                </c:pt>
                <c:pt idx="376">
                  <c:v>5.8252427183999998E-2</c:v>
                </c:pt>
                <c:pt idx="377">
                  <c:v>6.9565217390999995E-2</c:v>
                </c:pt>
                <c:pt idx="378">
                  <c:v>7.0866141731999996E-2</c:v>
                </c:pt>
                <c:pt idx="379">
                  <c:v>6.9767441860000001E-2</c:v>
                </c:pt>
                <c:pt idx="380">
                  <c:v>8.3333333332999998E-2</c:v>
                </c:pt>
                <c:pt idx="381">
                  <c:v>6.6666666666000005E-2</c:v>
                </c:pt>
                <c:pt idx="382">
                  <c:v>6.8027210884000003E-2</c:v>
                </c:pt>
                <c:pt idx="383">
                  <c:v>7.6388888887999995E-2</c:v>
                </c:pt>
                <c:pt idx="384">
                  <c:v>5.0724637681000002E-2</c:v>
                </c:pt>
                <c:pt idx="385">
                  <c:v>3.7878787878000003E-2</c:v>
                </c:pt>
                <c:pt idx="386">
                  <c:v>4.5454545454000003E-2</c:v>
                </c:pt>
                <c:pt idx="387">
                  <c:v>4.4776119401999999E-2</c:v>
                </c:pt>
                <c:pt idx="388">
                  <c:v>6.1538461538000001E-2</c:v>
                </c:pt>
                <c:pt idx="389">
                  <c:v>7.8014184397000003E-2</c:v>
                </c:pt>
                <c:pt idx="390">
                  <c:v>6.9930069930000005E-2</c:v>
                </c:pt>
                <c:pt idx="391">
                  <c:v>8.4415584414999995E-2</c:v>
                </c:pt>
                <c:pt idx="392">
                  <c:v>0.1059602649</c:v>
                </c:pt>
                <c:pt idx="393">
                  <c:v>0.1</c:v>
                </c:pt>
                <c:pt idx="394">
                  <c:v>0.10497237568999999</c:v>
                </c:pt>
                <c:pt idx="395">
                  <c:v>9.1891891890999999E-2</c:v>
                </c:pt>
                <c:pt idx="396">
                  <c:v>7.8125E-2</c:v>
                </c:pt>
                <c:pt idx="397">
                  <c:v>9.4527363183999999E-2</c:v>
                </c:pt>
                <c:pt idx="398">
                  <c:v>7.7272727272000005E-2</c:v>
                </c:pt>
                <c:pt idx="399">
                  <c:v>9.4262295080999994E-2</c:v>
                </c:pt>
                <c:pt idx="400">
                  <c:v>0.12595419847299999</c:v>
                </c:pt>
                <c:pt idx="401">
                  <c:v>0.118959107806</c:v>
                </c:pt>
                <c:pt idx="402">
                  <c:v>0.114186851211</c:v>
                </c:pt>
                <c:pt idx="403">
                  <c:v>0.123287671232</c:v>
                </c:pt>
                <c:pt idx="404">
                  <c:v>0.109634551495</c:v>
                </c:pt>
                <c:pt idx="405">
                  <c:v>0.11585365853600001</c:v>
                </c:pt>
                <c:pt idx="406">
                  <c:v>9.7142857141999994E-2</c:v>
                </c:pt>
                <c:pt idx="407">
                  <c:v>7.5208913648999995E-2</c:v>
                </c:pt>
                <c:pt idx="408">
                  <c:v>7.9575596816000002E-2</c:v>
                </c:pt>
                <c:pt idx="409">
                  <c:v>7.5980392155999998E-2</c:v>
                </c:pt>
                <c:pt idx="410">
                  <c:v>6.25E-2</c:v>
                </c:pt>
                <c:pt idx="411">
                  <c:v>6.4377682403E-2</c:v>
                </c:pt>
                <c:pt idx="412">
                  <c:v>6.1420345489000001E-2</c:v>
                </c:pt>
                <c:pt idx="413">
                  <c:v>5.2545155992999998E-2</c:v>
                </c:pt>
                <c:pt idx="414">
                  <c:v>4.6757164403999997E-2</c:v>
                </c:pt>
                <c:pt idx="415">
                  <c:v>4.3243243243000003E-2</c:v>
                </c:pt>
                <c:pt idx="416">
                  <c:v>4.4009779951E-2</c:v>
                </c:pt>
                <c:pt idx="417">
                  <c:v>5.2325581395000001E-2</c:v>
                </c:pt>
                <c:pt idx="418">
                  <c:v>5.9912854029999997E-2</c:v>
                </c:pt>
                <c:pt idx="419">
                  <c:v>5.5944055944000003E-2</c:v>
                </c:pt>
                <c:pt idx="420">
                  <c:v>5.2111410600999997E-2</c:v>
                </c:pt>
                <c:pt idx="421">
                  <c:v>5.7443365694999998E-2</c:v>
                </c:pt>
                <c:pt idx="422">
                  <c:v>5.5031446540000001E-2</c:v>
                </c:pt>
                <c:pt idx="423">
                  <c:v>4.9204052098000002E-2</c:v>
                </c:pt>
                <c:pt idx="424">
                  <c:v>4.6607265250000002E-2</c:v>
                </c:pt>
                <c:pt idx="425">
                  <c:v>4.1881443297999997E-2</c:v>
                </c:pt>
                <c:pt idx="426">
                  <c:v>4.4647967944999999E-2</c:v>
                </c:pt>
                <c:pt idx="427">
                  <c:v>4.8910154173000001E-2</c:v>
                </c:pt>
                <c:pt idx="428">
                  <c:v>4.2941757156000002E-2</c:v>
                </c:pt>
                <c:pt idx="429">
                  <c:v>4.2391789378999997E-2</c:v>
                </c:pt>
                <c:pt idx="430">
                  <c:v>4.7639484978000003E-2</c:v>
                </c:pt>
                <c:pt idx="431">
                  <c:v>4.9979347377000001E-2</c:v>
                </c:pt>
                <c:pt idx="432">
                  <c:v>5.1282051282000002E-2</c:v>
                </c:pt>
                <c:pt idx="433">
                  <c:v>5.0381679388999998E-2</c:v>
                </c:pt>
                <c:pt idx="434">
                  <c:v>4.6914471308999998E-2</c:v>
                </c:pt>
                <c:pt idx="435">
                  <c:v>5.1156271899000003E-2</c:v>
                </c:pt>
                <c:pt idx="436">
                  <c:v>5.1636854539E-2</c:v>
                </c:pt>
                <c:pt idx="437">
                  <c:v>4.9426020408000003E-2</c:v>
                </c:pt>
                <c:pt idx="438">
                  <c:v>4.7957920792000001E-2</c:v>
                </c:pt>
                <c:pt idx="439">
                  <c:v>4.8240291262000003E-2</c:v>
                </c:pt>
                <c:pt idx="440">
                  <c:v>4.3739279588000002E-2</c:v>
                </c:pt>
                <c:pt idx="441">
                  <c:v>4.2647466075000001E-2</c:v>
                </c:pt>
                <c:pt idx="442">
                  <c:v>4.4247787609999999E-2</c:v>
                </c:pt>
                <c:pt idx="443">
                  <c:v>4.4367693941999999E-2</c:v>
                </c:pt>
                <c:pt idx="444">
                  <c:v>4.2780748663000003E-2</c:v>
                </c:pt>
                <c:pt idx="445">
                  <c:v>4.4274053920000001E-2</c:v>
                </c:pt>
                <c:pt idx="446">
                  <c:v>4.5021438779999999E-2</c:v>
                </c:pt>
                <c:pt idx="447">
                  <c:v>4.8435689455E-2</c:v>
                </c:pt>
                <c:pt idx="448">
                  <c:v>5.0374404355999998E-2</c:v>
                </c:pt>
                <c:pt idx="449">
                  <c:v>4.5757250268000003E-2</c:v>
                </c:pt>
                <c:pt idx="450">
                  <c:v>4.5887079720000001E-2</c:v>
                </c:pt>
                <c:pt idx="451">
                  <c:v>4.7093144405000002E-2</c:v>
                </c:pt>
                <c:pt idx="452">
                  <c:v>4.4871794871000001E-2</c:v>
                </c:pt>
                <c:pt idx="453">
                  <c:v>4.3055268059999999E-2</c:v>
                </c:pt>
                <c:pt idx="454">
                  <c:v>4.1640641265E-2</c:v>
                </c:pt>
                <c:pt idx="455">
                  <c:v>4.0292275574000003E-2</c:v>
                </c:pt>
                <c:pt idx="456">
                  <c:v>4.1500733598000002E-2</c:v>
                </c:pt>
                <c:pt idx="457">
                  <c:v>3.9080459769999999E-2</c:v>
                </c:pt>
                <c:pt idx="458">
                  <c:v>3.8733147869999998E-2</c:v>
                </c:pt>
                <c:pt idx="459">
                  <c:v>3.7085514834000001E-2</c:v>
                </c:pt>
                <c:pt idx="460">
                  <c:v>3.6671058409999999E-2</c:v>
                </c:pt>
                <c:pt idx="461">
                  <c:v>3.7335121842000003E-2</c:v>
                </c:pt>
                <c:pt idx="462">
                  <c:v>3.6774783004999999E-2</c:v>
                </c:pt>
                <c:pt idx="463">
                  <c:v>3.4402603439999999E-2</c:v>
                </c:pt>
                <c:pt idx="464">
                  <c:v>3.4557757369999997E-2</c:v>
                </c:pt>
                <c:pt idx="465">
                  <c:v>3.2695567933999997E-2</c:v>
                </c:pt>
                <c:pt idx="466">
                  <c:v>3.4652248709000001E-2</c:v>
                </c:pt>
                <c:pt idx="467">
                  <c:v>3.4972123669000002E-2</c:v>
                </c:pt>
                <c:pt idx="468">
                  <c:v>3.3827738745000002E-2</c:v>
                </c:pt>
                <c:pt idx="469">
                  <c:v>3.6568970153000001E-2</c:v>
                </c:pt>
                <c:pt idx="470">
                  <c:v>3.8041958041000003E-2</c:v>
                </c:pt>
                <c:pt idx="471">
                  <c:v>3.7909247558E-2</c:v>
                </c:pt>
                <c:pt idx="472">
                  <c:v>3.8984587488000003E-2</c:v>
                </c:pt>
                <c:pt idx="473">
                  <c:v>3.8182391921000002E-2</c:v>
                </c:pt>
                <c:pt idx="474">
                  <c:v>3.8387096773999999E-2</c:v>
                </c:pt>
                <c:pt idx="475">
                  <c:v>4.0788109229000002E-2</c:v>
                </c:pt>
                <c:pt idx="476">
                  <c:v>3.9152298850000003E-2</c:v>
                </c:pt>
                <c:pt idx="477">
                  <c:v>4.0754716981E-2</c:v>
                </c:pt>
                <c:pt idx="478">
                  <c:v>4.6172539488999999E-2</c:v>
                </c:pt>
                <c:pt idx="479">
                  <c:v>4.9541284402999999E-2</c:v>
                </c:pt>
                <c:pt idx="480">
                  <c:v>5.1173708919999998E-2</c:v>
                </c:pt>
                <c:pt idx="481">
                  <c:v>5.2253116011000002E-2</c:v>
                </c:pt>
                <c:pt idx="482">
                  <c:v>5.2216748767999997E-2</c:v>
                </c:pt>
                <c:pt idx="483">
                  <c:v>5.7040082218999998E-2</c:v>
                </c:pt>
                <c:pt idx="484">
                  <c:v>5.8792924036999997E-2</c:v>
                </c:pt>
                <c:pt idx="485">
                  <c:v>5.6643726839E-2</c:v>
                </c:pt>
                <c:pt idx="486">
                  <c:v>5.4639175257000003E-2</c:v>
                </c:pt>
                <c:pt idx="487">
                  <c:v>5.8915537017000003E-2</c:v>
                </c:pt>
                <c:pt idx="488">
                  <c:v>5.7050592034000001E-2</c:v>
                </c:pt>
                <c:pt idx="489">
                  <c:v>5.4669703872E-2</c:v>
                </c:pt>
                <c:pt idx="490">
                  <c:v>4.9295774647000003E-2</c:v>
                </c:pt>
                <c:pt idx="491">
                  <c:v>4.3692307691999999E-2</c:v>
                </c:pt>
                <c:pt idx="492">
                  <c:v>4.4585987261E-2</c:v>
                </c:pt>
                <c:pt idx="493">
                  <c:v>4.8461034707999999E-2</c:v>
                </c:pt>
                <c:pt idx="494">
                  <c:v>4.4282881692000002E-2</c:v>
                </c:pt>
                <c:pt idx="495">
                  <c:v>4.3835616437999998E-2</c:v>
                </c:pt>
                <c:pt idx="496">
                  <c:v>5.1508462104000001E-2</c:v>
                </c:pt>
                <c:pt idx="497">
                  <c:v>5.5423594615000002E-2</c:v>
                </c:pt>
                <c:pt idx="498">
                  <c:v>6.1365600691E-2</c:v>
                </c:pt>
                <c:pt idx="499">
                  <c:v>6.165004533E-2</c:v>
                </c:pt>
                <c:pt idx="500">
                  <c:v>6.1302681992000001E-2</c:v>
                </c:pt>
                <c:pt idx="501">
                  <c:v>6.0265577118999998E-2</c:v>
                </c:pt>
                <c:pt idx="502">
                  <c:v>5.9498956158000001E-2</c:v>
                </c:pt>
                <c:pt idx="503">
                  <c:v>5.4989816699999999E-2</c:v>
                </c:pt>
                <c:pt idx="504">
                  <c:v>4.9049049049000003E-2</c:v>
                </c:pt>
                <c:pt idx="505">
                  <c:v>5.2532833020000003E-2</c:v>
                </c:pt>
                <c:pt idx="506">
                  <c:v>5.0566695726999997E-2</c:v>
                </c:pt>
                <c:pt idx="507">
                  <c:v>5.0119331741999999E-2</c:v>
                </c:pt>
                <c:pt idx="508">
                  <c:v>5.0936329587999998E-2</c:v>
                </c:pt>
                <c:pt idx="509">
                  <c:v>5.6865464631999998E-2</c:v>
                </c:pt>
                <c:pt idx="510">
                  <c:v>5.3560176432999998E-2</c:v>
                </c:pt>
                <c:pt idx="511">
                  <c:v>5.3302433370999998E-2</c:v>
                </c:pt>
                <c:pt idx="512">
                  <c:v>4.9014384655999998E-2</c:v>
                </c:pt>
                <c:pt idx="513">
                  <c:v>4.8529411763999997E-2</c:v>
                </c:pt>
                <c:pt idx="514">
                  <c:v>4.9001814881999999E-2</c:v>
                </c:pt>
                <c:pt idx="515">
                  <c:v>5.0390964378000003E-2</c:v>
                </c:pt>
                <c:pt idx="516">
                  <c:v>4.7004991679999997E-2</c:v>
                </c:pt>
                <c:pt idx="517">
                  <c:v>4.6964490263000001E-2</c:v>
                </c:pt>
                <c:pt idx="518">
                  <c:v>4.5548654244000002E-2</c:v>
                </c:pt>
                <c:pt idx="519">
                  <c:v>4.5659163986999998E-2</c:v>
                </c:pt>
                <c:pt idx="520">
                  <c:v>4.4947303160999999E-2</c:v>
                </c:pt>
                <c:pt idx="521">
                  <c:v>4.2312276518999999E-2</c:v>
                </c:pt>
                <c:pt idx="522">
                  <c:v>4.2151162790000002E-2</c:v>
                </c:pt>
                <c:pt idx="523">
                  <c:v>4.1353383458E-2</c:v>
                </c:pt>
                <c:pt idx="524">
                  <c:v>3.6742528104999998E-2</c:v>
                </c:pt>
                <c:pt idx="525">
                  <c:v>3.4125034125000002E-2</c:v>
                </c:pt>
                <c:pt idx="526">
                  <c:v>3.6305392418000001E-2</c:v>
                </c:pt>
                <c:pt idx="527">
                  <c:v>3.6191974821999998E-2</c:v>
                </c:pt>
                <c:pt idx="528">
                  <c:v>3.7297861240999999E-2</c:v>
                </c:pt>
                <c:pt idx="529">
                  <c:v>3.3938437252999998E-2</c:v>
                </c:pt>
                <c:pt idx="530">
                  <c:v>3.3684210526E-2</c:v>
                </c:pt>
                <c:pt idx="531">
                  <c:v>3.6222162597E-2</c:v>
                </c:pt>
                <c:pt idx="532">
                  <c:v>3.9043167444999999E-2</c:v>
                </c:pt>
                <c:pt idx="533">
                  <c:v>3.7687730235000001E-2</c:v>
                </c:pt>
                <c:pt idx="534">
                  <c:v>3.7934053107000001E-2</c:v>
                </c:pt>
                <c:pt idx="535">
                  <c:v>3.7137681158999999E-2</c:v>
                </c:pt>
                <c:pt idx="536">
                  <c:v>4.0233415233000003E-2</c:v>
                </c:pt>
                <c:pt idx="537">
                  <c:v>4.2586260490999998E-2</c:v>
                </c:pt>
                <c:pt idx="538">
                  <c:v>4.4805194804999997E-2</c:v>
                </c:pt>
                <c:pt idx="539">
                  <c:v>4.4339939536000003E-2</c:v>
                </c:pt>
                <c:pt idx="540">
                  <c:v>4.5136459061999999E-2</c:v>
                </c:pt>
                <c:pt idx="541">
                  <c:v>4.5804323927999997E-2</c:v>
                </c:pt>
                <c:pt idx="542">
                  <c:v>4.4907778667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556-4824-AE7D-99D3A7D251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ripadu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5.0937000000000003E-2</c:v>
                </c:pt>
                <c:pt idx="1">
                  <c:v>0.13528699999999999</c:v>
                </c:pt>
                <c:pt idx="2">
                  <c:v>0.154945</c:v>
                </c:pt>
                <c:pt idx="3">
                  <c:v>0.36202800000000002</c:v>
                </c:pt>
                <c:pt idx="4">
                  <c:v>0.411605</c:v>
                </c:pt>
                <c:pt idx="5">
                  <c:v>0.39889000000000002</c:v>
                </c:pt>
                <c:pt idx="6">
                  <c:v>0.38939800000000002</c:v>
                </c:pt>
                <c:pt idx="7">
                  <c:v>0.47425499999999998</c:v>
                </c:pt>
                <c:pt idx="8">
                  <c:v>0.50328200000000001</c:v>
                </c:pt>
                <c:pt idx="9">
                  <c:v>0.512405</c:v>
                </c:pt>
                <c:pt idx="10">
                  <c:v>0.66767399999999999</c:v>
                </c:pt>
                <c:pt idx="11">
                  <c:v>0.88519300000000001</c:v>
                </c:pt>
                <c:pt idx="12">
                  <c:v>0.84879099999999996</c:v>
                </c:pt>
                <c:pt idx="13">
                  <c:v>0.61904700000000001</c:v>
                </c:pt>
                <c:pt idx="14">
                  <c:v>0.52512199999999998</c:v>
                </c:pt>
                <c:pt idx="15">
                  <c:v>0.50248099999999996</c:v>
                </c:pt>
                <c:pt idx="16">
                  <c:v>0.58198399999999995</c:v>
                </c:pt>
                <c:pt idx="17">
                  <c:v>0.52010699999999999</c:v>
                </c:pt>
                <c:pt idx="18">
                  <c:v>0.52860300000000005</c:v>
                </c:pt>
                <c:pt idx="19">
                  <c:v>0.44564599999999999</c:v>
                </c:pt>
                <c:pt idx="20">
                  <c:v>0.33136700000000002</c:v>
                </c:pt>
                <c:pt idx="21">
                  <c:v>0.27906300000000001</c:v>
                </c:pt>
                <c:pt idx="22">
                  <c:v>0.100343</c:v>
                </c:pt>
                <c:pt idx="23">
                  <c:v>2.6877999999999999E-2</c:v>
                </c:pt>
                <c:pt idx="24">
                  <c:v>4.1958000000000002E-2</c:v>
                </c:pt>
                <c:pt idx="25">
                  <c:v>7.8833E-2</c:v>
                </c:pt>
                <c:pt idx="26">
                  <c:v>5.0082000000000002E-2</c:v>
                </c:pt>
                <c:pt idx="27">
                  <c:v>-5.1583999999999998E-2</c:v>
                </c:pt>
                <c:pt idx="28">
                  <c:v>-0.113257</c:v>
                </c:pt>
                <c:pt idx="29">
                  <c:v>-0.117032</c:v>
                </c:pt>
                <c:pt idx="30">
                  <c:v>-7.2972999999999996E-2</c:v>
                </c:pt>
                <c:pt idx="31">
                  <c:v>-1.6147000000000002E-2</c:v>
                </c:pt>
                <c:pt idx="32">
                  <c:v>6.3719999999999999E-2</c:v>
                </c:pt>
                <c:pt idx="33">
                  <c:v>7.6793E-2</c:v>
                </c:pt>
                <c:pt idx="34">
                  <c:v>0.153557</c:v>
                </c:pt>
                <c:pt idx="35">
                  <c:v>0.26003500000000002</c:v>
                </c:pt>
                <c:pt idx="36">
                  <c:v>0.30795800000000001</c:v>
                </c:pt>
                <c:pt idx="37">
                  <c:v>0.34492299999999998</c:v>
                </c:pt>
                <c:pt idx="38">
                  <c:v>0.62193699999999996</c:v>
                </c:pt>
                <c:pt idx="39">
                  <c:v>0.742448</c:v>
                </c:pt>
                <c:pt idx="40">
                  <c:v>0.65216099999999999</c:v>
                </c:pt>
                <c:pt idx="41">
                  <c:v>0.48432999999999998</c:v>
                </c:pt>
                <c:pt idx="42">
                  <c:v>0.44284200000000001</c:v>
                </c:pt>
                <c:pt idx="43">
                  <c:v>0.464364</c:v>
                </c:pt>
                <c:pt idx="44">
                  <c:v>0.37436199999999997</c:v>
                </c:pt>
                <c:pt idx="45">
                  <c:v>0.41131899999999999</c:v>
                </c:pt>
                <c:pt idx="46">
                  <c:v>0.50171200000000005</c:v>
                </c:pt>
                <c:pt idx="47">
                  <c:v>0.45685199999999998</c:v>
                </c:pt>
                <c:pt idx="48">
                  <c:v>0.37050100000000002</c:v>
                </c:pt>
                <c:pt idx="49">
                  <c:v>0.30332399999999998</c:v>
                </c:pt>
                <c:pt idx="50">
                  <c:v>0.29788199999999998</c:v>
                </c:pt>
                <c:pt idx="51">
                  <c:v>0.24773400000000001</c:v>
                </c:pt>
                <c:pt idx="52">
                  <c:v>0.315438</c:v>
                </c:pt>
                <c:pt idx="53">
                  <c:v>0.36896000000000001</c:v>
                </c:pt>
                <c:pt idx="54">
                  <c:v>0.29852099999999998</c:v>
                </c:pt>
                <c:pt idx="55">
                  <c:v>0.19135199999999999</c:v>
                </c:pt>
                <c:pt idx="56">
                  <c:v>0.13784099999999999</c:v>
                </c:pt>
                <c:pt idx="57">
                  <c:v>5.1388999999999997E-2</c:v>
                </c:pt>
                <c:pt idx="58">
                  <c:v>-2.6041999999999999E-2</c:v>
                </c:pt>
                <c:pt idx="59">
                  <c:v>-5.8862999999999999E-2</c:v>
                </c:pt>
                <c:pt idx="60">
                  <c:v>-5.5671999999999999E-2</c:v>
                </c:pt>
                <c:pt idx="61">
                  <c:v>-0.115728</c:v>
                </c:pt>
                <c:pt idx="62">
                  <c:v>-0.19159999999999999</c:v>
                </c:pt>
                <c:pt idx="63">
                  <c:v>-0.23408499999999999</c:v>
                </c:pt>
                <c:pt idx="64">
                  <c:v>-0.192361</c:v>
                </c:pt>
                <c:pt idx="65">
                  <c:v>-0.18606200000000001</c:v>
                </c:pt>
                <c:pt idx="66">
                  <c:v>-0.17521</c:v>
                </c:pt>
                <c:pt idx="67">
                  <c:v>-0.16225100000000001</c:v>
                </c:pt>
                <c:pt idx="68">
                  <c:v>-0.21145700000000001</c:v>
                </c:pt>
                <c:pt idx="69">
                  <c:v>-0.26033400000000001</c:v>
                </c:pt>
                <c:pt idx="70">
                  <c:v>-0.29283300000000001</c:v>
                </c:pt>
                <c:pt idx="71">
                  <c:v>-0.366477</c:v>
                </c:pt>
                <c:pt idx="72">
                  <c:v>-0.41368300000000002</c:v>
                </c:pt>
                <c:pt idx="73">
                  <c:v>-0.42211500000000002</c:v>
                </c:pt>
                <c:pt idx="74">
                  <c:v>-0.40966799999999998</c:v>
                </c:pt>
                <c:pt idx="75">
                  <c:v>-0.42763099999999998</c:v>
                </c:pt>
                <c:pt idx="76">
                  <c:v>-0.43420700000000001</c:v>
                </c:pt>
                <c:pt idx="77">
                  <c:v>-0.47397299999999998</c:v>
                </c:pt>
                <c:pt idx="78">
                  <c:v>-0.463308</c:v>
                </c:pt>
                <c:pt idx="79">
                  <c:v>-0.43512400000000001</c:v>
                </c:pt>
                <c:pt idx="80">
                  <c:v>-0.38761299999999999</c:v>
                </c:pt>
                <c:pt idx="81">
                  <c:v>-0.33521200000000001</c:v>
                </c:pt>
                <c:pt idx="82">
                  <c:v>-0.36648500000000001</c:v>
                </c:pt>
                <c:pt idx="83">
                  <c:v>-0.36449199999999998</c:v>
                </c:pt>
                <c:pt idx="84">
                  <c:v>-0.279364</c:v>
                </c:pt>
                <c:pt idx="85">
                  <c:v>-0.25190800000000002</c:v>
                </c:pt>
                <c:pt idx="86">
                  <c:v>-0.27332699999999999</c:v>
                </c:pt>
                <c:pt idx="87">
                  <c:v>-0.227544</c:v>
                </c:pt>
                <c:pt idx="88">
                  <c:v>-0.18192700000000001</c:v>
                </c:pt>
                <c:pt idx="89">
                  <c:v>-0.24950700000000001</c:v>
                </c:pt>
                <c:pt idx="90">
                  <c:v>-0.28019300000000003</c:v>
                </c:pt>
                <c:pt idx="91">
                  <c:v>-0.311303</c:v>
                </c:pt>
                <c:pt idx="92">
                  <c:v>-0.29359499999999999</c:v>
                </c:pt>
                <c:pt idx="93">
                  <c:v>-0.23530899999999999</c:v>
                </c:pt>
                <c:pt idx="94">
                  <c:v>-0.14880099999999999</c:v>
                </c:pt>
                <c:pt idx="95">
                  <c:v>-6.4221E-2</c:v>
                </c:pt>
                <c:pt idx="96">
                  <c:v>-0.125338</c:v>
                </c:pt>
                <c:pt idx="97">
                  <c:v>-0.12607699999999999</c:v>
                </c:pt>
                <c:pt idx="98">
                  <c:v>-6.6725000000000007E-2</c:v>
                </c:pt>
                <c:pt idx="99">
                  <c:v>4.1729999999999996E-3</c:v>
                </c:pt>
                <c:pt idx="100">
                  <c:v>2.2044999999999999E-2</c:v>
                </c:pt>
                <c:pt idx="101">
                  <c:v>0.11075599999999999</c:v>
                </c:pt>
                <c:pt idx="102">
                  <c:v>0.18421100000000001</c:v>
                </c:pt>
                <c:pt idx="103">
                  <c:v>9.2499999999999999E-2</c:v>
                </c:pt>
                <c:pt idx="104">
                  <c:v>4.5981000000000001E-2</c:v>
                </c:pt>
                <c:pt idx="105">
                  <c:v>6.7974999999999994E-2</c:v>
                </c:pt>
                <c:pt idx="106">
                  <c:v>8.0173999999999995E-2</c:v>
                </c:pt>
                <c:pt idx="107">
                  <c:v>8.0910999999999997E-2</c:v>
                </c:pt>
                <c:pt idx="108">
                  <c:v>0.185227</c:v>
                </c:pt>
                <c:pt idx="109">
                  <c:v>0.27745500000000001</c:v>
                </c:pt>
                <c:pt idx="110">
                  <c:v>0.181785</c:v>
                </c:pt>
                <c:pt idx="111">
                  <c:v>0.14624400000000001</c:v>
                </c:pt>
                <c:pt idx="112">
                  <c:v>0.15241099999999999</c:v>
                </c:pt>
                <c:pt idx="113">
                  <c:v>0.24937899999999999</c:v>
                </c:pt>
                <c:pt idx="114">
                  <c:v>0.109364</c:v>
                </c:pt>
                <c:pt idx="115">
                  <c:v>2.2309999999999999E-3</c:v>
                </c:pt>
                <c:pt idx="116">
                  <c:v>-4.0506E-2</c:v>
                </c:pt>
                <c:pt idx="117">
                  <c:v>-0.138654</c:v>
                </c:pt>
                <c:pt idx="118">
                  <c:v>-0.17083799999999999</c:v>
                </c:pt>
                <c:pt idx="119">
                  <c:v>-0.16485</c:v>
                </c:pt>
                <c:pt idx="120">
                  <c:v>-6.6199999999999995E-2</c:v>
                </c:pt>
                <c:pt idx="121">
                  <c:v>0.168462</c:v>
                </c:pt>
                <c:pt idx="122">
                  <c:v>0.31403799999999998</c:v>
                </c:pt>
                <c:pt idx="123">
                  <c:v>0.39347700000000002</c:v>
                </c:pt>
                <c:pt idx="124">
                  <c:v>0.25420799999999999</c:v>
                </c:pt>
                <c:pt idx="125">
                  <c:v>0.122742</c:v>
                </c:pt>
                <c:pt idx="126">
                  <c:v>4.0219999999999999E-2</c:v>
                </c:pt>
                <c:pt idx="127">
                  <c:v>6.2836000000000003E-2</c:v>
                </c:pt>
                <c:pt idx="128">
                  <c:v>9.9999000000000005E-2</c:v>
                </c:pt>
                <c:pt idx="129">
                  <c:v>0.197605</c:v>
                </c:pt>
                <c:pt idx="130">
                  <c:v>0.19228999999999999</c:v>
                </c:pt>
                <c:pt idx="131">
                  <c:v>4.1531999999999999E-2</c:v>
                </c:pt>
                <c:pt idx="132">
                  <c:v>-7.0005999999999999E-2</c:v>
                </c:pt>
                <c:pt idx="133">
                  <c:v>-0.15414600000000001</c:v>
                </c:pt>
                <c:pt idx="134">
                  <c:v>-0.210171</c:v>
                </c:pt>
                <c:pt idx="135">
                  <c:v>-0.28400300000000001</c:v>
                </c:pt>
                <c:pt idx="136">
                  <c:v>-0.36108000000000001</c:v>
                </c:pt>
                <c:pt idx="137">
                  <c:v>-0.39042500000000002</c:v>
                </c:pt>
                <c:pt idx="138">
                  <c:v>-0.426925</c:v>
                </c:pt>
                <c:pt idx="139">
                  <c:v>-0.43211899999999998</c:v>
                </c:pt>
                <c:pt idx="140">
                  <c:v>-0.40435399999999999</c:v>
                </c:pt>
                <c:pt idx="141">
                  <c:v>-0.36575099999999999</c:v>
                </c:pt>
                <c:pt idx="142">
                  <c:v>-0.32497100000000001</c:v>
                </c:pt>
                <c:pt idx="143">
                  <c:v>-0.25772899999999999</c:v>
                </c:pt>
                <c:pt idx="144">
                  <c:v>-0.20319200000000001</c:v>
                </c:pt>
                <c:pt idx="145">
                  <c:v>-0.24854999999999999</c:v>
                </c:pt>
                <c:pt idx="146">
                  <c:v>-0.26142399999999999</c:v>
                </c:pt>
                <c:pt idx="147">
                  <c:v>-0.237342</c:v>
                </c:pt>
                <c:pt idx="148">
                  <c:v>-0.18836600000000001</c:v>
                </c:pt>
                <c:pt idx="149">
                  <c:v>-0.185809</c:v>
                </c:pt>
                <c:pt idx="150">
                  <c:v>-0.116595</c:v>
                </c:pt>
                <c:pt idx="151">
                  <c:v>-7.0864999999999997E-2</c:v>
                </c:pt>
                <c:pt idx="152">
                  <c:v>-0.14092099999999999</c:v>
                </c:pt>
                <c:pt idx="153">
                  <c:v>-0.15946399999999999</c:v>
                </c:pt>
                <c:pt idx="154">
                  <c:v>-0.14383499999999999</c:v>
                </c:pt>
                <c:pt idx="155">
                  <c:v>-0.12017700000000001</c:v>
                </c:pt>
                <c:pt idx="156">
                  <c:v>-0.12628600000000001</c:v>
                </c:pt>
                <c:pt idx="157">
                  <c:v>-4.0273999999999997E-2</c:v>
                </c:pt>
                <c:pt idx="158">
                  <c:v>6.8450000000000004E-3</c:v>
                </c:pt>
                <c:pt idx="159">
                  <c:v>-8.4518999999999997E-2</c:v>
                </c:pt>
                <c:pt idx="160">
                  <c:v>-0.10938199999999999</c:v>
                </c:pt>
                <c:pt idx="161">
                  <c:v>-9.6884999999999999E-2</c:v>
                </c:pt>
                <c:pt idx="162">
                  <c:v>-9.2051999999999995E-2</c:v>
                </c:pt>
                <c:pt idx="163">
                  <c:v>-8.5398000000000002E-2</c:v>
                </c:pt>
                <c:pt idx="164">
                  <c:v>-2.7E-2</c:v>
                </c:pt>
                <c:pt idx="165">
                  <c:v>8.8509999999999995E-3</c:v>
                </c:pt>
                <c:pt idx="166">
                  <c:v>-7.4869000000000005E-2</c:v>
                </c:pt>
                <c:pt idx="167">
                  <c:v>-0.10306800000000001</c:v>
                </c:pt>
                <c:pt idx="168">
                  <c:v>-7.1322999999999998E-2</c:v>
                </c:pt>
                <c:pt idx="169">
                  <c:v>-3.8823000000000003E-2</c:v>
                </c:pt>
                <c:pt idx="170">
                  <c:v>-6.7429999999999999E-3</c:v>
                </c:pt>
                <c:pt idx="171">
                  <c:v>9.5258999999999996E-2</c:v>
                </c:pt>
                <c:pt idx="172">
                  <c:v>0.162249</c:v>
                </c:pt>
                <c:pt idx="173">
                  <c:v>6.1171999999999997E-2</c:v>
                </c:pt>
                <c:pt idx="174">
                  <c:v>2.3061999999999999E-2</c:v>
                </c:pt>
                <c:pt idx="175">
                  <c:v>6.0987E-2</c:v>
                </c:pt>
                <c:pt idx="176">
                  <c:v>6.9378999999999996E-2</c:v>
                </c:pt>
                <c:pt idx="177">
                  <c:v>7.5957999999999998E-2</c:v>
                </c:pt>
                <c:pt idx="178">
                  <c:v>0.157718</c:v>
                </c:pt>
                <c:pt idx="179">
                  <c:v>0.19133700000000001</c:v>
                </c:pt>
                <c:pt idx="180">
                  <c:v>6.6964999999999997E-2</c:v>
                </c:pt>
                <c:pt idx="181">
                  <c:v>-9.6209999999999993E-3</c:v>
                </c:pt>
                <c:pt idx="182">
                  <c:v>-1.2416999999999999E-2</c:v>
                </c:pt>
                <c:pt idx="183">
                  <c:v>-3.6602999999999997E-2</c:v>
                </c:pt>
                <c:pt idx="184">
                  <c:v>-6.8180000000000004E-2</c:v>
                </c:pt>
                <c:pt idx="185">
                  <c:v>-5.0696999999999999E-2</c:v>
                </c:pt>
                <c:pt idx="186">
                  <c:v>-1.2357E-2</c:v>
                </c:pt>
                <c:pt idx="187">
                  <c:v>-0.104446</c:v>
                </c:pt>
                <c:pt idx="188">
                  <c:v>-0.16866200000000001</c:v>
                </c:pt>
                <c:pt idx="189">
                  <c:v>-0.177814</c:v>
                </c:pt>
                <c:pt idx="190">
                  <c:v>-0.191412</c:v>
                </c:pt>
                <c:pt idx="191">
                  <c:v>-0.21388599999999999</c:v>
                </c:pt>
                <c:pt idx="192">
                  <c:v>-0.14705699999999999</c:v>
                </c:pt>
                <c:pt idx="193">
                  <c:v>-0.133627</c:v>
                </c:pt>
                <c:pt idx="194">
                  <c:v>-0.19534399999999999</c:v>
                </c:pt>
                <c:pt idx="195">
                  <c:v>-0.220334</c:v>
                </c:pt>
                <c:pt idx="196">
                  <c:v>-0.216033</c:v>
                </c:pt>
                <c:pt idx="197">
                  <c:v>-0.20944199999999999</c:v>
                </c:pt>
                <c:pt idx="198">
                  <c:v>-0.21815999999999999</c:v>
                </c:pt>
                <c:pt idx="199">
                  <c:v>-0.22321299999999999</c:v>
                </c:pt>
                <c:pt idx="200">
                  <c:v>-0.18685099999999999</c:v>
                </c:pt>
                <c:pt idx="201">
                  <c:v>-0.25917800000000002</c:v>
                </c:pt>
                <c:pt idx="202">
                  <c:v>-0.31279099999999999</c:v>
                </c:pt>
                <c:pt idx="203">
                  <c:v>-0.32186300000000001</c:v>
                </c:pt>
                <c:pt idx="204">
                  <c:v>-0.32873200000000002</c:v>
                </c:pt>
                <c:pt idx="205">
                  <c:v>-0.34978700000000001</c:v>
                </c:pt>
                <c:pt idx="206">
                  <c:v>-0.29298099999999999</c:v>
                </c:pt>
                <c:pt idx="207">
                  <c:v>-0.26741199999999998</c:v>
                </c:pt>
                <c:pt idx="208">
                  <c:v>-0.32527400000000001</c:v>
                </c:pt>
                <c:pt idx="209">
                  <c:v>-0.34612199999999999</c:v>
                </c:pt>
                <c:pt idx="210">
                  <c:v>-0.33076899999999998</c:v>
                </c:pt>
                <c:pt idx="211">
                  <c:v>-0.31276199999999998</c:v>
                </c:pt>
                <c:pt idx="212">
                  <c:v>-0.30710399999999999</c:v>
                </c:pt>
                <c:pt idx="213">
                  <c:v>-0.30531599999999998</c:v>
                </c:pt>
                <c:pt idx="214">
                  <c:v>-0.28994199999999998</c:v>
                </c:pt>
                <c:pt idx="215">
                  <c:v>-0.34388400000000002</c:v>
                </c:pt>
                <c:pt idx="216">
                  <c:v>-0.445328</c:v>
                </c:pt>
                <c:pt idx="217">
                  <c:v>-0.46393000000000001</c:v>
                </c:pt>
                <c:pt idx="218">
                  <c:v>-0.44038500000000003</c:v>
                </c:pt>
                <c:pt idx="219">
                  <c:v>-0.41155399999999998</c:v>
                </c:pt>
                <c:pt idx="220">
                  <c:v>-0.30674000000000001</c:v>
                </c:pt>
                <c:pt idx="221">
                  <c:v>-0.26864100000000002</c:v>
                </c:pt>
                <c:pt idx="222">
                  <c:v>-0.287304</c:v>
                </c:pt>
                <c:pt idx="223">
                  <c:v>-0.19550799999999999</c:v>
                </c:pt>
                <c:pt idx="224">
                  <c:v>-0.17379800000000001</c:v>
                </c:pt>
                <c:pt idx="225">
                  <c:v>-0.224499</c:v>
                </c:pt>
                <c:pt idx="226">
                  <c:v>-0.25328299999999998</c:v>
                </c:pt>
                <c:pt idx="227">
                  <c:v>-0.26645000000000002</c:v>
                </c:pt>
                <c:pt idx="228">
                  <c:v>-0.26009300000000002</c:v>
                </c:pt>
                <c:pt idx="229">
                  <c:v>-0.310697</c:v>
                </c:pt>
                <c:pt idx="230">
                  <c:v>-0.39786899999999997</c:v>
                </c:pt>
                <c:pt idx="231">
                  <c:v>-0.40223300000000001</c:v>
                </c:pt>
                <c:pt idx="232">
                  <c:v>-0.35117100000000001</c:v>
                </c:pt>
                <c:pt idx="233">
                  <c:v>-0.325513</c:v>
                </c:pt>
                <c:pt idx="234">
                  <c:v>-0.25814300000000001</c:v>
                </c:pt>
                <c:pt idx="235">
                  <c:v>-0.22298399999999999</c:v>
                </c:pt>
                <c:pt idx="236">
                  <c:v>-0.29710700000000001</c:v>
                </c:pt>
                <c:pt idx="237">
                  <c:v>-0.32536799999999999</c:v>
                </c:pt>
                <c:pt idx="238">
                  <c:v>-0.28706900000000002</c:v>
                </c:pt>
                <c:pt idx="239">
                  <c:v>-0.27289400000000003</c:v>
                </c:pt>
                <c:pt idx="240">
                  <c:v>-0.26876</c:v>
                </c:pt>
                <c:pt idx="241">
                  <c:v>-0.21816199999999999</c:v>
                </c:pt>
                <c:pt idx="242">
                  <c:v>-0.19542100000000001</c:v>
                </c:pt>
                <c:pt idx="243">
                  <c:v>-0.28150999999999998</c:v>
                </c:pt>
                <c:pt idx="244">
                  <c:v>-0.29703800000000002</c:v>
                </c:pt>
                <c:pt idx="245">
                  <c:v>-0.29179100000000002</c:v>
                </c:pt>
                <c:pt idx="246">
                  <c:v>-0.29706700000000003</c:v>
                </c:pt>
                <c:pt idx="247">
                  <c:v>-0.31625999999999999</c:v>
                </c:pt>
                <c:pt idx="248">
                  <c:v>-0.28853299999999998</c:v>
                </c:pt>
                <c:pt idx="249">
                  <c:v>-0.28038600000000002</c:v>
                </c:pt>
                <c:pt idx="250">
                  <c:v>-0.34797899999999998</c:v>
                </c:pt>
                <c:pt idx="251">
                  <c:v>-0.38147300000000001</c:v>
                </c:pt>
                <c:pt idx="252">
                  <c:v>-0.37344899999999998</c:v>
                </c:pt>
                <c:pt idx="253">
                  <c:v>-0.37614999999999998</c:v>
                </c:pt>
                <c:pt idx="254">
                  <c:v>-0.37484400000000001</c:v>
                </c:pt>
                <c:pt idx="255">
                  <c:v>-0.348856</c:v>
                </c:pt>
                <c:pt idx="256">
                  <c:v>-0.315272</c:v>
                </c:pt>
                <c:pt idx="257">
                  <c:v>-0.38292199999999998</c:v>
                </c:pt>
                <c:pt idx="258">
                  <c:v>-0.39038899999999999</c:v>
                </c:pt>
                <c:pt idx="259">
                  <c:v>-0.37056600000000001</c:v>
                </c:pt>
                <c:pt idx="260">
                  <c:v>-0.37821199999999999</c:v>
                </c:pt>
                <c:pt idx="261">
                  <c:v>-0.40095900000000001</c:v>
                </c:pt>
                <c:pt idx="262">
                  <c:v>-0.37161899999999998</c:v>
                </c:pt>
                <c:pt idx="263">
                  <c:v>-0.36753400000000003</c:v>
                </c:pt>
                <c:pt idx="264">
                  <c:v>-0.42861900000000003</c:v>
                </c:pt>
                <c:pt idx="265">
                  <c:v>-0.45731100000000002</c:v>
                </c:pt>
                <c:pt idx="266">
                  <c:v>-0.46337899999999999</c:v>
                </c:pt>
                <c:pt idx="267">
                  <c:v>-0.45264300000000002</c:v>
                </c:pt>
                <c:pt idx="268">
                  <c:v>-0.43237300000000001</c:v>
                </c:pt>
                <c:pt idx="269">
                  <c:v>-0.39926299999999998</c:v>
                </c:pt>
                <c:pt idx="270">
                  <c:v>-0.37544699999999998</c:v>
                </c:pt>
                <c:pt idx="271">
                  <c:v>-0.43856499999999998</c:v>
                </c:pt>
                <c:pt idx="272">
                  <c:v>-0.42220099999999999</c:v>
                </c:pt>
                <c:pt idx="273">
                  <c:v>-0.378718</c:v>
                </c:pt>
                <c:pt idx="274">
                  <c:v>-0.38376300000000002</c:v>
                </c:pt>
                <c:pt idx="275">
                  <c:v>-0.36833100000000002</c:v>
                </c:pt>
                <c:pt idx="276">
                  <c:v>-0.32428699999999999</c:v>
                </c:pt>
                <c:pt idx="277">
                  <c:v>-0.30043700000000001</c:v>
                </c:pt>
                <c:pt idx="278">
                  <c:v>-0.36446099999999998</c:v>
                </c:pt>
                <c:pt idx="279">
                  <c:v>-0.38821099999999997</c:v>
                </c:pt>
                <c:pt idx="280">
                  <c:v>-0.35922900000000002</c:v>
                </c:pt>
                <c:pt idx="281">
                  <c:v>-0.36796299999999998</c:v>
                </c:pt>
                <c:pt idx="282">
                  <c:v>-0.41053699999999999</c:v>
                </c:pt>
                <c:pt idx="283">
                  <c:v>-0.398395</c:v>
                </c:pt>
                <c:pt idx="284">
                  <c:v>-0.399198</c:v>
                </c:pt>
                <c:pt idx="285">
                  <c:v>-0.46214</c:v>
                </c:pt>
                <c:pt idx="286">
                  <c:v>-0.48114600000000002</c:v>
                </c:pt>
                <c:pt idx="287">
                  <c:v>-0.50688999999999995</c:v>
                </c:pt>
                <c:pt idx="288">
                  <c:v>-0.52870300000000003</c:v>
                </c:pt>
                <c:pt idx="289">
                  <c:v>-0.48188900000000001</c:v>
                </c:pt>
                <c:pt idx="290">
                  <c:v>-0.422518</c:v>
                </c:pt>
                <c:pt idx="291">
                  <c:v>-0.38935700000000001</c:v>
                </c:pt>
                <c:pt idx="292">
                  <c:v>-0.40864099999999998</c:v>
                </c:pt>
                <c:pt idx="293">
                  <c:v>-0.41057399999999999</c:v>
                </c:pt>
                <c:pt idx="294">
                  <c:v>-0.370892</c:v>
                </c:pt>
                <c:pt idx="295">
                  <c:v>-0.337563</c:v>
                </c:pt>
                <c:pt idx="296">
                  <c:v>-0.368838</c:v>
                </c:pt>
                <c:pt idx="297">
                  <c:v>-0.311394</c:v>
                </c:pt>
                <c:pt idx="298">
                  <c:v>-0.29599999999999999</c:v>
                </c:pt>
                <c:pt idx="299">
                  <c:v>-0.34875099999999998</c:v>
                </c:pt>
                <c:pt idx="300">
                  <c:v>-0.273891</c:v>
                </c:pt>
                <c:pt idx="301">
                  <c:v>-0.139737</c:v>
                </c:pt>
                <c:pt idx="302">
                  <c:v>-7.6049000000000005E-2</c:v>
                </c:pt>
                <c:pt idx="303">
                  <c:v>4.2352000000000001E-2</c:v>
                </c:pt>
                <c:pt idx="304">
                  <c:v>0.19791600000000001</c:v>
                </c:pt>
                <c:pt idx="305">
                  <c:v>0.28178199999999998</c:v>
                </c:pt>
                <c:pt idx="306">
                  <c:v>0.19534799999999999</c:v>
                </c:pt>
                <c:pt idx="307">
                  <c:v>0.113333</c:v>
                </c:pt>
                <c:pt idx="308">
                  <c:v>2.5916999999999999E-2</c:v>
                </c:pt>
                <c:pt idx="309">
                  <c:v>0.10975600000000001</c:v>
                </c:pt>
                <c:pt idx="310">
                  <c:v>0.121557</c:v>
                </c:pt>
                <c:pt idx="311">
                  <c:v>0.24401900000000001</c:v>
                </c:pt>
                <c:pt idx="312">
                  <c:v>0.23183000000000001</c:v>
                </c:pt>
                <c:pt idx="313">
                  <c:v>0.19861799999999999</c:v>
                </c:pt>
                <c:pt idx="314">
                  <c:v>0.34770800000000002</c:v>
                </c:pt>
                <c:pt idx="315">
                  <c:v>0.39186900000000002</c:v>
                </c:pt>
                <c:pt idx="316">
                  <c:v>0.25092500000000001</c:v>
                </c:pt>
                <c:pt idx="317">
                  <c:v>0.12542600000000001</c:v>
                </c:pt>
                <c:pt idx="318">
                  <c:v>9.9725999999999995E-2</c:v>
                </c:pt>
                <c:pt idx="319">
                  <c:v>9.7528000000000004E-2</c:v>
                </c:pt>
                <c:pt idx="320">
                  <c:v>-1.7177000000000001E-2</c:v>
                </c:pt>
                <c:pt idx="321">
                  <c:v>-0.13219900000000001</c:v>
                </c:pt>
                <c:pt idx="322">
                  <c:v>-0.20862900000000001</c:v>
                </c:pt>
                <c:pt idx="323">
                  <c:v>-0.19685800000000001</c:v>
                </c:pt>
                <c:pt idx="324">
                  <c:v>-0.19514699999999999</c:v>
                </c:pt>
                <c:pt idx="325">
                  <c:v>-0.186496</c:v>
                </c:pt>
                <c:pt idx="326">
                  <c:v>-0.204545</c:v>
                </c:pt>
                <c:pt idx="327">
                  <c:v>-0.25219200000000003</c:v>
                </c:pt>
                <c:pt idx="328">
                  <c:v>-0.28692800000000002</c:v>
                </c:pt>
                <c:pt idx="329">
                  <c:v>-0.275669</c:v>
                </c:pt>
                <c:pt idx="330">
                  <c:v>-0.274341</c:v>
                </c:pt>
                <c:pt idx="331">
                  <c:v>-0.26413900000000001</c:v>
                </c:pt>
                <c:pt idx="332">
                  <c:v>-0.24045</c:v>
                </c:pt>
                <c:pt idx="333">
                  <c:v>-0.18771099999999999</c:v>
                </c:pt>
                <c:pt idx="334">
                  <c:v>-0.233375</c:v>
                </c:pt>
                <c:pt idx="335">
                  <c:v>-0.27909800000000001</c:v>
                </c:pt>
                <c:pt idx="336">
                  <c:v>-0.24133299999999999</c:v>
                </c:pt>
                <c:pt idx="337">
                  <c:v>-0.22320200000000001</c:v>
                </c:pt>
                <c:pt idx="338">
                  <c:v>-0.21326600000000001</c:v>
                </c:pt>
                <c:pt idx="339">
                  <c:v>-0.14135300000000001</c:v>
                </c:pt>
                <c:pt idx="340">
                  <c:v>-7.7342999999999995E-2</c:v>
                </c:pt>
                <c:pt idx="341">
                  <c:v>-0.10428900000000001</c:v>
                </c:pt>
                <c:pt idx="342">
                  <c:v>-0.114777</c:v>
                </c:pt>
                <c:pt idx="343">
                  <c:v>-6.9783999999999999E-2</c:v>
                </c:pt>
                <c:pt idx="344">
                  <c:v>-3.5113999999999999E-2</c:v>
                </c:pt>
                <c:pt idx="345">
                  <c:v>5.4599999999999996E-3</c:v>
                </c:pt>
                <c:pt idx="346">
                  <c:v>2.6963999999999998E-2</c:v>
                </c:pt>
                <c:pt idx="347">
                  <c:v>2.4067999999999999E-2</c:v>
                </c:pt>
                <c:pt idx="348">
                  <c:v>-7.0655999999999997E-2</c:v>
                </c:pt>
                <c:pt idx="349">
                  <c:v>-0.111036</c:v>
                </c:pt>
                <c:pt idx="350">
                  <c:v>-7.1282999999999999E-2</c:v>
                </c:pt>
                <c:pt idx="351">
                  <c:v>-6.6711999999999994E-2</c:v>
                </c:pt>
                <c:pt idx="352">
                  <c:v>-0.11838600000000001</c:v>
                </c:pt>
                <c:pt idx="353">
                  <c:v>-0.131525</c:v>
                </c:pt>
                <c:pt idx="354">
                  <c:v>-8.7391999999999997E-2</c:v>
                </c:pt>
                <c:pt idx="355">
                  <c:v>-0.13355400000000001</c:v>
                </c:pt>
                <c:pt idx="356">
                  <c:v>-0.200736</c:v>
                </c:pt>
                <c:pt idx="357">
                  <c:v>-0.20418500000000001</c:v>
                </c:pt>
                <c:pt idx="358">
                  <c:v>-0.14904700000000001</c:v>
                </c:pt>
                <c:pt idx="359">
                  <c:v>-0.106382</c:v>
                </c:pt>
                <c:pt idx="360">
                  <c:v>-4.2372E-2</c:v>
                </c:pt>
                <c:pt idx="361">
                  <c:v>-1.9550999999999999E-2</c:v>
                </c:pt>
                <c:pt idx="362">
                  <c:v>-0.125164</c:v>
                </c:pt>
                <c:pt idx="363">
                  <c:v>-0.12861700000000001</c:v>
                </c:pt>
                <c:pt idx="364">
                  <c:v>-7.3754E-2</c:v>
                </c:pt>
                <c:pt idx="365">
                  <c:v>-6.8874000000000005E-2</c:v>
                </c:pt>
                <c:pt idx="366">
                  <c:v>-1.8991000000000001E-2</c:v>
                </c:pt>
                <c:pt idx="367">
                  <c:v>9.1336000000000001E-2</c:v>
                </c:pt>
                <c:pt idx="368">
                  <c:v>0.183972</c:v>
                </c:pt>
                <c:pt idx="369">
                  <c:v>0.121096</c:v>
                </c:pt>
                <c:pt idx="370">
                  <c:v>0.16029099999999999</c:v>
                </c:pt>
                <c:pt idx="371">
                  <c:v>0.32971</c:v>
                </c:pt>
                <c:pt idx="372">
                  <c:v>0.35630800000000001</c:v>
                </c:pt>
                <c:pt idx="373">
                  <c:v>0.34734500000000001</c:v>
                </c:pt>
                <c:pt idx="374">
                  <c:v>0.40338400000000002</c:v>
                </c:pt>
                <c:pt idx="375">
                  <c:v>0.42119499999999999</c:v>
                </c:pt>
                <c:pt idx="376">
                  <c:v>0.21328900000000001</c:v>
                </c:pt>
                <c:pt idx="377">
                  <c:v>8.7809999999999999E-2</c:v>
                </c:pt>
                <c:pt idx="378">
                  <c:v>3.986E-2</c:v>
                </c:pt>
                <c:pt idx="379">
                  <c:v>3.1727999999999999E-2</c:v>
                </c:pt>
                <c:pt idx="380">
                  <c:v>3.1238999999999999E-2</c:v>
                </c:pt>
                <c:pt idx="381">
                  <c:v>5.3862E-2</c:v>
                </c:pt>
                <c:pt idx="382">
                  <c:v>9.9199999999999997E-2</c:v>
                </c:pt>
                <c:pt idx="383">
                  <c:v>-9.6579999999999999E-3</c:v>
                </c:pt>
                <c:pt idx="384">
                  <c:v>-6.3607999999999998E-2</c:v>
                </c:pt>
                <c:pt idx="385">
                  <c:v>-3.3945000000000003E-2</c:v>
                </c:pt>
                <c:pt idx="386">
                  <c:v>-8.5519999999999999E-2</c:v>
                </c:pt>
                <c:pt idx="387">
                  <c:v>-0.115823</c:v>
                </c:pt>
                <c:pt idx="388">
                  <c:v>-5.0976E-2</c:v>
                </c:pt>
                <c:pt idx="389">
                  <c:v>4.0460000000000001E-3</c:v>
                </c:pt>
                <c:pt idx="390">
                  <c:v>-7.4782000000000001E-2</c:v>
                </c:pt>
                <c:pt idx="391">
                  <c:v>-4.7007E-2</c:v>
                </c:pt>
                <c:pt idx="392">
                  <c:v>-7.1998999999999994E-2</c:v>
                </c:pt>
                <c:pt idx="393">
                  <c:v>-2.5100000000000001E-3</c:v>
                </c:pt>
                <c:pt idx="394">
                  <c:v>0.12847900000000001</c:v>
                </c:pt>
                <c:pt idx="395">
                  <c:v>0.22137100000000001</c:v>
                </c:pt>
                <c:pt idx="396">
                  <c:v>0.27680300000000002</c:v>
                </c:pt>
                <c:pt idx="397">
                  <c:v>0.13583600000000001</c:v>
                </c:pt>
                <c:pt idx="398">
                  <c:v>0.174703</c:v>
                </c:pt>
                <c:pt idx="399">
                  <c:v>0.29641299999999998</c:v>
                </c:pt>
                <c:pt idx="400">
                  <c:v>0.251</c:v>
                </c:pt>
                <c:pt idx="401">
                  <c:v>0.17633599999999999</c:v>
                </c:pt>
                <c:pt idx="402">
                  <c:v>0.211067</c:v>
                </c:pt>
                <c:pt idx="403">
                  <c:v>0.26113399999999998</c:v>
                </c:pt>
                <c:pt idx="404">
                  <c:v>0.13001799999999999</c:v>
                </c:pt>
                <c:pt idx="405">
                  <c:v>0.13095999999999999</c:v>
                </c:pt>
                <c:pt idx="406">
                  <c:v>8.7551000000000004E-2</c:v>
                </c:pt>
                <c:pt idx="407">
                  <c:v>0.113612</c:v>
                </c:pt>
                <c:pt idx="408">
                  <c:v>0.17927299999999999</c:v>
                </c:pt>
                <c:pt idx="409">
                  <c:v>0.32463700000000001</c:v>
                </c:pt>
                <c:pt idx="410">
                  <c:v>0.44661699999999999</c:v>
                </c:pt>
                <c:pt idx="411">
                  <c:v>0.30696099999999998</c:v>
                </c:pt>
                <c:pt idx="412">
                  <c:v>0.34392800000000001</c:v>
                </c:pt>
                <c:pt idx="413">
                  <c:v>0.49245699999999998</c:v>
                </c:pt>
                <c:pt idx="414">
                  <c:v>0.60973900000000003</c:v>
                </c:pt>
                <c:pt idx="415">
                  <c:v>0.69562900000000005</c:v>
                </c:pt>
                <c:pt idx="416">
                  <c:v>0.92134899999999997</c:v>
                </c:pt>
                <c:pt idx="417">
                  <c:v>1.0569759999999999</c:v>
                </c:pt>
                <c:pt idx="418">
                  <c:v>0.77074699999999996</c:v>
                </c:pt>
                <c:pt idx="419">
                  <c:v>0.65551000000000004</c:v>
                </c:pt>
                <c:pt idx="420">
                  <c:v>0.66224899999999998</c:v>
                </c:pt>
                <c:pt idx="421">
                  <c:v>0.60765800000000003</c:v>
                </c:pt>
                <c:pt idx="422">
                  <c:v>0.43238199999999999</c:v>
                </c:pt>
                <c:pt idx="423">
                  <c:v>0.43819200000000003</c:v>
                </c:pt>
                <c:pt idx="424">
                  <c:v>0.49744899999999997</c:v>
                </c:pt>
                <c:pt idx="425">
                  <c:v>0.33196500000000001</c:v>
                </c:pt>
                <c:pt idx="426">
                  <c:v>0.275642</c:v>
                </c:pt>
                <c:pt idx="427">
                  <c:v>0.28531899999999999</c:v>
                </c:pt>
                <c:pt idx="428">
                  <c:v>0.35244199999999998</c:v>
                </c:pt>
                <c:pt idx="429">
                  <c:v>0.38857399999999997</c:v>
                </c:pt>
                <c:pt idx="430">
                  <c:v>0.45364100000000002</c:v>
                </c:pt>
                <c:pt idx="431">
                  <c:v>0.47106500000000001</c:v>
                </c:pt>
                <c:pt idx="432">
                  <c:v>0.27410000000000001</c:v>
                </c:pt>
                <c:pt idx="433">
                  <c:v>0.15807499999999999</c:v>
                </c:pt>
                <c:pt idx="434">
                  <c:v>0.17665700000000001</c:v>
                </c:pt>
                <c:pt idx="435">
                  <c:v>0.195245</c:v>
                </c:pt>
                <c:pt idx="436">
                  <c:v>0.128492</c:v>
                </c:pt>
                <c:pt idx="437">
                  <c:v>0.21444299999999999</c:v>
                </c:pt>
                <c:pt idx="438">
                  <c:v>0.319602</c:v>
                </c:pt>
                <c:pt idx="439">
                  <c:v>0.225915</c:v>
                </c:pt>
                <c:pt idx="440">
                  <c:v>0.13617499999999999</c:v>
                </c:pt>
                <c:pt idx="441">
                  <c:v>0.18837899999999999</c:v>
                </c:pt>
                <c:pt idx="442">
                  <c:v>0.181338</c:v>
                </c:pt>
                <c:pt idx="443">
                  <c:v>0.134633</c:v>
                </c:pt>
                <c:pt idx="444">
                  <c:v>0.24446300000000001</c:v>
                </c:pt>
                <c:pt idx="445">
                  <c:v>0.31053500000000001</c:v>
                </c:pt>
                <c:pt idx="446">
                  <c:v>0.21317800000000001</c:v>
                </c:pt>
                <c:pt idx="447">
                  <c:v>8.4346000000000004E-2</c:v>
                </c:pt>
                <c:pt idx="448">
                  <c:v>0.12164899999999999</c:v>
                </c:pt>
                <c:pt idx="449">
                  <c:v>0.160134</c:v>
                </c:pt>
                <c:pt idx="450">
                  <c:v>0.15920699999999999</c:v>
                </c:pt>
                <c:pt idx="451">
                  <c:v>0.13494999999999999</c:v>
                </c:pt>
                <c:pt idx="452">
                  <c:v>0.12735299999999999</c:v>
                </c:pt>
                <c:pt idx="453">
                  <c:v>5.4299E-2</c:v>
                </c:pt>
                <c:pt idx="454">
                  <c:v>-3.3917999999999997E-2</c:v>
                </c:pt>
                <c:pt idx="455">
                  <c:v>-3.0471000000000002E-2</c:v>
                </c:pt>
                <c:pt idx="456">
                  <c:v>-0.10059800000000001</c:v>
                </c:pt>
                <c:pt idx="457">
                  <c:v>-0.202153</c:v>
                </c:pt>
                <c:pt idx="458">
                  <c:v>-0.16248499999999999</c:v>
                </c:pt>
                <c:pt idx="459">
                  <c:v>-0.14252999999999999</c:v>
                </c:pt>
                <c:pt idx="460">
                  <c:v>-0.21760599999999999</c:v>
                </c:pt>
                <c:pt idx="461">
                  <c:v>-0.26904699999999998</c:v>
                </c:pt>
                <c:pt idx="462">
                  <c:v>-0.26240400000000003</c:v>
                </c:pt>
                <c:pt idx="463">
                  <c:v>-0.298323</c:v>
                </c:pt>
                <c:pt idx="464">
                  <c:v>-0.27800000000000002</c:v>
                </c:pt>
                <c:pt idx="465">
                  <c:v>-0.26642199999999999</c:v>
                </c:pt>
                <c:pt idx="466">
                  <c:v>-0.245029</c:v>
                </c:pt>
                <c:pt idx="467">
                  <c:v>-0.29843199999999998</c:v>
                </c:pt>
                <c:pt idx="468">
                  <c:v>-0.33650600000000003</c:v>
                </c:pt>
                <c:pt idx="469">
                  <c:v>-0.32834799999999997</c:v>
                </c:pt>
                <c:pt idx="470">
                  <c:v>-0.328046</c:v>
                </c:pt>
                <c:pt idx="471">
                  <c:v>-0.33318199999999998</c:v>
                </c:pt>
                <c:pt idx="472">
                  <c:v>-0.311199</c:v>
                </c:pt>
                <c:pt idx="473">
                  <c:v>-0.29459800000000003</c:v>
                </c:pt>
                <c:pt idx="474">
                  <c:v>-0.33642699999999998</c:v>
                </c:pt>
                <c:pt idx="475">
                  <c:v>-0.37530000000000002</c:v>
                </c:pt>
                <c:pt idx="476">
                  <c:v>-0.37440800000000002</c:v>
                </c:pt>
                <c:pt idx="477">
                  <c:v>-0.37134499999999998</c:v>
                </c:pt>
                <c:pt idx="478">
                  <c:v>-0.357186</c:v>
                </c:pt>
                <c:pt idx="479">
                  <c:v>-0.39302599999999999</c:v>
                </c:pt>
                <c:pt idx="480">
                  <c:v>-0.41581200000000001</c:v>
                </c:pt>
                <c:pt idx="481">
                  <c:v>-0.47218300000000002</c:v>
                </c:pt>
                <c:pt idx="482">
                  <c:v>-0.49433500000000002</c:v>
                </c:pt>
                <c:pt idx="483">
                  <c:v>-0.46801399999999999</c:v>
                </c:pt>
                <c:pt idx="484">
                  <c:v>-0.45657399999999998</c:v>
                </c:pt>
                <c:pt idx="485">
                  <c:v>-0.41307899999999997</c:v>
                </c:pt>
                <c:pt idx="486">
                  <c:v>-0.25652700000000001</c:v>
                </c:pt>
                <c:pt idx="487">
                  <c:v>-0.18998100000000001</c:v>
                </c:pt>
                <c:pt idx="488">
                  <c:v>-0.244917</c:v>
                </c:pt>
                <c:pt idx="489">
                  <c:v>-0.20049500000000001</c:v>
                </c:pt>
                <c:pt idx="490">
                  <c:v>-6.7004999999999995E-2</c:v>
                </c:pt>
                <c:pt idx="491">
                  <c:v>8.2480000000000001E-3</c:v>
                </c:pt>
                <c:pt idx="492">
                  <c:v>9.4218999999999997E-2</c:v>
                </c:pt>
                <c:pt idx="493">
                  <c:v>0.16759299999999999</c:v>
                </c:pt>
                <c:pt idx="494">
                  <c:v>0.217416</c:v>
                </c:pt>
                <c:pt idx="495">
                  <c:v>3.8242999999999999E-2</c:v>
                </c:pt>
                <c:pt idx="496">
                  <c:v>-7.3774999999999993E-2</c:v>
                </c:pt>
                <c:pt idx="497">
                  <c:v>6.5290000000000001E-3</c:v>
                </c:pt>
                <c:pt idx="498">
                  <c:v>8.2460000000000006E-2</c:v>
                </c:pt>
                <c:pt idx="499">
                  <c:v>0.166549</c:v>
                </c:pt>
                <c:pt idx="500">
                  <c:v>0.33089099999999999</c:v>
                </c:pt>
                <c:pt idx="501">
                  <c:v>0.39441199999999998</c:v>
                </c:pt>
                <c:pt idx="502">
                  <c:v>0.33754200000000001</c:v>
                </c:pt>
                <c:pt idx="503">
                  <c:v>0.49285899999999999</c:v>
                </c:pt>
                <c:pt idx="504">
                  <c:v>0.73509400000000003</c:v>
                </c:pt>
                <c:pt idx="505">
                  <c:v>0.84763500000000003</c:v>
                </c:pt>
                <c:pt idx="506">
                  <c:v>0.89187000000000005</c:v>
                </c:pt>
                <c:pt idx="507">
                  <c:v>1.008856</c:v>
                </c:pt>
                <c:pt idx="508">
                  <c:v>1.041588</c:v>
                </c:pt>
                <c:pt idx="509">
                  <c:v>0.71716000000000002</c:v>
                </c:pt>
                <c:pt idx="510">
                  <c:v>0.48741200000000001</c:v>
                </c:pt>
                <c:pt idx="511">
                  <c:v>0.41574299999999997</c:v>
                </c:pt>
                <c:pt idx="512">
                  <c:v>0.46305600000000002</c:v>
                </c:pt>
                <c:pt idx="513">
                  <c:v>0.37473200000000001</c:v>
                </c:pt>
                <c:pt idx="514">
                  <c:v>0.45799400000000001</c:v>
                </c:pt>
                <c:pt idx="515">
                  <c:v>0.42603600000000003</c:v>
                </c:pt>
                <c:pt idx="516">
                  <c:v>0.31042599999999998</c:v>
                </c:pt>
                <c:pt idx="517">
                  <c:v>0.18543999999999999</c:v>
                </c:pt>
                <c:pt idx="518">
                  <c:v>0.128307</c:v>
                </c:pt>
                <c:pt idx="519">
                  <c:v>4.1196000000000003E-2</c:v>
                </c:pt>
                <c:pt idx="520">
                  <c:v>-2.7914000000000001E-2</c:v>
                </c:pt>
                <c:pt idx="521">
                  <c:v>-6.8680000000000005E-2</c:v>
                </c:pt>
                <c:pt idx="522">
                  <c:v>-6.6693000000000002E-2</c:v>
                </c:pt>
                <c:pt idx="523">
                  <c:v>-0.17586199999999999</c:v>
                </c:pt>
                <c:pt idx="524">
                  <c:v>-0.248062</c:v>
                </c:pt>
                <c:pt idx="525">
                  <c:v>-0.320079</c:v>
                </c:pt>
                <c:pt idx="526">
                  <c:v>-0.329378</c:v>
                </c:pt>
                <c:pt idx="527">
                  <c:v>-0.367591</c:v>
                </c:pt>
                <c:pt idx="528">
                  <c:v>-0.33663999999999999</c:v>
                </c:pt>
                <c:pt idx="529">
                  <c:v>-0.364012</c:v>
                </c:pt>
                <c:pt idx="530">
                  <c:v>-0.385185</c:v>
                </c:pt>
                <c:pt idx="531">
                  <c:v>-0.44198500000000002</c:v>
                </c:pt>
                <c:pt idx="532">
                  <c:v>-0.41581400000000002</c:v>
                </c:pt>
                <c:pt idx="533">
                  <c:v>-0.41574800000000001</c:v>
                </c:pt>
                <c:pt idx="534">
                  <c:v>-0.40618799999999999</c:v>
                </c:pt>
                <c:pt idx="535">
                  <c:v>-0.39443099999999998</c:v>
                </c:pt>
                <c:pt idx="536">
                  <c:v>-0.350219</c:v>
                </c:pt>
                <c:pt idx="537">
                  <c:v>-0.40434799999999999</c:v>
                </c:pt>
                <c:pt idx="538">
                  <c:v>-0.43376199999999998</c:v>
                </c:pt>
                <c:pt idx="539">
                  <c:v>-0.448606</c:v>
                </c:pt>
                <c:pt idx="540">
                  <c:v>-0.43691999999999998</c:v>
                </c:pt>
                <c:pt idx="541">
                  <c:v>-0.44052999999999998</c:v>
                </c:pt>
                <c:pt idx="542">
                  <c:v>-0.41441099999999997</c:v>
                </c:pt>
                <c:pt idx="543">
                  <c:v>-0.452284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JIP_v_den_pozitivity_7dni_z_HOSP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6.4198473284100004</c:v>
                </c:pt>
                <c:pt idx="1">
                  <c:v>6.9259259263599997</c:v>
                </c:pt>
                <c:pt idx="2">
                  <c:v>3.3200000001199999</c:v>
                </c:pt>
                <c:pt idx="3">
                  <c:v>1.53881987579</c:v>
                </c:pt>
                <c:pt idx="4">
                  <c:v>1.22905027932</c:v>
                </c:pt>
                <c:pt idx="5">
                  <c:v>1.34673913042</c:v>
                </c:pt>
                <c:pt idx="6">
                  <c:v>0.19538378957999999</c:v>
                </c:pt>
                <c:pt idx="7">
                  <c:v>-5.3738317760000001E-2</c:v>
                </c:pt>
                <c:pt idx="8">
                  <c:v>-1.8595041319999998E-2</c:v>
                </c:pt>
                <c:pt idx="9">
                  <c:v>-0.19834024895999999</c:v>
                </c:pt>
                <c:pt idx="10">
                  <c:v>-0.2251082251</c:v>
                </c:pt>
                <c:pt idx="11">
                  <c:v>-0.21508756173999999</c:v>
                </c:pt>
                <c:pt idx="12">
                  <c:v>-0.28125</c:v>
                </c:pt>
                <c:pt idx="13">
                  <c:v>-8.1129943489999995E-2</c:v>
                </c:pt>
                <c:pt idx="14">
                  <c:v>-7.9707940369999994E-2</c:v>
                </c:pt>
                <c:pt idx="15">
                  <c:v>-0.20818399042999999</c:v>
                </c:pt>
                <c:pt idx="16">
                  <c:v>-2.1186440680000002E-2</c:v>
                </c:pt>
                <c:pt idx="17">
                  <c:v>-0.22933081206</c:v>
                </c:pt>
                <c:pt idx="18">
                  <c:v>-3.4602076119999998E-2</c:v>
                </c:pt>
                <c:pt idx="19">
                  <c:v>5.9245960479999998E-2</c:v>
                </c:pt>
                <c:pt idx="20">
                  <c:v>-2.4393442630000001E-2</c:v>
                </c:pt>
                <c:pt idx="21">
                  <c:v>0.19451976594000001</c:v>
                </c:pt>
                <c:pt idx="22">
                  <c:v>0.24867724867999999</c:v>
                </c:pt>
                <c:pt idx="23">
                  <c:v>0.41126760563999998</c:v>
                </c:pt>
                <c:pt idx="24">
                  <c:v>0.43346508564000003</c:v>
                </c:pt>
                <c:pt idx="25">
                  <c:v>0.14891210326000001</c:v>
                </c:pt>
                <c:pt idx="26">
                  <c:v>3.5965705200000003E-2</c:v>
                </c:pt>
                <c:pt idx="27">
                  <c:v>0.10695102684</c:v>
                </c:pt>
                <c:pt idx="28">
                  <c:v>-5.3398058259999999E-2</c:v>
                </c:pt>
                <c:pt idx="29">
                  <c:v>-0.16078702355999999</c:v>
                </c:pt>
                <c:pt idx="30">
                  <c:v>-0.17523052561999999</c:v>
                </c:pt>
                <c:pt idx="31">
                  <c:v>-0.15327643568999999</c:v>
                </c:pt>
                <c:pt idx="32">
                  <c:v>5.3349875939999999E-2</c:v>
                </c:pt>
                <c:pt idx="33">
                  <c:v>4.0010059090000001E-2</c:v>
                </c:pt>
                <c:pt idx="34">
                  <c:v>4.8492834780000001E-2</c:v>
                </c:pt>
                <c:pt idx="35">
                  <c:v>0.21141866747999999</c:v>
                </c:pt>
                <c:pt idx="36">
                  <c:v>0.27147196666000001</c:v>
                </c:pt>
                <c:pt idx="37">
                  <c:v>0.19438035596</c:v>
                </c:pt>
                <c:pt idx="38">
                  <c:v>5.0639386180000003E-2</c:v>
                </c:pt>
                <c:pt idx="39">
                  <c:v>-6.7775862739999998E-2</c:v>
                </c:pt>
                <c:pt idx="40">
                  <c:v>1.52355251E-3</c:v>
                </c:pt>
                <c:pt idx="41">
                  <c:v>-0.12345563068</c:v>
                </c:pt>
                <c:pt idx="42">
                  <c:v>-0.23526283677000001</c:v>
                </c:pt>
                <c:pt idx="43">
                  <c:v>-0.2351519919</c:v>
                </c:pt>
                <c:pt idx="44">
                  <c:v>-0.23981432254999999</c:v>
                </c:pt>
                <c:pt idx="45">
                  <c:v>-0.19184909726999999</c:v>
                </c:pt>
                <c:pt idx="46">
                  <c:v>-0.23255936279</c:v>
                </c:pt>
                <c:pt idx="47">
                  <c:v>-0.19179862995999999</c:v>
                </c:pt>
                <c:pt idx="48">
                  <c:v>-0.13386845194999999</c:v>
                </c:pt>
                <c:pt idx="49">
                  <c:v>-6.2842278200000004E-2</c:v>
                </c:pt>
                <c:pt idx="50">
                  <c:v>-7.9223377119999994E-2</c:v>
                </c:pt>
                <c:pt idx="51">
                  <c:v>-8.7579344079999996E-2</c:v>
                </c:pt>
                <c:pt idx="52">
                  <c:v>-8.1540490539999996E-2</c:v>
                </c:pt>
                <c:pt idx="53">
                  <c:v>-4.0809850209999998E-2</c:v>
                </c:pt>
                <c:pt idx="54">
                  <c:v>-3.2010551720000002E-2</c:v>
                </c:pt>
                <c:pt idx="55">
                  <c:v>-1.75557057E-3</c:v>
                </c:pt>
                <c:pt idx="56">
                  <c:v>-2.521227568E-2</c:v>
                </c:pt>
                <c:pt idx="57">
                  <c:v>-5.0213781450000002E-2</c:v>
                </c:pt>
                <c:pt idx="58">
                  <c:v>4.4738792210000003E-2</c:v>
                </c:pt>
                <c:pt idx="59">
                  <c:v>-2.8011204500000002E-3</c:v>
                </c:pt>
                <c:pt idx="60">
                  <c:v>-1.2441699150000001E-2</c:v>
                </c:pt>
                <c:pt idx="61">
                  <c:v>-4.9190852530000002E-2</c:v>
                </c:pt>
                <c:pt idx="62">
                  <c:v>-7.3068885920000007E-2</c:v>
                </c:pt>
                <c:pt idx="63">
                  <c:v>-5.6281771969999998E-2</c:v>
                </c:pt>
                <c:pt idx="64">
                  <c:v>-9.0491302770000004E-2</c:v>
                </c:pt>
                <c:pt idx="65">
                  <c:v>-0.10018638838</c:v>
                </c:pt>
                <c:pt idx="66">
                  <c:v>-8.2830041739999999E-2</c:v>
                </c:pt>
                <c:pt idx="67">
                  <c:v>-0.10680485145</c:v>
                </c:pt>
                <c:pt idx="68">
                  <c:v>-8.8414634150000004E-2</c:v>
                </c:pt>
                <c:pt idx="69">
                  <c:v>-7.9092614209999995E-2</c:v>
                </c:pt>
                <c:pt idx="70">
                  <c:v>-7.8789359059999994E-2</c:v>
                </c:pt>
                <c:pt idx="71">
                  <c:v>-6.9395130200000002E-2</c:v>
                </c:pt>
                <c:pt idx="72">
                  <c:v>-0.13382531022999999</c:v>
                </c:pt>
                <c:pt idx="73">
                  <c:v>-0.16958333332</c:v>
                </c:pt>
                <c:pt idx="74">
                  <c:v>-0.14171634415000001</c:v>
                </c:pt>
                <c:pt idx="75">
                  <c:v>-0.15244685844</c:v>
                </c:pt>
                <c:pt idx="76">
                  <c:v>-0.12596155221999999</c:v>
                </c:pt>
                <c:pt idx="77">
                  <c:v>-0.10323068819</c:v>
                </c:pt>
                <c:pt idx="78">
                  <c:v>-2.9219129850000001E-2</c:v>
                </c:pt>
                <c:pt idx="79">
                  <c:v>-4.3125317200000002E-3</c:v>
                </c:pt>
                <c:pt idx="80">
                  <c:v>3.4177590639999998E-2</c:v>
                </c:pt>
                <c:pt idx="81">
                  <c:v>0.11386679651999999</c:v>
                </c:pt>
                <c:pt idx="82">
                  <c:v>0.10099536445</c:v>
                </c:pt>
                <c:pt idx="83">
                  <c:v>7.4199036800000001E-3</c:v>
                </c:pt>
                <c:pt idx="84">
                  <c:v>-4.4583634189999999E-2</c:v>
                </c:pt>
                <c:pt idx="85">
                  <c:v>6.7788346190000001E-2</c:v>
                </c:pt>
                <c:pt idx="86">
                  <c:v>4.9929357030000003E-2</c:v>
                </c:pt>
                <c:pt idx="87">
                  <c:v>1.029714621E-2</c:v>
                </c:pt>
                <c:pt idx="88">
                  <c:v>-7.2056999070000002E-2</c:v>
                </c:pt>
                <c:pt idx="89">
                  <c:v>-9.9343856300000005E-3</c:v>
                </c:pt>
                <c:pt idx="90">
                  <c:v>0.10965321773</c:v>
                </c:pt>
                <c:pt idx="91">
                  <c:v>3.7394957970000003E-2</c:v>
                </c:pt>
                <c:pt idx="92">
                  <c:v>1.118774889E-2</c:v>
                </c:pt>
                <c:pt idx="93">
                  <c:v>8.3439118770000001E-2</c:v>
                </c:pt>
                <c:pt idx="94">
                  <c:v>0.17541674572999999</c:v>
                </c:pt>
                <c:pt idx="95">
                  <c:v>0.17564233544999999</c:v>
                </c:pt>
                <c:pt idx="96">
                  <c:v>0.10474340213</c:v>
                </c:pt>
                <c:pt idx="97">
                  <c:v>6.1670569879999998E-2</c:v>
                </c:pt>
                <c:pt idx="98">
                  <c:v>8.304279262E-2</c:v>
                </c:pt>
                <c:pt idx="99">
                  <c:v>-3.5127150070000002E-2</c:v>
                </c:pt>
                <c:pt idx="100">
                  <c:v>-0.10931296037</c:v>
                </c:pt>
                <c:pt idx="101">
                  <c:v>-0.11319089472</c:v>
                </c:pt>
                <c:pt idx="102">
                  <c:v>-0.10103824851</c:v>
                </c:pt>
                <c:pt idx="103">
                  <c:v>-6.4475743360000004E-2</c:v>
                </c:pt>
                <c:pt idx="104">
                  <c:v>-2.8475090790000001E-2</c:v>
                </c:pt>
                <c:pt idx="105">
                  <c:v>-6.013986013E-2</c:v>
                </c:pt>
                <c:pt idx="106">
                  <c:v>1.433213897E-2</c:v>
                </c:pt>
                <c:pt idx="107">
                  <c:v>3.4990448680000001E-2</c:v>
                </c:pt>
                <c:pt idx="108">
                  <c:v>-4.4989600740000003E-2</c:v>
                </c:pt>
                <c:pt idx="109">
                  <c:v>-4.9676880940000001E-2</c:v>
                </c:pt>
                <c:pt idx="110">
                  <c:v>-0.10163019796</c:v>
                </c:pt>
                <c:pt idx="111">
                  <c:v>-9.7960992910000003E-2</c:v>
                </c:pt>
                <c:pt idx="112">
                  <c:v>1.7453602209999999E-2</c:v>
                </c:pt>
                <c:pt idx="113">
                  <c:v>1.2951405859999999E-2</c:v>
                </c:pt>
                <c:pt idx="114">
                  <c:v>9.2292633380000003E-2</c:v>
                </c:pt>
                <c:pt idx="115">
                  <c:v>0.15030483006000001</c:v>
                </c:pt>
                <c:pt idx="116">
                  <c:v>0.17904082772999999</c:v>
                </c:pt>
                <c:pt idx="117">
                  <c:v>0.24057914963999999</c:v>
                </c:pt>
                <c:pt idx="118">
                  <c:v>0.16395154856999999</c:v>
                </c:pt>
                <c:pt idx="119">
                  <c:v>0.1307441701</c:v>
                </c:pt>
                <c:pt idx="120">
                  <c:v>0.12110995633</c:v>
                </c:pt>
                <c:pt idx="121">
                  <c:v>6.0301972010000003E-2</c:v>
                </c:pt>
                <c:pt idx="122">
                  <c:v>3.567157847E-2</c:v>
                </c:pt>
                <c:pt idx="123">
                  <c:v>6.6874054299999996E-3</c:v>
                </c:pt>
                <c:pt idx="124">
                  <c:v>-4.3224832550000002E-2</c:v>
                </c:pt>
                <c:pt idx="125">
                  <c:v>-9.5781791399999996E-2</c:v>
                </c:pt>
                <c:pt idx="126">
                  <c:v>-0.13321699474000001</c:v>
                </c:pt>
                <c:pt idx="127">
                  <c:v>-0.15737904302</c:v>
                </c:pt>
                <c:pt idx="128">
                  <c:v>-0.19215984991999999</c:v>
                </c:pt>
                <c:pt idx="129">
                  <c:v>-0.17409987774999999</c:v>
                </c:pt>
                <c:pt idx="130">
                  <c:v>-0.16800845025</c:v>
                </c:pt>
                <c:pt idx="131">
                  <c:v>-8.6693489070000004E-2</c:v>
                </c:pt>
                <c:pt idx="132">
                  <c:v>-9.4212616459999995E-2</c:v>
                </c:pt>
                <c:pt idx="133">
                  <c:v>-8.8171650870000007E-2</c:v>
                </c:pt>
                <c:pt idx="134">
                  <c:v>-5.011109717E-2</c:v>
                </c:pt>
                <c:pt idx="135">
                  <c:v>1.6605789249999999E-2</c:v>
                </c:pt>
                <c:pt idx="136">
                  <c:v>1.534765091E-2</c:v>
                </c:pt>
                <c:pt idx="137">
                  <c:v>-3.4586466160000003E-2</c:v>
                </c:pt>
                <c:pt idx="138">
                  <c:v>-6.3854516920000007E-2</c:v>
                </c:pt>
                <c:pt idx="139">
                  <c:v>5.5161611739999998E-2</c:v>
                </c:pt>
                <c:pt idx="140">
                  <c:v>0.11380015735</c:v>
                </c:pt>
                <c:pt idx="141">
                  <c:v>5.1925322859999998E-2</c:v>
                </c:pt>
                <c:pt idx="142">
                  <c:v>-1.55270657E-2</c:v>
                </c:pt>
                <c:pt idx="143">
                  <c:v>2.648305083E-2</c:v>
                </c:pt>
                <c:pt idx="144">
                  <c:v>8.6764608830000006E-2</c:v>
                </c:pt>
                <c:pt idx="145">
                  <c:v>5.2335587760000003E-2</c:v>
                </c:pt>
                <c:pt idx="146">
                  <c:v>-7.4305868999999995E-4</c:v>
                </c:pt>
                <c:pt idx="147">
                  <c:v>1.505832535E-2</c:v>
                </c:pt>
                <c:pt idx="148">
                  <c:v>3.1910659670000001E-2</c:v>
                </c:pt>
                <c:pt idx="149">
                  <c:v>2.9676191059999999E-2</c:v>
                </c:pt>
                <c:pt idx="150">
                  <c:v>5.3525036579999997E-2</c:v>
                </c:pt>
                <c:pt idx="151">
                  <c:v>4.930061912E-2</c:v>
                </c:pt>
                <c:pt idx="152">
                  <c:v>5.5252199410000001E-2</c:v>
                </c:pt>
                <c:pt idx="153">
                  <c:v>1.86797631E-2</c:v>
                </c:pt>
                <c:pt idx="154">
                  <c:v>-2.0947823420000001E-2</c:v>
                </c:pt>
                <c:pt idx="155">
                  <c:v>1.345481948E-2</c:v>
                </c:pt>
                <c:pt idx="156">
                  <c:v>7.2674075840000005E-2</c:v>
                </c:pt>
                <c:pt idx="157">
                  <c:v>3.9830389289999997E-2</c:v>
                </c:pt>
                <c:pt idx="158">
                  <c:v>2.2121040129999998E-2</c:v>
                </c:pt>
                <c:pt idx="159">
                  <c:v>4.6618638599999996E-3</c:v>
                </c:pt>
                <c:pt idx="160">
                  <c:v>8.5797484950000003E-2</c:v>
                </c:pt>
                <c:pt idx="161">
                  <c:v>6.5945428589999994E-2</c:v>
                </c:pt>
                <c:pt idx="162">
                  <c:v>1.6492394350000002E-2</c:v>
                </c:pt>
                <c:pt idx="163">
                  <c:v>-5.9575962009999997E-2</c:v>
                </c:pt>
                <c:pt idx="164">
                  <c:v>-0.12048208008</c:v>
                </c:pt>
                <c:pt idx="165">
                  <c:v>-0.11394166442000001</c:v>
                </c:pt>
                <c:pt idx="166">
                  <c:v>-0.10048834293</c:v>
                </c:pt>
                <c:pt idx="167">
                  <c:v>-0.11740396705</c:v>
                </c:pt>
                <c:pt idx="168">
                  <c:v>-8.8640347800000005E-2</c:v>
                </c:pt>
                <c:pt idx="169">
                  <c:v>-1.6508711830000002E-2</c:v>
                </c:pt>
                <c:pt idx="170">
                  <c:v>3.1504926179999997E-2</c:v>
                </c:pt>
                <c:pt idx="171">
                  <c:v>8.0045681039999997E-2</c:v>
                </c:pt>
                <c:pt idx="172">
                  <c:v>9.5390156049999994E-2</c:v>
                </c:pt>
                <c:pt idx="173">
                  <c:v>0.10302378126</c:v>
                </c:pt>
                <c:pt idx="174">
                  <c:v>4.7303825600000004E-3</c:v>
                </c:pt>
                <c:pt idx="175">
                  <c:v>-3.584020827E-2</c:v>
                </c:pt>
                <c:pt idx="176">
                  <c:v>-1.777417693E-2</c:v>
                </c:pt>
                <c:pt idx="177">
                  <c:v>-5.4366804899999999E-3</c:v>
                </c:pt>
                <c:pt idx="178">
                  <c:v>-5.2590087760000001E-2</c:v>
                </c:pt>
                <c:pt idx="179">
                  <c:v>-6.5233785820000001E-2</c:v>
                </c:pt>
                <c:pt idx="180">
                  <c:v>-4.2315181479999998E-2</c:v>
                </c:pt>
                <c:pt idx="181">
                  <c:v>-3.9460005239999998E-2</c:v>
                </c:pt>
                <c:pt idx="182">
                  <c:v>-3.4236069670000001E-2</c:v>
                </c:pt>
                <c:pt idx="183">
                  <c:v>-7.7296363310000005E-2</c:v>
                </c:pt>
                <c:pt idx="184">
                  <c:v>-3.7000910380000002E-2</c:v>
                </c:pt>
                <c:pt idx="185">
                  <c:v>-4.4671346400000003E-3</c:v>
                </c:pt>
                <c:pt idx="186">
                  <c:v>-4.6193198009999999E-2</c:v>
                </c:pt>
                <c:pt idx="187">
                  <c:v>-6.4567040270000001E-2</c:v>
                </c:pt>
                <c:pt idx="188">
                  <c:v>-4.4283665329999999E-2</c:v>
                </c:pt>
                <c:pt idx="189">
                  <c:v>-7.2489936059999996E-2</c:v>
                </c:pt>
                <c:pt idx="190">
                  <c:v>-9.8433688409999998E-2</c:v>
                </c:pt>
                <c:pt idx="191">
                  <c:v>-0.14239910885000001</c:v>
                </c:pt>
                <c:pt idx="192">
                  <c:v>-0.14887963066000001</c:v>
                </c:pt>
                <c:pt idx="193">
                  <c:v>-7.0423045140000001E-2</c:v>
                </c:pt>
                <c:pt idx="194">
                  <c:v>-9.9329245930000004E-2</c:v>
                </c:pt>
                <c:pt idx="195">
                  <c:v>-9.1939546600000005E-2</c:v>
                </c:pt>
                <c:pt idx="196">
                  <c:v>-4.9427653510000003E-2</c:v>
                </c:pt>
                <c:pt idx="197">
                  <c:v>-7.0609812349999995E-2</c:v>
                </c:pt>
                <c:pt idx="198">
                  <c:v>-5.6829299819999998E-2</c:v>
                </c:pt>
                <c:pt idx="199">
                  <c:v>-4.9188059899999997E-2</c:v>
                </c:pt>
                <c:pt idx="200">
                  <c:v>-7.7170131919999996E-2</c:v>
                </c:pt>
                <c:pt idx="201">
                  <c:v>-1.867376812E-2</c:v>
                </c:pt>
                <c:pt idx="202">
                  <c:v>4.2334799659999998E-2</c:v>
                </c:pt>
                <c:pt idx="203">
                  <c:v>6.8653527290000002E-2</c:v>
                </c:pt>
                <c:pt idx="204">
                  <c:v>0.14129468947000001</c:v>
                </c:pt>
                <c:pt idx="205">
                  <c:v>8.1514813790000001E-2</c:v>
                </c:pt>
                <c:pt idx="206">
                  <c:v>9.3976665939999995E-2</c:v>
                </c:pt>
                <c:pt idx="207">
                  <c:v>7.5799914920000003E-2</c:v>
                </c:pt>
                <c:pt idx="208">
                  <c:v>-1.0364004019999999E-2</c:v>
                </c:pt>
                <c:pt idx="209">
                  <c:v>-6.815914662E-2</c:v>
                </c:pt>
                <c:pt idx="210">
                  <c:v>-0.12334463733999999</c:v>
                </c:pt>
                <c:pt idx="211">
                  <c:v>-9.4058516480000007E-2</c:v>
                </c:pt>
                <c:pt idx="212">
                  <c:v>-5.659470288E-2</c:v>
                </c:pt>
                <c:pt idx="213">
                  <c:v>-3.8049495359999998E-2</c:v>
                </c:pt>
                <c:pt idx="214">
                  <c:v>-3.118367348E-2</c:v>
                </c:pt>
                <c:pt idx="215">
                  <c:v>2.489237913E-2</c:v>
                </c:pt>
                <c:pt idx="216">
                  <c:v>0.10766722218999999</c:v>
                </c:pt>
                <c:pt idx="217">
                  <c:v>7.7240659789999999E-2</c:v>
                </c:pt>
                <c:pt idx="218">
                  <c:v>3.7447952149999998E-2</c:v>
                </c:pt>
                <c:pt idx="219">
                  <c:v>9.1402350909999999E-2</c:v>
                </c:pt>
                <c:pt idx="220">
                  <c:v>4.1976778809999997E-2</c:v>
                </c:pt>
                <c:pt idx="221">
                  <c:v>0.14341055743</c:v>
                </c:pt>
                <c:pt idx="222">
                  <c:v>0.14604690107000001</c:v>
                </c:pt>
                <c:pt idx="223">
                  <c:v>0.19593702537999999</c:v>
                </c:pt>
                <c:pt idx="224">
                  <c:v>0.36369998428</c:v>
                </c:pt>
                <c:pt idx="225">
                  <c:v>0.23075998220999999</c:v>
                </c:pt>
                <c:pt idx="226">
                  <c:v>0.15152185055</c:v>
                </c:pt>
                <c:pt idx="227">
                  <c:v>0.14749724266</c:v>
                </c:pt>
                <c:pt idx="228">
                  <c:v>4.5340971399999999E-2</c:v>
                </c:pt>
                <c:pt idx="229">
                  <c:v>-3.2390712150000001E-2</c:v>
                </c:pt>
                <c:pt idx="230">
                  <c:v>-0.15468424706</c:v>
                </c:pt>
                <c:pt idx="231">
                  <c:v>-0.14830058562000001</c:v>
                </c:pt>
                <c:pt idx="232">
                  <c:v>-1.0959760670000001E-2</c:v>
                </c:pt>
                <c:pt idx="233">
                  <c:v>1.120632257E-2</c:v>
                </c:pt>
                <c:pt idx="234">
                  <c:v>6.2948703090000002E-2</c:v>
                </c:pt>
                <c:pt idx="235">
                  <c:v>0.11210208050000001</c:v>
                </c:pt>
                <c:pt idx="236">
                  <c:v>0.24886877829000001</c:v>
                </c:pt>
                <c:pt idx="237">
                  <c:v>0.22928417746999999</c:v>
                </c:pt>
                <c:pt idx="238">
                  <c:v>0.14281603556</c:v>
                </c:pt>
                <c:pt idx="239">
                  <c:v>0.12174976044999999</c:v>
                </c:pt>
                <c:pt idx="240">
                  <c:v>7.7495203210000002E-2</c:v>
                </c:pt>
                <c:pt idx="241">
                  <c:v>2.2392391500000001E-2</c:v>
                </c:pt>
                <c:pt idx="242">
                  <c:v>-0.15698256863000001</c:v>
                </c:pt>
                <c:pt idx="243">
                  <c:v>-0.2360435156</c:v>
                </c:pt>
                <c:pt idx="244">
                  <c:v>-0.16227865102</c:v>
                </c:pt>
                <c:pt idx="245">
                  <c:v>-0.19559709424999999</c:v>
                </c:pt>
                <c:pt idx="246">
                  <c:v>-0.23921864130000001</c:v>
                </c:pt>
                <c:pt idx="247">
                  <c:v>-0.24975433998999999</c:v>
                </c:pt>
                <c:pt idx="248">
                  <c:v>-8.2209886329999995E-2</c:v>
                </c:pt>
                <c:pt idx="249">
                  <c:v>0.15992561599999999</c:v>
                </c:pt>
                <c:pt idx="250">
                  <c:v>0.18316341827999999</c:v>
                </c:pt>
                <c:pt idx="251">
                  <c:v>0.13255360622000001</c:v>
                </c:pt>
                <c:pt idx="252">
                  <c:v>0.23341040460000001</c:v>
                </c:pt>
                <c:pt idx="253">
                  <c:v>0.35546613011</c:v>
                </c:pt>
                <c:pt idx="254">
                  <c:v>0.25231726696000001</c:v>
                </c:pt>
                <c:pt idx="255">
                  <c:v>6.7697594479999998E-2</c:v>
                </c:pt>
                <c:pt idx="256">
                  <c:v>-5.1028145759999997E-2</c:v>
                </c:pt>
                <c:pt idx="257">
                  <c:v>-0.13544057918999999</c:v>
                </c:pt>
                <c:pt idx="258">
                  <c:v>-0.18981267345</c:v>
                </c:pt>
                <c:pt idx="259">
                  <c:v>-0.15654168892000001</c:v>
                </c:pt>
                <c:pt idx="260">
                  <c:v>-0.17192982456</c:v>
                </c:pt>
                <c:pt idx="261">
                  <c:v>-0.15301455301</c:v>
                </c:pt>
                <c:pt idx="262">
                  <c:v>-4.5489512279999998E-2</c:v>
                </c:pt>
                <c:pt idx="263">
                  <c:v>0.32256036216</c:v>
                </c:pt>
                <c:pt idx="264">
                  <c:v>0.47826785573000002</c:v>
                </c:pt>
                <c:pt idx="265">
                  <c:v>0.32922802318</c:v>
                </c:pt>
                <c:pt idx="266">
                  <c:v>0.22165820642</c:v>
                </c:pt>
                <c:pt idx="267">
                  <c:v>0.30088823095</c:v>
                </c:pt>
                <c:pt idx="268">
                  <c:v>0.41304902960000001</c:v>
                </c:pt>
                <c:pt idx="269">
                  <c:v>-4.1234627439999998E-2</c:v>
                </c:pt>
                <c:pt idx="270">
                  <c:v>-0.39141914190999999</c:v>
                </c:pt>
                <c:pt idx="271">
                  <c:v>-0.12262156448</c:v>
                </c:pt>
                <c:pt idx="272">
                  <c:v>9.1412742389999996E-2</c:v>
                </c:pt>
                <c:pt idx="273">
                  <c:v>0.11976792375</c:v>
                </c:pt>
                <c:pt idx="274">
                  <c:v>-0.19274376416</c:v>
                </c:pt>
                <c:pt idx="275">
                  <c:v>-6.3967136140000005E-2</c:v>
                </c:pt>
                <c:pt idx="276">
                  <c:v>0.80895522386999996</c:v>
                </c:pt>
                <c:pt idx="277">
                  <c:v>0.20050761421999999</c:v>
                </c:pt>
                <c:pt idx="278">
                  <c:v>-0.37362637362000001</c:v>
                </c:pt>
                <c:pt idx="279">
                  <c:v>-0.41474654376999998</c:v>
                </c:pt>
                <c:pt idx="280">
                  <c:v>-0.44000000001</c:v>
                </c:pt>
                <c:pt idx="281">
                  <c:v>-0.32913385826000002</c:v>
                </c:pt>
                <c:pt idx="282">
                  <c:v>-0.19599999999000001</c:v>
                </c:pt>
                <c:pt idx="283">
                  <c:v>-0.33050127440999999</c:v>
                </c:pt>
                <c:pt idx="284">
                  <c:v>0.51666666666000005</c:v>
                </c:pt>
                <c:pt idx="285">
                  <c:v>0.66666666665999996</c:v>
                </c:pt>
                <c:pt idx="286">
                  <c:v>1.13068181822</c:v>
                </c:pt>
                <c:pt idx="287">
                  <c:v>1.57432432433</c:v>
                </c:pt>
                <c:pt idx="288">
                  <c:v>0.92307692306</c:v>
                </c:pt>
                <c:pt idx="289">
                  <c:v>0.13028169011999999</c:v>
                </c:pt>
                <c:pt idx="290">
                  <c:v>0.15942028984000001</c:v>
                </c:pt>
                <c:pt idx="291">
                  <c:v>4.7887323939999997E-2</c:v>
                </c:pt>
                <c:pt idx="292">
                  <c:v>0.29411764704999999</c:v>
                </c:pt>
                <c:pt idx="293">
                  <c:v>-7.9601990050000002E-2</c:v>
                </c:pt>
                <c:pt idx="294">
                  <c:v>-0.33333333332999998</c:v>
                </c:pt>
                <c:pt idx="295">
                  <c:v>7.5757575760000001E-2</c:v>
                </c:pt>
                <c:pt idx="296">
                  <c:v>0.50000000001</c:v>
                </c:pt>
                <c:pt idx="297">
                  <c:v>0.21022727271</c:v>
                </c:pt>
                <c:pt idx="298">
                  <c:v>-0.24444444443999999</c:v>
                </c:pt>
                <c:pt idx="299">
                  <c:v>-0.62777777777999999</c:v>
                </c:pt>
                <c:pt idx="300">
                  <c:v>-7.1428571430000004E-2</c:v>
                </c:pt>
                <c:pt idx="301">
                  <c:v>0.46666666666000001</c:v>
                </c:pt>
                <c:pt idx="302">
                  <c:v>0.39393939393999999</c:v>
                </c:pt>
                <c:pt idx="303">
                  <c:v>0.33333333333999998</c:v>
                </c:pt>
                <c:pt idx="304">
                  <c:v>0.86206896553000001</c:v>
                </c:pt>
                <c:pt idx="305">
                  <c:v>2.72413793113</c:v>
                </c:pt>
                <c:pt idx="306">
                  <c:v>0.75000000002</c:v>
                </c:pt>
                <c:pt idx="307">
                  <c:v>0.80000000001000005</c:v>
                </c:pt>
                <c:pt idx="309">
                  <c:v>0.41935483870000001</c:v>
                </c:pt>
                <c:pt idx="310">
                  <c:v>-0.22666666665999999</c:v>
                </c:pt>
                <c:pt idx="311">
                  <c:v>-0.25641025640999998</c:v>
                </c:pt>
                <c:pt idx="312">
                  <c:v>0.11111111110999999</c:v>
                </c:pt>
                <c:pt idx="313">
                  <c:v>-0.16666666665999999</c:v>
                </c:pt>
                <c:pt idx="316">
                  <c:v>0.31578947366999999</c:v>
                </c:pt>
                <c:pt idx="317">
                  <c:v>8.3333333329999995E-2</c:v>
                </c:pt>
                <c:pt idx="318">
                  <c:v>-5.2631578950000001E-2</c:v>
                </c:pt>
                <c:pt idx="319">
                  <c:v>8.1081081080000006E-2</c:v>
                </c:pt>
                <c:pt idx="320">
                  <c:v>-2.7777777770000001E-2</c:v>
                </c:pt>
                <c:pt idx="322">
                  <c:v>0.25</c:v>
                </c:pt>
                <c:pt idx="323">
                  <c:v>-7.692307692E-2</c:v>
                </c:pt>
                <c:pt idx="324">
                  <c:v>-0.26923076922</c:v>
                </c:pt>
                <c:pt idx="325">
                  <c:v>-0.26973684209999998</c:v>
                </c:pt>
                <c:pt idx="326">
                  <c:v>-9.9999999990000005E-2</c:v>
                </c:pt>
                <c:pt idx="327">
                  <c:v>-0.33152173911999999</c:v>
                </c:pt>
                <c:pt idx="328">
                  <c:v>-0.54399999999000004</c:v>
                </c:pt>
                <c:pt idx="329">
                  <c:v>-0.45833333333999998</c:v>
                </c:pt>
                <c:pt idx="330">
                  <c:v>-0.20408163266000001</c:v>
                </c:pt>
                <c:pt idx="331">
                  <c:v>-6.1728395060000003E-2</c:v>
                </c:pt>
                <c:pt idx="332">
                  <c:v>0.25786163521</c:v>
                </c:pt>
                <c:pt idx="333">
                  <c:v>0.47435897435000002</c:v>
                </c:pt>
                <c:pt idx="334">
                  <c:v>1.0833333333299999</c:v>
                </c:pt>
                <c:pt idx="335">
                  <c:v>1.7906976744500001</c:v>
                </c:pt>
                <c:pt idx="336">
                  <c:v>1.27906976746</c:v>
                </c:pt>
                <c:pt idx="337">
                  <c:v>0.6875</c:v>
                </c:pt>
                <c:pt idx="338">
                  <c:v>0.32500000000000001</c:v>
                </c:pt>
                <c:pt idx="339">
                  <c:v>-7.555555555E-2</c:v>
                </c:pt>
                <c:pt idx="340">
                  <c:v>-0.30434782607999999</c:v>
                </c:pt>
                <c:pt idx="341">
                  <c:v>-0.41363636364</c:v>
                </c:pt>
                <c:pt idx="342">
                  <c:v>-0.31746031744999997</c:v>
                </c:pt>
                <c:pt idx="343">
                  <c:v>-0.47826086956000002</c:v>
                </c:pt>
                <c:pt idx="344">
                  <c:v>-0.21951219512</c:v>
                </c:pt>
                <c:pt idx="345">
                  <c:v>0.30813953489000001</c:v>
                </c:pt>
                <c:pt idx="346">
                  <c:v>0.15</c:v>
                </c:pt>
                <c:pt idx="347">
                  <c:v>0.36434108526999998</c:v>
                </c:pt>
                <c:pt idx="348">
                  <c:v>0.14130434781000001</c:v>
                </c:pt>
                <c:pt idx="349">
                  <c:v>0.56462585034000001</c:v>
                </c:pt>
                <c:pt idx="350">
                  <c:v>4.5918367340000002E-2</c:v>
                </c:pt>
                <c:pt idx="351">
                  <c:v>-0.49411764706</c:v>
                </c:pt>
                <c:pt idx="352">
                  <c:v>-0.28571428572000002</c:v>
                </c:pt>
                <c:pt idx="353">
                  <c:v>-0.10416666666</c:v>
                </c:pt>
                <c:pt idx="354">
                  <c:v>-0.19298245613000001</c:v>
                </c:pt>
                <c:pt idx="355">
                  <c:v>-0.32413793102999999</c:v>
                </c:pt>
                <c:pt idx="356">
                  <c:v>-0.3</c:v>
                </c:pt>
                <c:pt idx="357">
                  <c:v>0.41666666667000002</c:v>
                </c:pt>
                <c:pt idx="358">
                  <c:v>0.37704918032000001</c:v>
                </c:pt>
                <c:pt idx="359">
                  <c:v>-0.17241379309999999</c:v>
                </c:pt>
                <c:pt idx="360">
                  <c:v>-0.37818181818000002</c:v>
                </c:pt>
                <c:pt idx="361">
                  <c:v>-0.19444444444</c:v>
                </c:pt>
                <c:pt idx="362">
                  <c:v>-0.17647058823</c:v>
                </c:pt>
                <c:pt idx="363">
                  <c:v>-0.48936170212000002</c:v>
                </c:pt>
                <c:pt idx="364">
                  <c:v>-0.77407407406999995</c:v>
                </c:pt>
                <c:pt idx="365">
                  <c:v>-0.70999999998999996</c:v>
                </c:pt>
                <c:pt idx="366">
                  <c:v>-0.30817610063</c:v>
                </c:pt>
                <c:pt idx="367">
                  <c:v>0.5</c:v>
                </c:pt>
                <c:pt idx="368">
                  <c:v>0.37096774193999998</c:v>
                </c:pt>
                <c:pt idx="369">
                  <c:v>1.3840579710200001</c:v>
                </c:pt>
                <c:pt idx="370">
                  <c:v>3.9390243902400002</c:v>
                </c:pt>
                <c:pt idx="371">
                  <c:v>4.8139534883500001</c:v>
                </c:pt>
                <c:pt idx="372">
                  <c:v>1.7732558139700001</c:v>
                </c:pt>
                <c:pt idx="373">
                  <c:v>4.347826087E-2</c:v>
                </c:pt>
                <c:pt idx="374">
                  <c:v>-4.6153846149999997E-2</c:v>
                </c:pt>
                <c:pt idx="375">
                  <c:v>-0.28125</c:v>
                </c:pt>
                <c:pt idx="376">
                  <c:v>-0.46925566342000002</c:v>
                </c:pt>
                <c:pt idx="377">
                  <c:v>-0.40173913042999998</c:v>
                </c:pt>
                <c:pt idx="378">
                  <c:v>-0.32283464565999997</c:v>
                </c:pt>
                <c:pt idx="379">
                  <c:v>-0.19767441860000001</c:v>
                </c:pt>
                <c:pt idx="380">
                  <c:v>8.3333333329999995E-2</c:v>
                </c:pt>
                <c:pt idx="381">
                  <c:v>-8.5714285710000004E-2</c:v>
                </c:pt>
                <c:pt idx="382">
                  <c:v>0.16780045351</c:v>
                </c:pt>
                <c:pt idx="383">
                  <c:v>9.8090277759999997E-2</c:v>
                </c:pt>
                <c:pt idx="384">
                  <c:v>-0.28421900160000002</c:v>
                </c:pt>
                <c:pt idx="385">
                  <c:v>-0.45707070707000003</c:v>
                </c:pt>
                <c:pt idx="386">
                  <c:v>-0.45454545454</c:v>
                </c:pt>
                <c:pt idx="387">
                  <c:v>-0.32835820896000001</c:v>
                </c:pt>
                <c:pt idx="388">
                  <c:v>-9.5384615379999996E-2</c:v>
                </c:pt>
                <c:pt idx="389">
                  <c:v>2.1276595749999998E-2</c:v>
                </c:pt>
                <c:pt idx="390">
                  <c:v>0.37862137862</c:v>
                </c:pt>
                <c:pt idx="391">
                  <c:v>1.2285714286</c:v>
                </c:pt>
                <c:pt idx="392">
                  <c:v>1.33112582782</c:v>
                </c:pt>
                <c:pt idx="393">
                  <c:v>1.2333333333800001</c:v>
                </c:pt>
                <c:pt idx="394">
                  <c:v>0.70580110497000004</c:v>
                </c:pt>
                <c:pt idx="395">
                  <c:v>0.17788697786999999</c:v>
                </c:pt>
                <c:pt idx="396">
                  <c:v>0.1171875</c:v>
                </c:pt>
                <c:pt idx="397">
                  <c:v>0.11978568695</c:v>
                </c:pt>
                <c:pt idx="398">
                  <c:v>-0.27073863636000001</c:v>
                </c:pt>
                <c:pt idx="399">
                  <c:v>-5.7377049190000001E-2</c:v>
                </c:pt>
                <c:pt idx="400">
                  <c:v>0.19987946967</c:v>
                </c:pt>
                <c:pt idx="401">
                  <c:v>0.29455499672000002</c:v>
                </c:pt>
                <c:pt idx="402">
                  <c:v>0.46159169550000001</c:v>
                </c:pt>
                <c:pt idx="403">
                  <c:v>0.30425378513000001</c:v>
                </c:pt>
                <c:pt idx="404">
                  <c:v>0.41880007817999998</c:v>
                </c:pt>
                <c:pt idx="405">
                  <c:v>0.22905620361000001</c:v>
                </c:pt>
                <c:pt idx="406">
                  <c:v>-0.22874458874</c:v>
                </c:pt>
                <c:pt idx="407">
                  <c:v>-0.36777506963000001</c:v>
                </c:pt>
                <c:pt idx="408">
                  <c:v>-0.30311068242</c:v>
                </c:pt>
                <c:pt idx="409">
                  <c:v>-0.38371459694999999</c:v>
                </c:pt>
                <c:pt idx="410">
                  <c:v>-0.42992424241999999</c:v>
                </c:pt>
                <c:pt idx="411">
                  <c:v>-0.44431895187999998</c:v>
                </c:pt>
                <c:pt idx="412">
                  <c:v>-0.3677317376</c:v>
                </c:pt>
                <c:pt idx="413">
                  <c:v>-0.30134403698000001</c:v>
                </c:pt>
                <c:pt idx="414">
                  <c:v>-0.41241830064000001</c:v>
                </c:pt>
                <c:pt idx="415">
                  <c:v>-0.43086312117999997</c:v>
                </c:pt>
                <c:pt idx="416">
                  <c:v>-0.29584352077999998</c:v>
                </c:pt>
                <c:pt idx="417">
                  <c:v>-0.18720930231999999</c:v>
                </c:pt>
                <c:pt idx="418">
                  <c:v>-2.454384531E-2</c:v>
                </c:pt>
                <c:pt idx="419">
                  <c:v>6.4685314689999995E-2</c:v>
                </c:pt>
                <c:pt idx="420">
                  <c:v>0.11451178156</c:v>
                </c:pt>
                <c:pt idx="421">
                  <c:v>0.32837783170000001</c:v>
                </c:pt>
                <c:pt idx="422">
                  <c:v>0.25043675748999999</c:v>
                </c:pt>
                <c:pt idx="423">
                  <c:v>-5.965589323E-2</c:v>
                </c:pt>
                <c:pt idx="424">
                  <c:v>-0.22208237272</c:v>
                </c:pt>
                <c:pt idx="425">
                  <c:v>-0.25136920103999999</c:v>
                </c:pt>
                <c:pt idx="426">
                  <c:v>-0.14322089096999999</c:v>
                </c:pt>
                <c:pt idx="427">
                  <c:v>-0.14854999213</c:v>
                </c:pt>
                <c:pt idx="428">
                  <c:v>-0.21968692709000001</c:v>
                </c:pt>
                <c:pt idx="429">
                  <c:v>-0.13844922172999999</c:v>
                </c:pt>
                <c:pt idx="430">
                  <c:v>2.214718504E-2</c:v>
                </c:pt>
                <c:pt idx="431">
                  <c:v>0.19335303277999999</c:v>
                </c:pt>
                <c:pt idx="432">
                  <c:v>0.14858645627</c:v>
                </c:pt>
                <c:pt idx="433">
                  <c:v>3.0086292729999999E-2</c:v>
                </c:pt>
                <c:pt idx="434">
                  <c:v>9.2514010039999997E-2</c:v>
                </c:pt>
                <c:pt idx="435">
                  <c:v>0.20674952975999999</c:v>
                </c:pt>
                <c:pt idx="436">
                  <c:v>8.390874844E-2</c:v>
                </c:pt>
                <c:pt idx="437">
                  <c:v>-1.1071112330000001E-2</c:v>
                </c:pt>
                <c:pt idx="438">
                  <c:v>-6.4820544549999998E-2</c:v>
                </c:pt>
                <c:pt idx="439">
                  <c:v>-4.2503309789999999E-2</c:v>
                </c:pt>
                <c:pt idx="440">
                  <c:v>-6.7680432760000006E-2</c:v>
                </c:pt>
                <c:pt idx="441">
                  <c:v>-0.16632967001000001</c:v>
                </c:pt>
                <c:pt idx="442">
                  <c:v>-0.14309676672999999</c:v>
                </c:pt>
                <c:pt idx="443">
                  <c:v>-0.10234136643</c:v>
                </c:pt>
                <c:pt idx="444">
                  <c:v>-0.10795238916</c:v>
                </c:pt>
                <c:pt idx="445">
                  <c:v>-8.2218353950000003E-2</c:v>
                </c:pt>
                <c:pt idx="446">
                  <c:v>2.9313678780000001E-2</c:v>
                </c:pt>
                <c:pt idx="447">
                  <c:v>0.1357225625</c:v>
                </c:pt>
                <c:pt idx="448">
                  <c:v>0.13846153846000001</c:v>
                </c:pt>
                <c:pt idx="449">
                  <c:v>3.1319101859999997E-2</c:v>
                </c:pt>
                <c:pt idx="450">
                  <c:v>7.2610488449999996E-2</c:v>
                </c:pt>
                <c:pt idx="451">
                  <c:v>6.3673647099999994E-2</c:v>
                </c:pt>
                <c:pt idx="452">
                  <c:v>-3.3238366600000001E-3</c:v>
                </c:pt>
                <c:pt idx="453">
                  <c:v>-0.11108381971</c:v>
                </c:pt>
                <c:pt idx="454">
                  <c:v>-0.17337699974000001</c:v>
                </c:pt>
                <c:pt idx="455">
                  <c:v>-0.11943407136</c:v>
                </c:pt>
                <c:pt idx="456">
                  <c:v>-9.5590003729999998E-2</c:v>
                </c:pt>
                <c:pt idx="457">
                  <c:v>-0.17014545823999999</c:v>
                </c:pt>
                <c:pt idx="458">
                  <c:v>-0.13680413316000001</c:v>
                </c:pt>
                <c:pt idx="459">
                  <c:v>-0.13865325882000001</c:v>
                </c:pt>
                <c:pt idx="460">
                  <c:v>-0.11934453226</c:v>
                </c:pt>
                <c:pt idx="461">
                  <c:v>-7.3392571889999994E-2</c:v>
                </c:pt>
                <c:pt idx="462">
                  <c:v>-0.11387631454</c:v>
                </c:pt>
                <c:pt idx="463">
                  <c:v>-0.11969808844</c:v>
                </c:pt>
                <c:pt idx="464">
                  <c:v>-0.10779889396</c:v>
                </c:pt>
                <c:pt idx="465">
                  <c:v>-0.11837362698999999</c:v>
                </c:pt>
                <c:pt idx="466">
                  <c:v>-5.5051852560000003E-2</c:v>
                </c:pt>
                <c:pt idx="467">
                  <c:v>-6.3291561839999996E-2</c:v>
                </c:pt>
                <c:pt idx="468">
                  <c:v>-8.0137638319999996E-2</c:v>
                </c:pt>
                <c:pt idx="469">
                  <c:v>6.2971010800000005E-2</c:v>
                </c:pt>
                <c:pt idx="470">
                  <c:v>0.1008225341</c:v>
                </c:pt>
                <c:pt idx="471">
                  <c:v>0.15946135679000001</c:v>
                </c:pt>
                <c:pt idx="472">
                  <c:v>0.12502330845000001</c:v>
                </c:pt>
                <c:pt idx="473">
                  <c:v>9.1795061750000004E-2</c:v>
                </c:pt>
                <c:pt idx="474">
                  <c:v>0.13478163772999999</c:v>
                </c:pt>
                <c:pt idx="475">
                  <c:v>0.11537483988</c:v>
                </c:pt>
                <c:pt idx="476">
                  <c:v>2.918726759E-2</c:v>
                </c:pt>
                <c:pt idx="477">
                  <c:v>7.5060034319999996E-2</c:v>
                </c:pt>
                <c:pt idx="478">
                  <c:v>0.18437932691</c:v>
                </c:pt>
                <c:pt idx="479">
                  <c:v>0.29749033285999998</c:v>
                </c:pt>
                <c:pt idx="480">
                  <c:v>0.33309661892999998</c:v>
                </c:pt>
                <c:pt idx="481">
                  <c:v>0.28108698830000001</c:v>
                </c:pt>
                <c:pt idx="482">
                  <c:v>0.33368283093000001</c:v>
                </c:pt>
                <c:pt idx="483">
                  <c:v>0.39959461000000002</c:v>
                </c:pt>
                <c:pt idx="484">
                  <c:v>0.27333096008000002</c:v>
                </c:pt>
                <c:pt idx="485">
                  <c:v>0.14336411583</c:v>
                </c:pt>
                <c:pt idx="486">
                  <c:v>6.7719663279999995E-2</c:v>
                </c:pt>
                <c:pt idx="487">
                  <c:v>0.12750284604000001</c:v>
                </c:pt>
                <c:pt idx="488">
                  <c:v>9.2572658769999996E-2</c:v>
                </c:pt>
                <c:pt idx="489">
                  <c:v>-4.1556362729999997E-2</c:v>
                </c:pt>
                <c:pt idx="490">
                  <c:v>-0.1615355852</c:v>
                </c:pt>
                <c:pt idx="491">
                  <c:v>-0.22864701653</c:v>
                </c:pt>
                <c:pt idx="492">
                  <c:v>-0.18399230859999999</c:v>
                </c:pt>
                <c:pt idx="493">
                  <c:v>-0.17744898609000001</c:v>
                </c:pt>
                <c:pt idx="494">
                  <c:v>-0.22379628127000001</c:v>
                </c:pt>
                <c:pt idx="495">
                  <c:v>-0.19817351597999999</c:v>
                </c:pt>
                <c:pt idx="496">
                  <c:v>4.488594555E-2</c:v>
                </c:pt>
                <c:pt idx="497">
                  <c:v>0.26849776407999998</c:v>
                </c:pt>
                <c:pt idx="498">
                  <c:v>0.37634275834999997</c:v>
                </c:pt>
                <c:pt idx="499">
                  <c:v>0.27215701648000001</c:v>
                </c:pt>
                <c:pt idx="500">
                  <c:v>0.38434265452999999</c:v>
                </c:pt>
                <c:pt idx="501">
                  <c:v>0.37480847803</c:v>
                </c:pt>
                <c:pt idx="502">
                  <c:v>0.15512973456000001</c:v>
                </c:pt>
                <c:pt idx="503">
                  <c:v>-7.8265929500000008E-3</c:v>
                </c:pt>
                <c:pt idx="504">
                  <c:v>-0.20070774998999999</c:v>
                </c:pt>
                <c:pt idx="505">
                  <c:v>-0.14788654673000001</c:v>
                </c:pt>
                <c:pt idx="506">
                  <c:v>-0.17513077594000001</c:v>
                </c:pt>
                <c:pt idx="507">
                  <c:v>-0.16835888515</c:v>
                </c:pt>
                <c:pt idx="508">
                  <c:v>-0.14391221498000001</c:v>
                </c:pt>
                <c:pt idx="509">
                  <c:v>3.4109004980000003E-2</c:v>
                </c:pt>
                <c:pt idx="510">
                  <c:v>9.1971760329999999E-2</c:v>
                </c:pt>
                <c:pt idx="511">
                  <c:v>1.464989239E-2</c:v>
                </c:pt>
                <c:pt idx="512">
                  <c:v>-3.0698289619999999E-2</c:v>
                </c:pt>
                <c:pt idx="513">
                  <c:v>-3.1722689079999998E-2</c:v>
                </c:pt>
                <c:pt idx="514">
                  <c:v>-3.7979075469999998E-2</c:v>
                </c:pt>
                <c:pt idx="515">
                  <c:v>-0.11385645568</c:v>
                </c:pt>
                <c:pt idx="516">
                  <c:v>-0.12238915533</c:v>
                </c:pt>
                <c:pt idx="517">
                  <c:v>-0.11890532396</c:v>
                </c:pt>
                <c:pt idx="518">
                  <c:v>-7.0708434599999995E-2</c:v>
                </c:pt>
                <c:pt idx="519">
                  <c:v>-5.9144499640000001E-2</c:v>
                </c:pt>
                <c:pt idx="520">
                  <c:v>-8.2742072520000001E-2</c:v>
                </c:pt>
                <c:pt idx="521">
                  <c:v>-0.16032016767999999</c:v>
                </c:pt>
                <c:pt idx="522">
                  <c:v>-0.10326198806</c:v>
                </c:pt>
                <c:pt idx="523">
                  <c:v>-0.11947551805999999</c:v>
                </c:pt>
                <c:pt idx="524">
                  <c:v>-0.19333449658999999</c:v>
                </c:pt>
                <c:pt idx="525">
                  <c:v>-0.25261368922999999</c:v>
                </c:pt>
                <c:pt idx="526">
                  <c:v>-0.19226761417999999</c:v>
                </c:pt>
                <c:pt idx="527">
                  <c:v>-0.14464600348000001</c:v>
                </c:pt>
                <c:pt idx="528">
                  <c:v>-0.11514039537</c:v>
                </c:pt>
                <c:pt idx="529">
                  <c:v>-0.17930688096</c:v>
                </c:pt>
                <c:pt idx="530">
                  <c:v>-8.3236449330000004E-2</c:v>
                </c:pt>
                <c:pt idx="531">
                  <c:v>6.145425274E-2</c:v>
                </c:pt>
                <c:pt idx="532">
                  <c:v>7.5409597430000003E-2</c:v>
                </c:pt>
                <c:pt idx="533">
                  <c:v>4.132837239E-2</c:v>
                </c:pt>
                <c:pt idx="534">
                  <c:v>1.7057060230000001E-2</c:v>
                </c:pt>
                <c:pt idx="535">
                  <c:v>9.4266093689999997E-2</c:v>
                </c:pt>
                <c:pt idx="536">
                  <c:v>0.19442951474</c:v>
                </c:pt>
                <c:pt idx="537">
                  <c:v>0.17569624334</c:v>
                </c:pt>
                <c:pt idx="538">
                  <c:v>0.14758094020000001</c:v>
                </c:pt>
                <c:pt idx="539">
                  <c:v>0.17650862121999999</c:v>
                </c:pt>
                <c:pt idx="540">
                  <c:v>0.18986650159999999</c:v>
                </c:pt>
                <c:pt idx="541">
                  <c:v>0.23336521017</c:v>
                </c:pt>
                <c:pt idx="542">
                  <c:v>0.11618112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3D-4B5B-BD8A-6E8D963D7D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JIP_v_den_pozitivity65_7dni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.1977555</c:v>
                </c:pt>
                <c:pt idx="1">
                  <c:v>0.24719440000000001</c:v>
                </c:pt>
                <c:pt idx="2">
                  <c:v>0.24719440000000001</c:v>
                </c:pt>
                <c:pt idx="3">
                  <c:v>0.3955111</c:v>
                </c:pt>
                <c:pt idx="4">
                  <c:v>0.44495000000000001</c:v>
                </c:pt>
                <c:pt idx="5">
                  <c:v>0.54382779999999997</c:v>
                </c:pt>
                <c:pt idx="6">
                  <c:v>0.59326670000000004</c:v>
                </c:pt>
                <c:pt idx="7">
                  <c:v>0.54382779999999997</c:v>
                </c:pt>
                <c:pt idx="8">
                  <c:v>0.54382779999999997</c:v>
                </c:pt>
                <c:pt idx="9">
                  <c:v>0.74158329999999995</c:v>
                </c:pt>
                <c:pt idx="10">
                  <c:v>0.79102220000000001</c:v>
                </c:pt>
                <c:pt idx="11">
                  <c:v>0.74158329999999995</c:v>
                </c:pt>
                <c:pt idx="12">
                  <c:v>0.79102220000000001</c:v>
                </c:pt>
                <c:pt idx="13">
                  <c:v>0.74158329999999995</c:v>
                </c:pt>
                <c:pt idx="14">
                  <c:v>1.1865334000000001</c:v>
                </c:pt>
                <c:pt idx="15">
                  <c:v>1.1370944999999999</c:v>
                </c:pt>
                <c:pt idx="16">
                  <c:v>1.2359723</c:v>
                </c:pt>
                <c:pt idx="17">
                  <c:v>1.1865334000000001</c:v>
                </c:pt>
                <c:pt idx="18">
                  <c:v>1.2359723</c:v>
                </c:pt>
                <c:pt idx="19">
                  <c:v>1.3842890000000001</c:v>
                </c:pt>
                <c:pt idx="20">
                  <c:v>1.4831666999999999</c:v>
                </c:pt>
                <c:pt idx="21">
                  <c:v>1.3842890000000001</c:v>
                </c:pt>
                <c:pt idx="22">
                  <c:v>1.8292390000000001</c:v>
                </c:pt>
                <c:pt idx="23">
                  <c:v>2.1258724</c:v>
                </c:pt>
                <c:pt idx="24">
                  <c:v>2.3730668000000001</c:v>
                </c:pt>
                <c:pt idx="25">
                  <c:v>2.4719446</c:v>
                </c:pt>
                <c:pt idx="26">
                  <c:v>2.3730668000000001</c:v>
                </c:pt>
                <c:pt idx="27">
                  <c:v>2.5213835000000002</c:v>
                </c:pt>
                <c:pt idx="28">
                  <c:v>2.6202613000000001</c:v>
                </c:pt>
                <c:pt idx="29">
                  <c:v>2.4719446</c:v>
                </c:pt>
                <c:pt idx="30">
                  <c:v>2.3236279</c:v>
                </c:pt>
                <c:pt idx="31">
                  <c:v>2.5213835000000002</c:v>
                </c:pt>
                <c:pt idx="32">
                  <c:v>2.5213835000000002</c:v>
                </c:pt>
                <c:pt idx="33">
                  <c:v>2.7685780000000002</c:v>
                </c:pt>
                <c:pt idx="34">
                  <c:v>4.0539892000000002</c:v>
                </c:pt>
                <c:pt idx="35">
                  <c:v>4.3506226000000003</c:v>
                </c:pt>
                <c:pt idx="36">
                  <c:v>5.2405226000000003</c:v>
                </c:pt>
                <c:pt idx="37">
                  <c:v>5.4877171000000002</c:v>
                </c:pt>
                <c:pt idx="38">
                  <c:v>5.9326670999999997</c:v>
                </c:pt>
                <c:pt idx="39">
                  <c:v>6.7236893999999996</c:v>
                </c:pt>
                <c:pt idx="40">
                  <c:v>7.0203227999999998</c:v>
                </c:pt>
                <c:pt idx="41">
                  <c:v>6.5259339000000001</c:v>
                </c:pt>
                <c:pt idx="42">
                  <c:v>6.6248116000000001</c:v>
                </c:pt>
                <c:pt idx="43">
                  <c:v>6.4764949999999999</c:v>
                </c:pt>
                <c:pt idx="44">
                  <c:v>6.7731282999999998</c:v>
                </c:pt>
                <c:pt idx="45">
                  <c:v>7.2675172999999997</c:v>
                </c:pt>
                <c:pt idx="46">
                  <c:v>6.7236893999999996</c:v>
                </c:pt>
                <c:pt idx="47">
                  <c:v>7.1192006000000001</c:v>
                </c:pt>
                <c:pt idx="48">
                  <c:v>7.5147117000000003</c:v>
                </c:pt>
                <c:pt idx="49">
                  <c:v>7.9102228999999999</c:v>
                </c:pt>
                <c:pt idx="50">
                  <c:v>8.3057339999999993</c:v>
                </c:pt>
                <c:pt idx="51">
                  <c:v>8.8990007000000002</c:v>
                </c:pt>
                <c:pt idx="52">
                  <c:v>8.9978785000000006</c:v>
                </c:pt>
                <c:pt idx="53">
                  <c:v>9.9372174999999991</c:v>
                </c:pt>
                <c:pt idx="54">
                  <c:v>10.3821675</c:v>
                </c:pt>
                <c:pt idx="55">
                  <c:v>11.568701000000001</c:v>
                </c:pt>
                <c:pt idx="56">
                  <c:v>12.5574788</c:v>
                </c:pt>
                <c:pt idx="57">
                  <c:v>12.2608455</c:v>
                </c:pt>
                <c:pt idx="58">
                  <c:v>12.656356600000001</c:v>
                </c:pt>
                <c:pt idx="59">
                  <c:v>12.804673299999999</c:v>
                </c:pt>
                <c:pt idx="60">
                  <c:v>13.0024289</c:v>
                </c:pt>
                <c:pt idx="61">
                  <c:v>12.458601099999999</c:v>
                </c:pt>
                <c:pt idx="62">
                  <c:v>12.5574788</c:v>
                </c:pt>
                <c:pt idx="63">
                  <c:v>12.0630899</c:v>
                </c:pt>
                <c:pt idx="64">
                  <c:v>11.865334300000001</c:v>
                </c:pt>
                <c:pt idx="65">
                  <c:v>12.0630899</c:v>
                </c:pt>
                <c:pt idx="66">
                  <c:v>12.1125288</c:v>
                </c:pt>
                <c:pt idx="67">
                  <c:v>11.618139899999999</c:v>
                </c:pt>
                <c:pt idx="68">
                  <c:v>11.3215065</c:v>
                </c:pt>
                <c:pt idx="69">
                  <c:v>10.1349731</c:v>
                </c:pt>
                <c:pt idx="70">
                  <c:v>9.6900230000000001</c:v>
                </c:pt>
                <c:pt idx="71">
                  <c:v>10.2338509</c:v>
                </c:pt>
                <c:pt idx="72">
                  <c:v>9.0473174000000007</c:v>
                </c:pt>
                <c:pt idx="73">
                  <c:v>8.2562951000000009</c:v>
                </c:pt>
                <c:pt idx="74">
                  <c:v>7.9102228999999999</c:v>
                </c:pt>
                <c:pt idx="75">
                  <c:v>7.6135894999999998</c:v>
                </c:pt>
                <c:pt idx="76">
                  <c:v>7.3169561999999999</c:v>
                </c:pt>
                <c:pt idx="77">
                  <c:v>6.5753728000000002</c:v>
                </c:pt>
                <c:pt idx="78">
                  <c:v>5.8832282999999999</c:v>
                </c:pt>
                <c:pt idx="79">
                  <c:v>6.0315449000000001</c:v>
                </c:pt>
                <c:pt idx="80">
                  <c:v>5.7349116000000002</c:v>
                </c:pt>
                <c:pt idx="81">
                  <c:v>5.8337893999999997</c:v>
                </c:pt>
                <c:pt idx="82">
                  <c:v>5.8832282999999999</c:v>
                </c:pt>
                <c:pt idx="83">
                  <c:v>5.1910837000000001</c:v>
                </c:pt>
                <c:pt idx="84">
                  <c:v>5.3888392999999999</c:v>
                </c:pt>
                <c:pt idx="85">
                  <c:v>5.4877171000000002</c:v>
                </c:pt>
                <c:pt idx="86">
                  <c:v>5.1416449000000002</c:v>
                </c:pt>
                <c:pt idx="87">
                  <c:v>5.092206</c:v>
                </c:pt>
                <c:pt idx="88">
                  <c:v>4.6966948000000004</c:v>
                </c:pt>
                <c:pt idx="89">
                  <c:v>4.6966948000000004</c:v>
                </c:pt>
                <c:pt idx="90">
                  <c:v>5.1910837000000001</c:v>
                </c:pt>
                <c:pt idx="91">
                  <c:v>4.9933281999999997</c:v>
                </c:pt>
                <c:pt idx="92">
                  <c:v>4.9438893000000004</c:v>
                </c:pt>
                <c:pt idx="93">
                  <c:v>5.4382782000000001</c:v>
                </c:pt>
                <c:pt idx="94">
                  <c:v>5.7349116000000002</c:v>
                </c:pt>
                <c:pt idx="95">
                  <c:v>5.7843505000000004</c:v>
                </c:pt>
                <c:pt idx="96">
                  <c:v>5.9326670999999997</c:v>
                </c:pt>
                <c:pt idx="97">
                  <c:v>5.4382782000000001</c:v>
                </c:pt>
                <c:pt idx="98">
                  <c:v>5.8832282999999999</c:v>
                </c:pt>
                <c:pt idx="99">
                  <c:v>5.7349116000000002</c:v>
                </c:pt>
                <c:pt idx="100">
                  <c:v>5.4877171000000002</c:v>
                </c:pt>
                <c:pt idx="101">
                  <c:v>4.8944504000000002</c:v>
                </c:pt>
                <c:pt idx="102">
                  <c:v>5.1416449000000002</c:v>
                </c:pt>
                <c:pt idx="103">
                  <c:v>4.9438893000000004</c:v>
                </c:pt>
                <c:pt idx="104">
                  <c:v>5.5371560000000004</c:v>
                </c:pt>
                <c:pt idx="105">
                  <c:v>5.1910837000000001</c:v>
                </c:pt>
                <c:pt idx="106">
                  <c:v>5.0427670999999998</c:v>
                </c:pt>
                <c:pt idx="107">
                  <c:v>4.8450115</c:v>
                </c:pt>
                <c:pt idx="108">
                  <c:v>4.9933281999999997</c:v>
                </c:pt>
                <c:pt idx="109">
                  <c:v>4.6472559000000002</c:v>
                </c:pt>
                <c:pt idx="110">
                  <c:v>4.7461336999999997</c:v>
                </c:pt>
                <c:pt idx="111">
                  <c:v>4.4989391999999997</c:v>
                </c:pt>
                <c:pt idx="112">
                  <c:v>4.5483780999999999</c:v>
                </c:pt>
                <c:pt idx="113">
                  <c:v>5.2405226000000003</c:v>
                </c:pt>
                <c:pt idx="114">
                  <c:v>4.8450115</c:v>
                </c:pt>
                <c:pt idx="115">
                  <c:v>5.0427670999999998</c:v>
                </c:pt>
                <c:pt idx="116">
                  <c:v>5.1910837000000001</c:v>
                </c:pt>
                <c:pt idx="117">
                  <c:v>6.0315449000000001</c:v>
                </c:pt>
                <c:pt idx="118">
                  <c:v>6.6248116000000001</c:v>
                </c:pt>
                <c:pt idx="119">
                  <c:v>7.6630284</c:v>
                </c:pt>
                <c:pt idx="120">
                  <c:v>7.8607839999999998</c:v>
                </c:pt>
                <c:pt idx="121">
                  <c:v>8.5529285000000002</c:v>
                </c:pt>
                <c:pt idx="122">
                  <c:v>8.5034896</c:v>
                </c:pt>
                <c:pt idx="123">
                  <c:v>8.9978785000000006</c:v>
                </c:pt>
                <c:pt idx="124">
                  <c:v>8.6518063000000005</c:v>
                </c:pt>
                <c:pt idx="125">
                  <c:v>8.6023674000000003</c:v>
                </c:pt>
                <c:pt idx="126">
                  <c:v>8.5529285000000002</c:v>
                </c:pt>
                <c:pt idx="127">
                  <c:v>8.5529285000000002</c:v>
                </c:pt>
                <c:pt idx="128">
                  <c:v>8.5034896</c:v>
                </c:pt>
                <c:pt idx="129">
                  <c:v>9.1956340999999995</c:v>
                </c:pt>
                <c:pt idx="130">
                  <c:v>9.4428286000000003</c:v>
                </c:pt>
                <c:pt idx="131">
                  <c:v>9.1461951999999993</c:v>
                </c:pt>
                <c:pt idx="132">
                  <c:v>8.9978785000000006</c:v>
                </c:pt>
                <c:pt idx="133">
                  <c:v>8.2068562000000007</c:v>
                </c:pt>
                <c:pt idx="134">
                  <c:v>7.7124673000000001</c:v>
                </c:pt>
                <c:pt idx="135">
                  <c:v>8.0091006999999994</c:v>
                </c:pt>
                <c:pt idx="136">
                  <c:v>7.7619062000000003</c:v>
                </c:pt>
                <c:pt idx="137">
                  <c:v>7.0697616999999999</c:v>
                </c:pt>
                <c:pt idx="138">
                  <c:v>6.8225671999999999</c:v>
                </c:pt>
                <c:pt idx="139">
                  <c:v>6.7731282999999998</c:v>
                </c:pt>
                <c:pt idx="140">
                  <c:v>6.9708838999999996</c:v>
                </c:pt>
                <c:pt idx="141">
                  <c:v>7.1192006000000001</c:v>
                </c:pt>
                <c:pt idx="142">
                  <c:v>6.3281783000000003</c:v>
                </c:pt>
                <c:pt idx="143">
                  <c:v>6.2293004999999999</c:v>
                </c:pt>
                <c:pt idx="144">
                  <c:v>6.2787394000000001</c:v>
                </c:pt>
                <c:pt idx="145">
                  <c:v>6.2787394000000001</c:v>
                </c:pt>
                <c:pt idx="146">
                  <c:v>6.0809838000000003</c:v>
                </c:pt>
                <c:pt idx="147">
                  <c:v>6.0809838000000003</c:v>
                </c:pt>
                <c:pt idx="148">
                  <c:v>5.4382782000000001</c:v>
                </c:pt>
                <c:pt idx="149">
                  <c:v>5.5371560000000004</c:v>
                </c:pt>
                <c:pt idx="150">
                  <c:v>5.7349116000000002</c:v>
                </c:pt>
                <c:pt idx="151">
                  <c:v>5.7349116000000002</c:v>
                </c:pt>
                <c:pt idx="152">
                  <c:v>5.7349116000000002</c:v>
                </c:pt>
                <c:pt idx="153">
                  <c:v>5.9821059999999999</c:v>
                </c:pt>
                <c:pt idx="154">
                  <c:v>5.4877171000000002</c:v>
                </c:pt>
                <c:pt idx="155">
                  <c:v>5.8337893999999997</c:v>
                </c:pt>
                <c:pt idx="156">
                  <c:v>6.1798615999999997</c:v>
                </c:pt>
                <c:pt idx="157">
                  <c:v>5.9326670999999997</c:v>
                </c:pt>
                <c:pt idx="158">
                  <c:v>6.0315449000000001</c:v>
                </c:pt>
                <c:pt idx="159">
                  <c:v>5.9821059999999999</c:v>
                </c:pt>
                <c:pt idx="160">
                  <c:v>5.7349116000000002</c:v>
                </c:pt>
                <c:pt idx="161">
                  <c:v>6.6248116000000001</c:v>
                </c:pt>
                <c:pt idx="162">
                  <c:v>6.9214450000000003</c:v>
                </c:pt>
                <c:pt idx="163">
                  <c:v>6.7236893999999996</c:v>
                </c:pt>
                <c:pt idx="164">
                  <c:v>6.4764949999999999</c:v>
                </c:pt>
                <c:pt idx="165">
                  <c:v>6.0315449000000001</c:v>
                </c:pt>
                <c:pt idx="166">
                  <c:v>6.4270560999999997</c:v>
                </c:pt>
                <c:pt idx="167">
                  <c:v>6.1304226999999996</c:v>
                </c:pt>
                <c:pt idx="168">
                  <c:v>5.8337893999999997</c:v>
                </c:pt>
                <c:pt idx="169">
                  <c:v>6.2293004999999999</c:v>
                </c:pt>
                <c:pt idx="170">
                  <c:v>6.5753728000000002</c:v>
                </c:pt>
                <c:pt idx="171">
                  <c:v>6.5259339000000001</c:v>
                </c:pt>
                <c:pt idx="172">
                  <c:v>7.2180783999999996</c:v>
                </c:pt>
                <c:pt idx="173">
                  <c:v>7.6135894999999998</c:v>
                </c:pt>
                <c:pt idx="174">
                  <c:v>8.1079784000000004</c:v>
                </c:pt>
                <c:pt idx="175">
                  <c:v>7.8607839999999998</c:v>
                </c:pt>
                <c:pt idx="176">
                  <c:v>7.5641505999999996</c:v>
                </c:pt>
                <c:pt idx="177">
                  <c:v>7.7619062000000003</c:v>
                </c:pt>
                <c:pt idx="178">
                  <c:v>7.7124673000000001</c:v>
                </c:pt>
                <c:pt idx="179">
                  <c:v>7.2675172999999997</c:v>
                </c:pt>
                <c:pt idx="180">
                  <c:v>7.0203227999999998</c:v>
                </c:pt>
                <c:pt idx="181">
                  <c:v>7.2180783999999996</c:v>
                </c:pt>
                <c:pt idx="182">
                  <c:v>7.7619062000000003</c:v>
                </c:pt>
                <c:pt idx="183">
                  <c:v>7.5641505999999996</c:v>
                </c:pt>
                <c:pt idx="184">
                  <c:v>7.2180783999999996</c:v>
                </c:pt>
                <c:pt idx="185">
                  <c:v>7.5641505999999996</c:v>
                </c:pt>
                <c:pt idx="186">
                  <c:v>7.7619062000000003</c:v>
                </c:pt>
                <c:pt idx="187">
                  <c:v>7.3169561999999999</c:v>
                </c:pt>
                <c:pt idx="188">
                  <c:v>7.7124673000000001</c:v>
                </c:pt>
                <c:pt idx="189">
                  <c:v>6.9708838999999996</c:v>
                </c:pt>
                <c:pt idx="190">
                  <c:v>7.0697616999999999</c:v>
                </c:pt>
                <c:pt idx="191">
                  <c:v>7.2675172999999997</c:v>
                </c:pt>
                <c:pt idx="192">
                  <c:v>7.9102228999999999</c:v>
                </c:pt>
                <c:pt idx="193">
                  <c:v>7.6630284</c:v>
                </c:pt>
                <c:pt idx="194">
                  <c:v>7.9102228999999999</c:v>
                </c:pt>
                <c:pt idx="195">
                  <c:v>7.4158339</c:v>
                </c:pt>
                <c:pt idx="196">
                  <c:v>7.3169561999999999</c:v>
                </c:pt>
                <c:pt idx="197">
                  <c:v>7.1686395000000003</c:v>
                </c:pt>
                <c:pt idx="198">
                  <c:v>6.6248116000000001</c:v>
                </c:pt>
                <c:pt idx="199">
                  <c:v>5.8832282999999999</c:v>
                </c:pt>
                <c:pt idx="200">
                  <c:v>5.8832282999999999</c:v>
                </c:pt>
                <c:pt idx="201">
                  <c:v>5.5371560000000004</c:v>
                </c:pt>
                <c:pt idx="202">
                  <c:v>5.5371560000000004</c:v>
                </c:pt>
                <c:pt idx="203">
                  <c:v>6.0809838000000003</c:v>
                </c:pt>
                <c:pt idx="204">
                  <c:v>5.8337893999999997</c:v>
                </c:pt>
                <c:pt idx="205">
                  <c:v>6.1304226999999996</c:v>
                </c:pt>
                <c:pt idx="206">
                  <c:v>6.0809838000000003</c:v>
                </c:pt>
                <c:pt idx="207">
                  <c:v>6.0315449000000001</c:v>
                </c:pt>
                <c:pt idx="208">
                  <c:v>6.1304226999999996</c:v>
                </c:pt>
                <c:pt idx="209">
                  <c:v>6.0315449000000001</c:v>
                </c:pt>
                <c:pt idx="210">
                  <c:v>5.3394003999999997</c:v>
                </c:pt>
                <c:pt idx="211">
                  <c:v>5.1910837000000001</c:v>
                </c:pt>
                <c:pt idx="212">
                  <c:v>5.0427670999999998</c:v>
                </c:pt>
                <c:pt idx="213">
                  <c:v>4.7461336999999997</c:v>
                </c:pt>
                <c:pt idx="214">
                  <c:v>4.7461336999999997</c:v>
                </c:pt>
                <c:pt idx="215">
                  <c:v>4.6472559000000002</c:v>
                </c:pt>
                <c:pt idx="216">
                  <c:v>3.7079168999999998</c:v>
                </c:pt>
                <c:pt idx="217">
                  <c:v>4.0045503</c:v>
                </c:pt>
                <c:pt idx="218">
                  <c:v>4.2517448</c:v>
                </c:pt>
                <c:pt idx="219">
                  <c:v>4.3506226000000003</c:v>
                </c:pt>
                <c:pt idx="220">
                  <c:v>4.4000614999999996</c:v>
                </c:pt>
                <c:pt idx="221">
                  <c:v>4.6472559000000002</c:v>
                </c:pt>
                <c:pt idx="222">
                  <c:v>4.7461336999999997</c:v>
                </c:pt>
                <c:pt idx="223">
                  <c:v>5.3888392999999999</c:v>
                </c:pt>
                <c:pt idx="224">
                  <c:v>4.9438893000000004</c:v>
                </c:pt>
                <c:pt idx="225">
                  <c:v>4.6472559000000002</c:v>
                </c:pt>
                <c:pt idx="226">
                  <c:v>4.2023058999999998</c:v>
                </c:pt>
                <c:pt idx="227">
                  <c:v>4.0045503</c:v>
                </c:pt>
                <c:pt idx="228">
                  <c:v>3.6584781</c:v>
                </c:pt>
                <c:pt idx="229">
                  <c:v>3.3618446999999998</c:v>
                </c:pt>
                <c:pt idx="230">
                  <c:v>3.2135280000000002</c:v>
                </c:pt>
                <c:pt idx="231">
                  <c:v>3.2135280000000002</c:v>
                </c:pt>
                <c:pt idx="232">
                  <c:v>2.9663335000000002</c:v>
                </c:pt>
                <c:pt idx="233">
                  <c:v>2.9663335000000002</c:v>
                </c:pt>
                <c:pt idx="234">
                  <c:v>3.1146501999999998</c:v>
                </c:pt>
                <c:pt idx="235">
                  <c:v>3.0652113000000001</c:v>
                </c:pt>
                <c:pt idx="236">
                  <c:v>3.1146501999999998</c:v>
                </c:pt>
                <c:pt idx="237">
                  <c:v>2.8674558000000001</c:v>
                </c:pt>
                <c:pt idx="238">
                  <c:v>2.5708224</c:v>
                </c:pt>
                <c:pt idx="239">
                  <c:v>2.7191391</c:v>
                </c:pt>
                <c:pt idx="240">
                  <c:v>2.6202613000000001</c:v>
                </c:pt>
                <c:pt idx="241">
                  <c:v>2.2247501000000001</c:v>
                </c:pt>
                <c:pt idx="242">
                  <c:v>1.9281168</c:v>
                </c:pt>
                <c:pt idx="243">
                  <c:v>1.7798001000000001</c:v>
                </c:pt>
                <c:pt idx="244">
                  <c:v>1.4337279000000001</c:v>
                </c:pt>
                <c:pt idx="245">
                  <c:v>1.8292390000000001</c:v>
                </c:pt>
                <c:pt idx="246">
                  <c:v>1.6809223</c:v>
                </c:pt>
                <c:pt idx="247">
                  <c:v>1.5326055999999999</c:v>
                </c:pt>
                <c:pt idx="248">
                  <c:v>1.6809223</c:v>
                </c:pt>
                <c:pt idx="249">
                  <c:v>1.8786779</c:v>
                </c:pt>
                <c:pt idx="250">
                  <c:v>1.8786779</c:v>
                </c:pt>
                <c:pt idx="251">
                  <c:v>1.9775556999999999</c:v>
                </c:pt>
                <c:pt idx="252">
                  <c:v>1.6809223</c:v>
                </c:pt>
                <c:pt idx="253">
                  <c:v>1.6809223</c:v>
                </c:pt>
                <c:pt idx="254">
                  <c:v>1.5820445000000001</c:v>
                </c:pt>
                <c:pt idx="255">
                  <c:v>1.3842890000000001</c:v>
                </c:pt>
                <c:pt idx="256">
                  <c:v>1.2854112</c:v>
                </c:pt>
                <c:pt idx="257">
                  <c:v>1.1370944999999999</c:v>
                </c:pt>
                <c:pt idx="258">
                  <c:v>0.84046109999999996</c:v>
                </c:pt>
                <c:pt idx="259">
                  <c:v>0.74158329999999995</c:v>
                </c:pt>
                <c:pt idx="260">
                  <c:v>0.64270559999999999</c:v>
                </c:pt>
                <c:pt idx="261">
                  <c:v>0.54382779999999997</c:v>
                </c:pt>
                <c:pt idx="262">
                  <c:v>0.54382779999999997</c:v>
                </c:pt>
                <c:pt idx="263">
                  <c:v>0.49438890000000002</c:v>
                </c:pt>
                <c:pt idx="264">
                  <c:v>0.54382779999999997</c:v>
                </c:pt>
                <c:pt idx="265">
                  <c:v>0.54382779999999997</c:v>
                </c:pt>
                <c:pt idx="266">
                  <c:v>0.44495000000000001</c:v>
                </c:pt>
                <c:pt idx="267">
                  <c:v>0.49438890000000002</c:v>
                </c:pt>
                <c:pt idx="268">
                  <c:v>0.44495000000000001</c:v>
                </c:pt>
                <c:pt idx="269">
                  <c:v>0.3460722</c:v>
                </c:pt>
                <c:pt idx="270">
                  <c:v>0.3460722</c:v>
                </c:pt>
                <c:pt idx="271">
                  <c:v>0.3460722</c:v>
                </c:pt>
                <c:pt idx="272">
                  <c:v>0.49438890000000002</c:v>
                </c:pt>
                <c:pt idx="273">
                  <c:v>0.49438890000000002</c:v>
                </c:pt>
                <c:pt idx="274">
                  <c:v>0.3460722</c:v>
                </c:pt>
                <c:pt idx="275">
                  <c:v>0.44495000000000001</c:v>
                </c:pt>
                <c:pt idx="276">
                  <c:v>0.49438890000000002</c:v>
                </c:pt>
                <c:pt idx="277">
                  <c:v>0.44495000000000001</c:v>
                </c:pt>
                <c:pt idx="278">
                  <c:v>0.3955111</c:v>
                </c:pt>
                <c:pt idx="279">
                  <c:v>0.1977555</c:v>
                </c:pt>
                <c:pt idx="280">
                  <c:v>0.1977555</c:v>
                </c:pt>
                <c:pt idx="281">
                  <c:v>0.14831659999999999</c:v>
                </c:pt>
                <c:pt idx="282">
                  <c:v>9.8877699999999999E-2</c:v>
                </c:pt>
                <c:pt idx="283">
                  <c:v>4.9438799999999998E-2</c:v>
                </c:pt>
                <c:pt idx="284">
                  <c:v>4.9438799999999998E-2</c:v>
                </c:pt>
                <c:pt idx="285">
                  <c:v>4.9438799999999998E-2</c:v>
                </c:pt>
                <c:pt idx="286">
                  <c:v>9.8877699999999999E-2</c:v>
                </c:pt>
                <c:pt idx="287">
                  <c:v>9.8877699999999999E-2</c:v>
                </c:pt>
                <c:pt idx="288">
                  <c:v>9.8877699999999999E-2</c:v>
                </c:pt>
                <c:pt idx="289">
                  <c:v>4.9438799999999998E-2</c:v>
                </c:pt>
                <c:pt idx="290">
                  <c:v>0.14831659999999999</c:v>
                </c:pt>
                <c:pt idx="291">
                  <c:v>0.14831659999999999</c:v>
                </c:pt>
                <c:pt idx="292">
                  <c:v>0.1977555</c:v>
                </c:pt>
                <c:pt idx="293">
                  <c:v>0.14831659999999999</c:v>
                </c:pt>
                <c:pt idx="294">
                  <c:v>0.14831659999999999</c:v>
                </c:pt>
                <c:pt idx="295">
                  <c:v>0.14831659999999999</c:v>
                </c:pt>
                <c:pt idx="296">
                  <c:v>0.14831659999999999</c:v>
                </c:pt>
                <c:pt idx="297">
                  <c:v>4.9438799999999998E-2</c:v>
                </c:pt>
                <c:pt idx="298">
                  <c:v>4.9438799999999998E-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4.9438799999999998E-2</c:v>
                </c:pt>
                <c:pt idx="310">
                  <c:v>4.9438799999999998E-2</c:v>
                </c:pt>
                <c:pt idx="311">
                  <c:v>4.9438799999999998E-2</c:v>
                </c:pt>
                <c:pt idx="312">
                  <c:v>4.9438799999999998E-2</c:v>
                </c:pt>
                <c:pt idx="313">
                  <c:v>4.9438799999999998E-2</c:v>
                </c:pt>
                <c:pt idx="314">
                  <c:v>9.8877699999999999E-2</c:v>
                </c:pt>
                <c:pt idx="315">
                  <c:v>9.8877699999999999E-2</c:v>
                </c:pt>
                <c:pt idx="316">
                  <c:v>4.9438799999999998E-2</c:v>
                </c:pt>
                <c:pt idx="317">
                  <c:v>4.9438799999999998E-2</c:v>
                </c:pt>
                <c:pt idx="318">
                  <c:v>4.9438799999999998E-2</c:v>
                </c:pt>
                <c:pt idx="319">
                  <c:v>4.9438799999999998E-2</c:v>
                </c:pt>
                <c:pt idx="320">
                  <c:v>9.8877699999999999E-2</c:v>
                </c:pt>
                <c:pt idx="321">
                  <c:v>9.8877699999999999E-2</c:v>
                </c:pt>
                <c:pt idx="322">
                  <c:v>9.8877699999999999E-2</c:v>
                </c:pt>
                <c:pt idx="323">
                  <c:v>9.8877699999999999E-2</c:v>
                </c:pt>
                <c:pt idx="324">
                  <c:v>9.8877699999999999E-2</c:v>
                </c:pt>
                <c:pt idx="325">
                  <c:v>0.14831659999999999</c:v>
                </c:pt>
                <c:pt idx="326">
                  <c:v>0.14831659999999999</c:v>
                </c:pt>
                <c:pt idx="327">
                  <c:v>9.8877699999999999E-2</c:v>
                </c:pt>
                <c:pt idx="328">
                  <c:v>9.8877699999999999E-2</c:v>
                </c:pt>
                <c:pt idx="329">
                  <c:v>9.8877699999999999E-2</c:v>
                </c:pt>
                <c:pt idx="330">
                  <c:v>9.8877699999999999E-2</c:v>
                </c:pt>
                <c:pt idx="331">
                  <c:v>0.14831659999999999</c:v>
                </c:pt>
                <c:pt idx="332">
                  <c:v>0.14831659999999999</c:v>
                </c:pt>
                <c:pt idx="333">
                  <c:v>0.1977555</c:v>
                </c:pt>
                <c:pt idx="334">
                  <c:v>0.1977555</c:v>
                </c:pt>
                <c:pt idx="335">
                  <c:v>0.14831659999999999</c:v>
                </c:pt>
                <c:pt idx="336">
                  <c:v>0.14831659999999999</c:v>
                </c:pt>
                <c:pt idx="337">
                  <c:v>0.1977555</c:v>
                </c:pt>
                <c:pt idx="338">
                  <c:v>0.14831659999999999</c:v>
                </c:pt>
                <c:pt idx="339">
                  <c:v>0.14831659999999999</c:v>
                </c:pt>
                <c:pt idx="340">
                  <c:v>9.8877699999999999E-2</c:v>
                </c:pt>
                <c:pt idx="341">
                  <c:v>9.8877699999999999E-2</c:v>
                </c:pt>
                <c:pt idx="342">
                  <c:v>9.8877699999999999E-2</c:v>
                </c:pt>
                <c:pt idx="343">
                  <c:v>9.8877699999999999E-2</c:v>
                </c:pt>
                <c:pt idx="344">
                  <c:v>9.8877699999999999E-2</c:v>
                </c:pt>
                <c:pt idx="345">
                  <c:v>9.8877699999999999E-2</c:v>
                </c:pt>
                <c:pt idx="346">
                  <c:v>4.9438799999999998E-2</c:v>
                </c:pt>
                <c:pt idx="347">
                  <c:v>4.9438799999999998E-2</c:v>
                </c:pt>
                <c:pt idx="348">
                  <c:v>9.8877699999999999E-2</c:v>
                </c:pt>
                <c:pt idx="349">
                  <c:v>9.8877699999999999E-2</c:v>
                </c:pt>
                <c:pt idx="350">
                  <c:v>9.8877699999999999E-2</c:v>
                </c:pt>
                <c:pt idx="351">
                  <c:v>4.9438799999999998E-2</c:v>
                </c:pt>
                <c:pt idx="352">
                  <c:v>4.9438799999999998E-2</c:v>
                </c:pt>
                <c:pt idx="353">
                  <c:v>0.1977555</c:v>
                </c:pt>
                <c:pt idx="354">
                  <c:v>0.24719440000000001</c:v>
                </c:pt>
                <c:pt idx="355">
                  <c:v>0.1977555</c:v>
                </c:pt>
                <c:pt idx="356">
                  <c:v>0.24719440000000001</c:v>
                </c:pt>
                <c:pt idx="357">
                  <c:v>0.29663329999999999</c:v>
                </c:pt>
                <c:pt idx="358">
                  <c:v>0.3460722</c:v>
                </c:pt>
                <c:pt idx="359">
                  <c:v>0.3460722</c:v>
                </c:pt>
                <c:pt idx="360">
                  <c:v>0.1977555</c:v>
                </c:pt>
                <c:pt idx="361">
                  <c:v>0.14831659999999999</c:v>
                </c:pt>
                <c:pt idx="362">
                  <c:v>0.14831659999999999</c:v>
                </c:pt>
                <c:pt idx="363">
                  <c:v>9.8877699999999999E-2</c:v>
                </c:pt>
                <c:pt idx="364">
                  <c:v>4.9438799999999998E-2</c:v>
                </c:pt>
                <c:pt idx="365">
                  <c:v>4.9438799999999998E-2</c:v>
                </c:pt>
                <c:pt idx="366">
                  <c:v>4.9438799999999998E-2</c:v>
                </c:pt>
                <c:pt idx="367">
                  <c:v>0.1977555</c:v>
                </c:pt>
                <c:pt idx="368">
                  <c:v>0.1977555</c:v>
                </c:pt>
                <c:pt idx="369">
                  <c:v>0.24719440000000001</c:v>
                </c:pt>
                <c:pt idx="370">
                  <c:v>0.24719440000000001</c:v>
                </c:pt>
                <c:pt idx="371">
                  <c:v>0.29663329999999999</c:v>
                </c:pt>
                <c:pt idx="372">
                  <c:v>0.24719440000000001</c:v>
                </c:pt>
                <c:pt idx="373">
                  <c:v>0.24719440000000001</c:v>
                </c:pt>
                <c:pt idx="374">
                  <c:v>0.14831659999999999</c:v>
                </c:pt>
                <c:pt idx="375">
                  <c:v>0.14831659999999999</c:v>
                </c:pt>
                <c:pt idx="376">
                  <c:v>9.8877699999999999E-2</c:v>
                </c:pt>
                <c:pt idx="377">
                  <c:v>0.29663329999999999</c:v>
                </c:pt>
                <c:pt idx="378">
                  <c:v>0.29663329999999999</c:v>
                </c:pt>
                <c:pt idx="379">
                  <c:v>0.29663329999999999</c:v>
                </c:pt>
                <c:pt idx="380">
                  <c:v>0.29663329999999999</c:v>
                </c:pt>
                <c:pt idx="381">
                  <c:v>0.29663329999999999</c:v>
                </c:pt>
                <c:pt idx="382">
                  <c:v>0.29663329999999999</c:v>
                </c:pt>
                <c:pt idx="383">
                  <c:v>0.3460722</c:v>
                </c:pt>
                <c:pt idx="384">
                  <c:v>0.14831659999999999</c:v>
                </c:pt>
                <c:pt idx="385">
                  <c:v>9.8877699999999999E-2</c:v>
                </c:pt>
                <c:pt idx="386">
                  <c:v>9.8877699999999999E-2</c:v>
                </c:pt>
                <c:pt idx="387">
                  <c:v>0.14831659999999999</c:v>
                </c:pt>
                <c:pt idx="388">
                  <c:v>9.8877699999999999E-2</c:v>
                </c:pt>
                <c:pt idx="389">
                  <c:v>0.14831659999999999</c:v>
                </c:pt>
                <c:pt idx="390">
                  <c:v>0.14831659999999999</c:v>
                </c:pt>
                <c:pt idx="391">
                  <c:v>0.24719440000000001</c:v>
                </c:pt>
                <c:pt idx="392">
                  <c:v>0.29663329999999999</c:v>
                </c:pt>
                <c:pt idx="393">
                  <c:v>0.3955111</c:v>
                </c:pt>
                <c:pt idx="394">
                  <c:v>0.3955111</c:v>
                </c:pt>
                <c:pt idx="395">
                  <c:v>0.54382779999999997</c:v>
                </c:pt>
                <c:pt idx="396">
                  <c:v>0.49438890000000002</c:v>
                </c:pt>
                <c:pt idx="397">
                  <c:v>0.54382779999999997</c:v>
                </c:pt>
                <c:pt idx="398">
                  <c:v>0.59326670000000004</c:v>
                </c:pt>
                <c:pt idx="399">
                  <c:v>0.84046109999999996</c:v>
                </c:pt>
                <c:pt idx="400">
                  <c:v>1.0382167</c:v>
                </c:pt>
                <c:pt idx="401">
                  <c:v>1.1865334000000001</c:v>
                </c:pt>
                <c:pt idx="402">
                  <c:v>1.0876555999999999</c:v>
                </c:pt>
                <c:pt idx="403">
                  <c:v>1.0876555999999999</c:v>
                </c:pt>
                <c:pt idx="404">
                  <c:v>1.0382167</c:v>
                </c:pt>
                <c:pt idx="405">
                  <c:v>1.2854112</c:v>
                </c:pt>
                <c:pt idx="406">
                  <c:v>1.0876555999999999</c:v>
                </c:pt>
                <c:pt idx="407">
                  <c:v>0.98877780000000004</c:v>
                </c:pt>
                <c:pt idx="408">
                  <c:v>1.0876555999999999</c:v>
                </c:pt>
                <c:pt idx="409">
                  <c:v>1.1865334000000001</c:v>
                </c:pt>
                <c:pt idx="410">
                  <c:v>1.2359723</c:v>
                </c:pt>
                <c:pt idx="411">
                  <c:v>1.1865334000000001</c:v>
                </c:pt>
                <c:pt idx="412">
                  <c:v>0.98877780000000004</c:v>
                </c:pt>
                <c:pt idx="413">
                  <c:v>0.93933889999999998</c:v>
                </c:pt>
                <c:pt idx="414">
                  <c:v>0.98877780000000004</c:v>
                </c:pt>
                <c:pt idx="415">
                  <c:v>0.74158329999999995</c:v>
                </c:pt>
                <c:pt idx="416">
                  <c:v>0.69214450000000005</c:v>
                </c:pt>
                <c:pt idx="417">
                  <c:v>0.79102220000000001</c:v>
                </c:pt>
                <c:pt idx="418">
                  <c:v>1.0382167</c:v>
                </c:pt>
                <c:pt idx="419">
                  <c:v>1.5820445000000001</c:v>
                </c:pt>
                <c:pt idx="420">
                  <c:v>1.6314834</c:v>
                </c:pt>
                <c:pt idx="421">
                  <c:v>1.5820445000000001</c:v>
                </c:pt>
                <c:pt idx="422">
                  <c:v>1.6809223</c:v>
                </c:pt>
                <c:pt idx="423">
                  <c:v>1.9775556999999999</c:v>
                </c:pt>
                <c:pt idx="424">
                  <c:v>1.9775556999999999</c:v>
                </c:pt>
                <c:pt idx="425">
                  <c:v>1.9281168</c:v>
                </c:pt>
                <c:pt idx="426">
                  <c:v>1.9281168</c:v>
                </c:pt>
                <c:pt idx="427">
                  <c:v>2.5708224</c:v>
                </c:pt>
                <c:pt idx="428">
                  <c:v>2.8674558000000001</c:v>
                </c:pt>
                <c:pt idx="429">
                  <c:v>3.1640891</c:v>
                </c:pt>
                <c:pt idx="430">
                  <c:v>3.5596003000000001</c:v>
                </c:pt>
                <c:pt idx="431">
                  <c:v>4.0539892000000002</c:v>
                </c:pt>
                <c:pt idx="432">
                  <c:v>4.3011837000000002</c:v>
                </c:pt>
                <c:pt idx="433">
                  <c:v>4.2517448</c:v>
                </c:pt>
                <c:pt idx="434">
                  <c:v>4.4000614999999996</c:v>
                </c:pt>
                <c:pt idx="435">
                  <c:v>4.8450115</c:v>
                </c:pt>
                <c:pt idx="436">
                  <c:v>5.0427670999999998</c:v>
                </c:pt>
                <c:pt idx="437">
                  <c:v>4.7461336999999997</c:v>
                </c:pt>
                <c:pt idx="438">
                  <c:v>4.597817</c:v>
                </c:pt>
                <c:pt idx="439">
                  <c:v>4.4495003000000004</c:v>
                </c:pt>
                <c:pt idx="440">
                  <c:v>4.597817</c:v>
                </c:pt>
                <c:pt idx="441">
                  <c:v>4.4495003000000004</c:v>
                </c:pt>
                <c:pt idx="442">
                  <c:v>4.1528669999999996</c:v>
                </c:pt>
                <c:pt idx="443">
                  <c:v>4.8450115</c:v>
                </c:pt>
                <c:pt idx="444">
                  <c:v>5.1416449000000002</c:v>
                </c:pt>
                <c:pt idx="445">
                  <c:v>5.1910837000000001</c:v>
                </c:pt>
                <c:pt idx="446">
                  <c:v>6.0809838000000003</c:v>
                </c:pt>
                <c:pt idx="447">
                  <c:v>6.8720061000000001</c:v>
                </c:pt>
                <c:pt idx="448">
                  <c:v>7.3169561999999999</c:v>
                </c:pt>
                <c:pt idx="449">
                  <c:v>7.0697616999999999</c:v>
                </c:pt>
                <c:pt idx="450">
                  <c:v>7.1192006000000001</c:v>
                </c:pt>
                <c:pt idx="451">
                  <c:v>7.3169561999999999</c:v>
                </c:pt>
                <c:pt idx="452">
                  <c:v>7.4158339</c:v>
                </c:pt>
                <c:pt idx="453">
                  <c:v>6.7731282999999998</c:v>
                </c:pt>
                <c:pt idx="454">
                  <c:v>6.1304226999999996</c:v>
                </c:pt>
                <c:pt idx="455">
                  <c:v>5.8337893999999997</c:v>
                </c:pt>
                <c:pt idx="456">
                  <c:v>6.4270560999999997</c:v>
                </c:pt>
                <c:pt idx="457">
                  <c:v>6.0315449000000001</c:v>
                </c:pt>
                <c:pt idx="458">
                  <c:v>5.3888392999999999</c:v>
                </c:pt>
                <c:pt idx="459">
                  <c:v>5.5865948999999997</c:v>
                </c:pt>
                <c:pt idx="460">
                  <c:v>5.3394003999999997</c:v>
                </c:pt>
                <c:pt idx="461">
                  <c:v>5.6360337999999999</c:v>
                </c:pt>
                <c:pt idx="462">
                  <c:v>5.3394003999999997</c:v>
                </c:pt>
                <c:pt idx="463">
                  <c:v>4.8450115</c:v>
                </c:pt>
                <c:pt idx="464">
                  <c:v>4.6472559000000002</c:v>
                </c:pt>
                <c:pt idx="465">
                  <c:v>4.7955725999999999</c:v>
                </c:pt>
                <c:pt idx="466">
                  <c:v>4.4989391999999997</c:v>
                </c:pt>
                <c:pt idx="467">
                  <c:v>4.6966948000000004</c:v>
                </c:pt>
                <c:pt idx="468">
                  <c:v>4.1528669999999996</c:v>
                </c:pt>
                <c:pt idx="469">
                  <c:v>4.597817</c:v>
                </c:pt>
                <c:pt idx="470">
                  <c:v>4.7461336999999997</c:v>
                </c:pt>
                <c:pt idx="471">
                  <c:v>4.7461336999999997</c:v>
                </c:pt>
                <c:pt idx="472">
                  <c:v>4.597817</c:v>
                </c:pt>
                <c:pt idx="473">
                  <c:v>4.3011837000000002</c:v>
                </c:pt>
                <c:pt idx="474">
                  <c:v>4.1034281000000004</c:v>
                </c:pt>
                <c:pt idx="475">
                  <c:v>4.3011837000000002</c:v>
                </c:pt>
                <c:pt idx="476">
                  <c:v>4.0045503</c:v>
                </c:pt>
                <c:pt idx="477">
                  <c:v>3.8067947000000002</c:v>
                </c:pt>
                <c:pt idx="478">
                  <c:v>3.7079168999999998</c:v>
                </c:pt>
                <c:pt idx="479">
                  <c:v>3.6090391999999998</c:v>
                </c:pt>
                <c:pt idx="480">
                  <c:v>3.5596003000000001</c:v>
                </c:pt>
                <c:pt idx="481">
                  <c:v>3.6090391999999998</c:v>
                </c:pt>
                <c:pt idx="482">
                  <c:v>3.4607225000000001</c:v>
                </c:pt>
                <c:pt idx="483">
                  <c:v>3.8067947000000002</c:v>
                </c:pt>
                <c:pt idx="484">
                  <c:v>4.0045503</c:v>
                </c:pt>
                <c:pt idx="485">
                  <c:v>3.8562335999999999</c:v>
                </c:pt>
                <c:pt idx="486">
                  <c:v>3.9056725000000001</c:v>
                </c:pt>
                <c:pt idx="487">
                  <c:v>4.2023058999999998</c:v>
                </c:pt>
                <c:pt idx="488">
                  <c:v>4.3011837000000002</c:v>
                </c:pt>
                <c:pt idx="489">
                  <c:v>3.8067947000000002</c:v>
                </c:pt>
                <c:pt idx="490">
                  <c:v>3.0652113000000001</c:v>
                </c:pt>
                <c:pt idx="491">
                  <c:v>2.7191391</c:v>
                </c:pt>
                <c:pt idx="492">
                  <c:v>2.4225056999999999</c:v>
                </c:pt>
                <c:pt idx="493">
                  <c:v>2.6697001999999999</c:v>
                </c:pt>
                <c:pt idx="494">
                  <c:v>2.4225056999999999</c:v>
                </c:pt>
                <c:pt idx="495">
                  <c:v>2.3236279</c:v>
                </c:pt>
                <c:pt idx="496">
                  <c:v>2.6202613000000001</c:v>
                </c:pt>
                <c:pt idx="497">
                  <c:v>2.5708224</c:v>
                </c:pt>
                <c:pt idx="498">
                  <c:v>2.6202613000000001</c:v>
                </c:pt>
                <c:pt idx="499">
                  <c:v>2.5708224</c:v>
                </c:pt>
                <c:pt idx="500">
                  <c:v>2.4225056999999999</c:v>
                </c:pt>
                <c:pt idx="501">
                  <c:v>2.2247501000000001</c:v>
                </c:pt>
                <c:pt idx="502">
                  <c:v>1.9775556999999999</c:v>
                </c:pt>
                <c:pt idx="503">
                  <c:v>1.7798001000000001</c:v>
                </c:pt>
                <c:pt idx="504">
                  <c:v>1.6314834</c:v>
                </c:pt>
                <c:pt idx="505">
                  <c:v>1.6314834</c:v>
                </c:pt>
                <c:pt idx="506">
                  <c:v>1.6809223</c:v>
                </c:pt>
                <c:pt idx="507">
                  <c:v>1.6809223</c:v>
                </c:pt>
                <c:pt idx="508">
                  <c:v>2.0764334999999998</c:v>
                </c:pt>
                <c:pt idx="509">
                  <c:v>2.5708224</c:v>
                </c:pt>
                <c:pt idx="510">
                  <c:v>2.9168946999999998</c:v>
                </c:pt>
                <c:pt idx="511">
                  <c:v>2.9663335000000002</c:v>
                </c:pt>
                <c:pt idx="512">
                  <c:v>2.9663335000000002</c:v>
                </c:pt>
                <c:pt idx="513">
                  <c:v>3.1640891</c:v>
                </c:pt>
                <c:pt idx="514">
                  <c:v>3.3124058000000001</c:v>
                </c:pt>
                <c:pt idx="515">
                  <c:v>3.2629668999999999</c:v>
                </c:pt>
                <c:pt idx="516">
                  <c:v>3.1640891</c:v>
                </c:pt>
                <c:pt idx="517">
                  <c:v>3.2629668999999999</c:v>
                </c:pt>
                <c:pt idx="518">
                  <c:v>3.8562335999999999</c:v>
                </c:pt>
                <c:pt idx="519">
                  <c:v>4.1528669999999996</c:v>
                </c:pt>
                <c:pt idx="520">
                  <c:v>4.5483780999999999</c:v>
                </c:pt>
                <c:pt idx="521">
                  <c:v>4.4989391999999997</c:v>
                </c:pt>
                <c:pt idx="522">
                  <c:v>4.9933281999999997</c:v>
                </c:pt>
                <c:pt idx="523">
                  <c:v>4.7955725999999999</c:v>
                </c:pt>
                <c:pt idx="524">
                  <c:v>4.6966948000000004</c:v>
                </c:pt>
                <c:pt idx="525">
                  <c:v>4.3506226000000003</c:v>
                </c:pt>
                <c:pt idx="526">
                  <c:v>4.597817</c:v>
                </c:pt>
                <c:pt idx="527">
                  <c:v>4.6472559000000002</c:v>
                </c:pt>
                <c:pt idx="528">
                  <c:v>4.9933281999999997</c:v>
                </c:pt>
                <c:pt idx="529">
                  <c:v>4.5483780999999999</c:v>
                </c:pt>
                <c:pt idx="530">
                  <c:v>4.597817</c:v>
                </c:pt>
                <c:pt idx="531">
                  <c:v>4.9933281999999997</c:v>
                </c:pt>
                <c:pt idx="532">
                  <c:v>5.1416449000000002</c:v>
                </c:pt>
                <c:pt idx="533">
                  <c:v>4.9933281999999997</c:v>
                </c:pt>
                <c:pt idx="534">
                  <c:v>4.6966948000000004</c:v>
                </c:pt>
                <c:pt idx="535">
                  <c:v>4.597817</c:v>
                </c:pt>
                <c:pt idx="536">
                  <c:v>4.6966948000000004</c:v>
                </c:pt>
                <c:pt idx="537">
                  <c:v>4.8944504000000002</c:v>
                </c:pt>
                <c:pt idx="538">
                  <c:v>4.4495003000000004</c:v>
                </c:pt>
                <c:pt idx="539">
                  <c:v>4.7461336999999997</c:v>
                </c:pt>
                <c:pt idx="540">
                  <c:v>4.6472559000000002</c:v>
                </c:pt>
                <c:pt idx="541">
                  <c:v>4.7955725999999999</c:v>
                </c:pt>
                <c:pt idx="542">
                  <c:v>4.25174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DC-463D-8531-AEA8D7694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JIP_v_den_pozitivity65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.0000140000000002</c:v>
                </c:pt>
                <c:pt idx="4">
                  <c:v>8.0000160000000005</c:v>
                </c:pt>
                <c:pt idx="5">
                  <c:v>4.5000039999999997</c:v>
                </c:pt>
                <c:pt idx="6">
                  <c:v>2.0000010000000001</c:v>
                </c:pt>
                <c:pt idx="7">
                  <c:v>1.2</c:v>
                </c:pt>
                <c:pt idx="8">
                  <c:v>1.2</c:v>
                </c:pt>
                <c:pt idx="9">
                  <c:v>0.87499899999999997</c:v>
                </c:pt>
                <c:pt idx="10">
                  <c:v>0.77777700000000005</c:v>
                </c:pt>
                <c:pt idx="11">
                  <c:v>0.36363600000000001</c:v>
                </c:pt>
                <c:pt idx="12">
                  <c:v>0.33333299999999999</c:v>
                </c:pt>
                <c:pt idx="13">
                  <c:v>0.36363600000000001</c:v>
                </c:pt>
                <c:pt idx="14">
                  <c:v>1.181818</c:v>
                </c:pt>
                <c:pt idx="15">
                  <c:v>0.53333299999999995</c:v>
                </c:pt>
                <c:pt idx="16">
                  <c:v>0.5625</c:v>
                </c:pt>
                <c:pt idx="17">
                  <c:v>0.6</c:v>
                </c:pt>
                <c:pt idx="18">
                  <c:v>0.5625</c:v>
                </c:pt>
                <c:pt idx="19">
                  <c:v>0.86666600000000005</c:v>
                </c:pt>
                <c:pt idx="20">
                  <c:v>0.249999</c:v>
                </c:pt>
                <c:pt idx="21">
                  <c:v>0.217391</c:v>
                </c:pt>
                <c:pt idx="22">
                  <c:v>0.47999900000000001</c:v>
                </c:pt>
                <c:pt idx="23">
                  <c:v>0.79166599999999998</c:v>
                </c:pt>
                <c:pt idx="24">
                  <c:v>0.91999900000000001</c:v>
                </c:pt>
                <c:pt idx="25">
                  <c:v>0.78571400000000002</c:v>
                </c:pt>
                <c:pt idx="26">
                  <c:v>0.6</c:v>
                </c:pt>
                <c:pt idx="27">
                  <c:v>0.82142800000000005</c:v>
                </c:pt>
                <c:pt idx="28">
                  <c:v>0.43243199999999998</c:v>
                </c:pt>
                <c:pt idx="29">
                  <c:v>0.16278999999999999</c:v>
                </c:pt>
                <c:pt idx="30">
                  <c:v>-2.0833000000000001E-2</c:v>
                </c:pt>
                <c:pt idx="31">
                  <c:v>0.02</c:v>
                </c:pt>
                <c:pt idx="32">
                  <c:v>6.25E-2</c:v>
                </c:pt>
                <c:pt idx="33">
                  <c:v>9.8039000000000001E-2</c:v>
                </c:pt>
                <c:pt idx="34">
                  <c:v>0.54716900000000002</c:v>
                </c:pt>
                <c:pt idx="35">
                  <c:v>0.76</c:v>
                </c:pt>
                <c:pt idx="36">
                  <c:v>1.2553190000000001</c:v>
                </c:pt>
                <c:pt idx="37">
                  <c:v>1.1764699999999999</c:v>
                </c:pt>
                <c:pt idx="38">
                  <c:v>1.3529409999999999</c:v>
                </c:pt>
                <c:pt idx="39">
                  <c:v>1.428571</c:v>
                </c:pt>
                <c:pt idx="40">
                  <c:v>0.731707</c:v>
                </c:pt>
                <c:pt idx="41">
                  <c:v>0.5</c:v>
                </c:pt>
                <c:pt idx="42">
                  <c:v>0.26415</c:v>
                </c:pt>
                <c:pt idx="43">
                  <c:v>0.18018000000000001</c:v>
                </c:pt>
                <c:pt idx="44">
                  <c:v>0.14166599999999999</c:v>
                </c:pt>
                <c:pt idx="45">
                  <c:v>8.0881999999999996E-2</c:v>
                </c:pt>
                <c:pt idx="46">
                  <c:v>-4.2252999999999999E-2</c:v>
                </c:pt>
                <c:pt idx="47">
                  <c:v>9.0909000000000004E-2</c:v>
                </c:pt>
                <c:pt idx="48">
                  <c:v>0.134328</c:v>
                </c:pt>
                <c:pt idx="49">
                  <c:v>0.22137399999999999</c:v>
                </c:pt>
                <c:pt idx="50">
                  <c:v>0.22627700000000001</c:v>
                </c:pt>
                <c:pt idx="51">
                  <c:v>0.22448899999999999</c:v>
                </c:pt>
                <c:pt idx="52">
                  <c:v>0.33823500000000001</c:v>
                </c:pt>
                <c:pt idx="53">
                  <c:v>0.39583299999999999</c:v>
                </c:pt>
                <c:pt idx="54">
                  <c:v>0.38157799999999997</c:v>
                </c:pt>
                <c:pt idx="55">
                  <c:v>0.46250000000000002</c:v>
                </c:pt>
                <c:pt idx="56">
                  <c:v>0.51190400000000003</c:v>
                </c:pt>
                <c:pt idx="57">
                  <c:v>0.37777699999999997</c:v>
                </c:pt>
                <c:pt idx="58">
                  <c:v>0.40659299999999998</c:v>
                </c:pt>
                <c:pt idx="59">
                  <c:v>0.28855700000000001</c:v>
                </c:pt>
                <c:pt idx="60">
                  <c:v>0.25237999999999999</c:v>
                </c:pt>
                <c:pt idx="61">
                  <c:v>7.6923000000000005E-2</c:v>
                </c:pt>
                <c:pt idx="62">
                  <c:v>0</c:v>
                </c:pt>
                <c:pt idx="63">
                  <c:v>-1.6129000000000001E-2</c:v>
                </c:pt>
                <c:pt idx="64">
                  <c:v>-6.25E-2</c:v>
                </c:pt>
                <c:pt idx="65">
                  <c:v>-5.7915000000000001E-2</c:v>
                </c:pt>
                <c:pt idx="66">
                  <c:v>-6.8441000000000002E-2</c:v>
                </c:pt>
                <c:pt idx="67">
                  <c:v>-6.7460000000000006E-2</c:v>
                </c:pt>
                <c:pt idx="68">
                  <c:v>-9.8424999999999999E-2</c:v>
                </c:pt>
                <c:pt idx="69">
                  <c:v>-0.15983600000000001</c:v>
                </c:pt>
                <c:pt idx="70">
                  <c:v>-0.183333</c:v>
                </c:pt>
                <c:pt idx="71">
                  <c:v>-0.151639</c:v>
                </c:pt>
                <c:pt idx="72">
                  <c:v>-0.25306099999999998</c:v>
                </c:pt>
                <c:pt idx="73">
                  <c:v>-0.28936099999999998</c:v>
                </c:pt>
                <c:pt idx="74">
                  <c:v>-0.30131000000000002</c:v>
                </c:pt>
                <c:pt idx="75">
                  <c:v>-0.24878</c:v>
                </c:pt>
                <c:pt idx="76">
                  <c:v>-0.244897</c:v>
                </c:pt>
                <c:pt idx="77">
                  <c:v>-0.357487</c:v>
                </c:pt>
                <c:pt idx="78">
                  <c:v>-0.34972599999999998</c:v>
                </c:pt>
                <c:pt idx="79">
                  <c:v>-0.26946100000000001</c:v>
                </c:pt>
                <c:pt idx="80">
                  <c:v>-0.27500000000000002</c:v>
                </c:pt>
                <c:pt idx="81">
                  <c:v>-0.233766</c:v>
                </c:pt>
                <c:pt idx="82">
                  <c:v>-0.19594500000000001</c:v>
                </c:pt>
                <c:pt idx="83">
                  <c:v>-0.21052599999999999</c:v>
                </c:pt>
                <c:pt idx="84">
                  <c:v>-8.4032999999999997E-2</c:v>
                </c:pt>
                <c:pt idx="85">
                  <c:v>-9.0162999999999993E-2</c:v>
                </c:pt>
                <c:pt idx="86">
                  <c:v>-0.103448</c:v>
                </c:pt>
                <c:pt idx="87">
                  <c:v>-0.12711800000000001</c:v>
                </c:pt>
                <c:pt idx="88">
                  <c:v>-0.20168</c:v>
                </c:pt>
                <c:pt idx="89">
                  <c:v>-9.5238000000000003E-2</c:v>
                </c:pt>
                <c:pt idx="90">
                  <c:v>-3.6697E-2</c:v>
                </c:pt>
                <c:pt idx="91">
                  <c:v>-9.0090000000000003E-2</c:v>
                </c:pt>
                <c:pt idx="92">
                  <c:v>-3.8461000000000002E-2</c:v>
                </c:pt>
                <c:pt idx="93">
                  <c:v>6.7960999999999994E-2</c:v>
                </c:pt>
                <c:pt idx="94">
                  <c:v>0.221052</c:v>
                </c:pt>
                <c:pt idx="95">
                  <c:v>0.23157800000000001</c:v>
                </c:pt>
                <c:pt idx="96">
                  <c:v>0.14285700000000001</c:v>
                </c:pt>
                <c:pt idx="97">
                  <c:v>8.9108000000000007E-2</c:v>
                </c:pt>
                <c:pt idx="98">
                  <c:v>0.19</c:v>
                </c:pt>
                <c:pt idx="99">
                  <c:v>5.4545000000000003E-2</c:v>
                </c:pt>
                <c:pt idx="100">
                  <c:v>-4.3103000000000002E-2</c:v>
                </c:pt>
                <c:pt idx="101">
                  <c:v>-0.15384600000000001</c:v>
                </c:pt>
                <c:pt idx="102">
                  <c:v>-0.13333300000000001</c:v>
                </c:pt>
                <c:pt idx="103">
                  <c:v>-9.0909000000000004E-2</c:v>
                </c:pt>
                <c:pt idx="104">
                  <c:v>-5.8823E-2</c:v>
                </c:pt>
                <c:pt idx="105">
                  <c:v>-9.4826999999999995E-2</c:v>
                </c:pt>
                <c:pt idx="106">
                  <c:v>-8.1081E-2</c:v>
                </c:pt>
                <c:pt idx="107">
                  <c:v>-1.0101000000000001E-2</c:v>
                </c:pt>
                <c:pt idx="108">
                  <c:v>-2.8846E-2</c:v>
                </c:pt>
                <c:pt idx="109">
                  <c:v>-0.06</c:v>
                </c:pt>
                <c:pt idx="110">
                  <c:v>-0.14285700000000001</c:v>
                </c:pt>
                <c:pt idx="111">
                  <c:v>-0.13333300000000001</c:v>
                </c:pt>
                <c:pt idx="112">
                  <c:v>-9.8039000000000001E-2</c:v>
                </c:pt>
                <c:pt idx="113">
                  <c:v>8.1631999999999996E-2</c:v>
                </c:pt>
                <c:pt idx="114">
                  <c:v>-2.9701999999999999E-2</c:v>
                </c:pt>
                <c:pt idx="115">
                  <c:v>8.5106000000000001E-2</c:v>
                </c:pt>
                <c:pt idx="116">
                  <c:v>9.3748999999999999E-2</c:v>
                </c:pt>
                <c:pt idx="117">
                  <c:v>0.34065899999999999</c:v>
                </c:pt>
                <c:pt idx="118">
                  <c:v>0.45652100000000001</c:v>
                </c:pt>
                <c:pt idx="119">
                  <c:v>0.46226400000000001</c:v>
                </c:pt>
                <c:pt idx="120">
                  <c:v>0.622448</c:v>
                </c:pt>
                <c:pt idx="121">
                  <c:v>0.69607799999999997</c:v>
                </c:pt>
                <c:pt idx="122">
                  <c:v>0.63809499999999997</c:v>
                </c:pt>
                <c:pt idx="123">
                  <c:v>0.49180299999999999</c:v>
                </c:pt>
                <c:pt idx="124">
                  <c:v>0.30597000000000002</c:v>
                </c:pt>
                <c:pt idx="125">
                  <c:v>0.12257999999999999</c:v>
                </c:pt>
                <c:pt idx="126">
                  <c:v>8.8050000000000003E-2</c:v>
                </c:pt>
                <c:pt idx="127">
                  <c:v>0</c:v>
                </c:pt>
                <c:pt idx="128">
                  <c:v>0</c:v>
                </c:pt>
                <c:pt idx="129">
                  <c:v>2.1978000000000001E-2</c:v>
                </c:pt>
                <c:pt idx="130">
                  <c:v>9.1427999999999995E-2</c:v>
                </c:pt>
                <c:pt idx="131">
                  <c:v>6.3217999999999996E-2</c:v>
                </c:pt>
                <c:pt idx="132">
                  <c:v>5.2023E-2</c:v>
                </c:pt>
                <c:pt idx="133">
                  <c:v>-4.0461999999999998E-2</c:v>
                </c:pt>
                <c:pt idx="134">
                  <c:v>-9.3022999999999995E-2</c:v>
                </c:pt>
                <c:pt idx="135">
                  <c:v>-0.12903200000000001</c:v>
                </c:pt>
                <c:pt idx="136">
                  <c:v>-0.17801</c:v>
                </c:pt>
                <c:pt idx="137">
                  <c:v>-0.22702700000000001</c:v>
                </c:pt>
                <c:pt idx="138">
                  <c:v>-0.241758</c:v>
                </c:pt>
                <c:pt idx="139">
                  <c:v>-0.17469799999999999</c:v>
                </c:pt>
                <c:pt idx="140">
                  <c:v>-9.6153000000000002E-2</c:v>
                </c:pt>
                <c:pt idx="141">
                  <c:v>-0.111111</c:v>
                </c:pt>
                <c:pt idx="142">
                  <c:v>-0.18471299999999999</c:v>
                </c:pt>
                <c:pt idx="143">
                  <c:v>-0.118881</c:v>
                </c:pt>
                <c:pt idx="144">
                  <c:v>-7.9710000000000003E-2</c:v>
                </c:pt>
                <c:pt idx="145">
                  <c:v>-7.2992000000000001E-2</c:v>
                </c:pt>
                <c:pt idx="146">
                  <c:v>-0.12765899999999999</c:v>
                </c:pt>
                <c:pt idx="147">
                  <c:v>-0.14583299999999999</c:v>
                </c:pt>
                <c:pt idx="148">
                  <c:v>-0.140625</c:v>
                </c:pt>
                <c:pt idx="149">
                  <c:v>-0.111111</c:v>
                </c:pt>
                <c:pt idx="150">
                  <c:v>-8.6613999999999997E-2</c:v>
                </c:pt>
                <c:pt idx="151">
                  <c:v>-8.6613999999999997E-2</c:v>
                </c:pt>
                <c:pt idx="152">
                  <c:v>-5.6910000000000002E-2</c:v>
                </c:pt>
                <c:pt idx="153">
                  <c:v>-1.626E-2</c:v>
                </c:pt>
                <c:pt idx="154">
                  <c:v>9.0900000000000009E-3</c:v>
                </c:pt>
                <c:pt idx="155">
                  <c:v>5.3571000000000001E-2</c:v>
                </c:pt>
                <c:pt idx="156">
                  <c:v>7.7586000000000002E-2</c:v>
                </c:pt>
                <c:pt idx="157">
                  <c:v>3.4481999999999999E-2</c:v>
                </c:pt>
                <c:pt idx="158">
                  <c:v>5.1723999999999999E-2</c:v>
                </c:pt>
                <c:pt idx="159">
                  <c:v>0</c:v>
                </c:pt>
                <c:pt idx="160">
                  <c:v>4.5045000000000002E-2</c:v>
                </c:pt>
                <c:pt idx="161">
                  <c:v>0.13559299999999999</c:v>
                </c:pt>
                <c:pt idx="162">
                  <c:v>0.12</c:v>
                </c:pt>
                <c:pt idx="163">
                  <c:v>0.13333300000000001</c:v>
                </c:pt>
                <c:pt idx="164">
                  <c:v>7.3770000000000002E-2</c:v>
                </c:pt>
                <c:pt idx="165">
                  <c:v>8.2640000000000005E-3</c:v>
                </c:pt>
                <c:pt idx="166">
                  <c:v>0.120689</c:v>
                </c:pt>
                <c:pt idx="167">
                  <c:v>-7.4625999999999998E-2</c:v>
                </c:pt>
                <c:pt idx="168">
                  <c:v>-0.157142</c:v>
                </c:pt>
                <c:pt idx="169">
                  <c:v>-7.3528999999999997E-2</c:v>
                </c:pt>
                <c:pt idx="170">
                  <c:v>1.5266999999999999E-2</c:v>
                </c:pt>
                <c:pt idx="171">
                  <c:v>8.1966999999999998E-2</c:v>
                </c:pt>
                <c:pt idx="172">
                  <c:v>0.123076</c:v>
                </c:pt>
                <c:pt idx="173">
                  <c:v>0.24193500000000001</c:v>
                </c:pt>
                <c:pt idx="174">
                  <c:v>0.38983000000000001</c:v>
                </c:pt>
                <c:pt idx="175">
                  <c:v>0.26190400000000003</c:v>
                </c:pt>
                <c:pt idx="176">
                  <c:v>0.15037500000000001</c:v>
                </c:pt>
                <c:pt idx="177">
                  <c:v>0.18939300000000001</c:v>
                </c:pt>
                <c:pt idx="178">
                  <c:v>6.8492999999999998E-2</c:v>
                </c:pt>
                <c:pt idx="179">
                  <c:v>-4.5454000000000001E-2</c:v>
                </c:pt>
                <c:pt idx="180">
                  <c:v>-0.13414599999999999</c:v>
                </c:pt>
                <c:pt idx="181">
                  <c:v>-8.1761E-2</c:v>
                </c:pt>
                <c:pt idx="182">
                  <c:v>2.6143E-2</c:v>
                </c:pt>
                <c:pt idx="183">
                  <c:v>-2.5477E-2</c:v>
                </c:pt>
                <c:pt idx="184">
                  <c:v>-6.4102000000000006E-2</c:v>
                </c:pt>
                <c:pt idx="185">
                  <c:v>4.0815999999999998E-2</c:v>
                </c:pt>
                <c:pt idx="186">
                  <c:v>0.105633</c:v>
                </c:pt>
                <c:pt idx="187">
                  <c:v>1.3698E-2</c:v>
                </c:pt>
                <c:pt idx="188">
                  <c:v>-6.3689999999999997E-3</c:v>
                </c:pt>
                <c:pt idx="189">
                  <c:v>-7.8431000000000001E-2</c:v>
                </c:pt>
                <c:pt idx="190">
                  <c:v>-2.0546999999999999E-2</c:v>
                </c:pt>
                <c:pt idx="191">
                  <c:v>-3.9215E-2</c:v>
                </c:pt>
                <c:pt idx="192">
                  <c:v>1.9108E-2</c:v>
                </c:pt>
                <c:pt idx="193">
                  <c:v>4.7296999999999999E-2</c:v>
                </c:pt>
                <c:pt idx="194">
                  <c:v>2.5641000000000001E-2</c:v>
                </c:pt>
                <c:pt idx="195">
                  <c:v>6.3828999999999997E-2</c:v>
                </c:pt>
                <c:pt idx="196">
                  <c:v>3.4965000000000003E-2</c:v>
                </c:pt>
                <c:pt idx="197">
                  <c:v>-1.3605000000000001E-2</c:v>
                </c:pt>
                <c:pt idx="198">
                  <c:v>-0.16250000000000001</c:v>
                </c:pt>
                <c:pt idx="199">
                  <c:v>-0.23225799999999999</c:v>
                </c:pt>
                <c:pt idx="200">
                  <c:v>-0.256249</c:v>
                </c:pt>
                <c:pt idx="201">
                  <c:v>-0.25333299999999997</c:v>
                </c:pt>
                <c:pt idx="202">
                  <c:v>-0.24324299999999999</c:v>
                </c:pt>
                <c:pt idx="203">
                  <c:v>-0.151724</c:v>
                </c:pt>
                <c:pt idx="204">
                  <c:v>-0.11940199999999999</c:v>
                </c:pt>
                <c:pt idx="205">
                  <c:v>4.2015999999999998E-2</c:v>
                </c:pt>
                <c:pt idx="206">
                  <c:v>3.3612999999999997E-2</c:v>
                </c:pt>
                <c:pt idx="207">
                  <c:v>8.9285000000000003E-2</c:v>
                </c:pt>
                <c:pt idx="208">
                  <c:v>0.107142</c:v>
                </c:pt>
                <c:pt idx="209">
                  <c:v>-8.1300000000000001E-3</c:v>
                </c:pt>
                <c:pt idx="210">
                  <c:v>-8.4745000000000001E-2</c:v>
                </c:pt>
                <c:pt idx="211">
                  <c:v>-0.153225</c:v>
                </c:pt>
                <c:pt idx="212">
                  <c:v>-0.17073099999999999</c:v>
                </c:pt>
                <c:pt idx="213">
                  <c:v>-0.213114</c:v>
                </c:pt>
                <c:pt idx="214">
                  <c:v>-0.22580600000000001</c:v>
                </c:pt>
                <c:pt idx="215">
                  <c:v>-0.22950799999999999</c:v>
                </c:pt>
                <c:pt idx="216">
                  <c:v>-0.30555500000000002</c:v>
                </c:pt>
                <c:pt idx="217">
                  <c:v>-0.228571</c:v>
                </c:pt>
                <c:pt idx="218">
                  <c:v>-0.156862</c:v>
                </c:pt>
                <c:pt idx="219">
                  <c:v>-8.3333000000000004E-2</c:v>
                </c:pt>
                <c:pt idx="220">
                  <c:v>-7.2915999999999995E-2</c:v>
                </c:pt>
                <c:pt idx="221">
                  <c:v>0</c:v>
                </c:pt>
                <c:pt idx="222">
                  <c:v>0.28000000000000003</c:v>
                </c:pt>
                <c:pt idx="223">
                  <c:v>0.34567900000000001</c:v>
                </c:pt>
                <c:pt idx="224">
                  <c:v>0.16278999999999999</c:v>
                </c:pt>
                <c:pt idx="225">
                  <c:v>6.8181000000000005E-2</c:v>
                </c:pt>
                <c:pt idx="226">
                  <c:v>-4.4942999999999997E-2</c:v>
                </c:pt>
                <c:pt idx="227">
                  <c:v>-0.138297</c:v>
                </c:pt>
                <c:pt idx="228">
                  <c:v>-0.22916600000000001</c:v>
                </c:pt>
                <c:pt idx="229">
                  <c:v>-0.37614599999999998</c:v>
                </c:pt>
                <c:pt idx="230">
                  <c:v>-0.35</c:v>
                </c:pt>
                <c:pt idx="231">
                  <c:v>-0.30851000000000001</c:v>
                </c:pt>
                <c:pt idx="232">
                  <c:v>-0.29411700000000002</c:v>
                </c:pt>
                <c:pt idx="233">
                  <c:v>-0.25925900000000002</c:v>
                </c:pt>
                <c:pt idx="234">
                  <c:v>-0.148648</c:v>
                </c:pt>
                <c:pt idx="235">
                  <c:v>-8.8234999999999994E-2</c:v>
                </c:pt>
                <c:pt idx="236">
                  <c:v>-3.0769000000000001E-2</c:v>
                </c:pt>
                <c:pt idx="237">
                  <c:v>-0.107692</c:v>
                </c:pt>
                <c:pt idx="238">
                  <c:v>-0.13333300000000001</c:v>
                </c:pt>
                <c:pt idx="239">
                  <c:v>-8.3333000000000004E-2</c:v>
                </c:pt>
                <c:pt idx="240">
                  <c:v>-0.15873000000000001</c:v>
                </c:pt>
                <c:pt idx="241">
                  <c:v>-0.27419300000000002</c:v>
                </c:pt>
                <c:pt idx="242">
                  <c:v>-0.38095200000000001</c:v>
                </c:pt>
                <c:pt idx="243">
                  <c:v>-0.37930999999999998</c:v>
                </c:pt>
                <c:pt idx="244">
                  <c:v>-0.44230700000000001</c:v>
                </c:pt>
                <c:pt idx="245">
                  <c:v>-0.32727200000000001</c:v>
                </c:pt>
                <c:pt idx="246">
                  <c:v>-0.35848999999999998</c:v>
                </c:pt>
                <c:pt idx="247">
                  <c:v>-0.31111100000000003</c:v>
                </c:pt>
                <c:pt idx="248">
                  <c:v>-0.12820500000000001</c:v>
                </c:pt>
                <c:pt idx="249">
                  <c:v>5.5555E-2</c:v>
                </c:pt>
                <c:pt idx="250">
                  <c:v>0.31034400000000001</c:v>
                </c:pt>
                <c:pt idx="251">
                  <c:v>8.1081E-2</c:v>
                </c:pt>
                <c:pt idx="252">
                  <c:v>0</c:v>
                </c:pt>
                <c:pt idx="253">
                  <c:v>9.6773999999999999E-2</c:v>
                </c:pt>
                <c:pt idx="254">
                  <c:v>-5.8823E-2</c:v>
                </c:pt>
                <c:pt idx="255">
                  <c:v>-0.26315699999999997</c:v>
                </c:pt>
                <c:pt idx="256">
                  <c:v>-0.31578899999999999</c:v>
                </c:pt>
                <c:pt idx="257">
                  <c:v>-0.42499999999999999</c:v>
                </c:pt>
                <c:pt idx="258">
                  <c:v>-0.5</c:v>
                </c:pt>
                <c:pt idx="259">
                  <c:v>-0.55882299999999996</c:v>
                </c:pt>
                <c:pt idx="260">
                  <c:v>-0.59374899999999997</c:v>
                </c:pt>
                <c:pt idx="261">
                  <c:v>-0.60714199999999996</c:v>
                </c:pt>
                <c:pt idx="262">
                  <c:v>-0.57692299999999996</c:v>
                </c:pt>
                <c:pt idx="263">
                  <c:v>-0.56521699999999997</c:v>
                </c:pt>
                <c:pt idx="264">
                  <c:v>-0.352941</c:v>
                </c:pt>
                <c:pt idx="265">
                  <c:v>-0.26666600000000001</c:v>
                </c:pt>
                <c:pt idx="266">
                  <c:v>-0.30769200000000002</c:v>
                </c:pt>
                <c:pt idx="267">
                  <c:v>-9.0909000000000004E-2</c:v>
                </c:pt>
                <c:pt idx="268">
                  <c:v>-0.18181800000000001</c:v>
                </c:pt>
                <c:pt idx="269">
                  <c:v>-0.3</c:v>
                </c:pt>
                <c:pt idx="270">
                  <c:v>-0.36363600000000001</c:v>
                </c:pt>
                <c:pt idx="271">
                  <c:v>-0.36363600000000001</c:v>
                </c:pt>
                <c:pt idx="272">
                  <c:v>0.111111</c:v>
                </c:pt>
                <c:pt idx="273">
                  <c:v>0</c:v>
                </c:pt>
                <c:pt idx="274">
                  <c:v>-0.222222</c:v>
                </c:pt>
                <c:pt idx="275">
                  <c:v>0.28571400000000002</c:v>
                </c:pt>
                <c:pt idx="276">
                  <c:v>0.42857099999999998</c:v>
                </c:pt>
                <c:pt idx="277">
                  <c:v>0.28571400000000002</c:v>
                </c:pt>
                <c:pt idx="278">
                  <c:v>-0.2</c:v>
                </c:pt>
                <c:pt idx="279">
                  <c:v>-0.6</c:v>
                </c:pt>
                <c:pt idx="280">
                  <c:v>-0.42857099999999998</c:v>
                </c:pt>
                <c:pt idx="281">
                  <c:v>-0.66666599999999998</c:v>
                </c:pt>
                <c:pt idx="282">
                  <c:v>-0.8</c:v>
                </c:pt>
                <c:pt idx="283">
                  <c:v>-0.88888900000000004</c:v>
                </c:pt>
                <c:pt idx="284">
                  <c:v>-0.875</c:v>
                </c:pt>
                <c:pt idx="285">
                  <c:v>-0.75</c:v>
                </c:pt>
                <c:pt idx="286">
                  <c:v>-0.5</c:v>
                </c:pt>
                <c:pt idx="287">
                  <c:v>-0.33333299999999999</c:v>
                </c:pt>
                <c:pt idx="288">
                  <c:v>0</c:v>
                </c:pt>
                <c:pt idx="289">
                  <c:v>0</c:v>
                </c:pt>
                <c:pt idx="290">
                  <c:v>2.0000040000000001</c:v>
                </c:pt>
                <c:pt idx="291">
                  <c:v>2.0000040000000001</c:v>
                </c:pt>
                <c:pt idx="292">
                  <c:v>1.0000009999999999</c:v>
                </c:pt>
                <c:pt idx="293">
                  <c:v>0.5</c:v>
                </c:pt>
                <c:pt idx="294">
                  <c:v>0.5</c:v>
                </c:pt>
                <c:pt idx="295">
                  <c:v>2.0000040000000001</c:v>
                </c:pt>
                <c:pt idx="296">
                  <c:v>0</c:v>
                </c:pt>
                <c:pt idx="297">
                  <c:v>-0.66666700000000001</c:v>
                </c:pt>
                <c:pt idx="298">
                  <c:v>-0.75</c:v>
                </c:pt>
                <c:pt idx="299">
                  <c:v>-1</c:v>
                </c:pt>
                <c:pt idx="300">
                  <c:v>-1</c:v>
                </c:pt>
                <c:pt idx="301">
                  <c:v>-1</c:v>
                </c:pt>
                <c:pt idx="302">
                  <c:v>-1</c:v>
                </c:pt>
                <c:pt idx="303">
                  <c:v>-1</c:v>
                </c:pt>
                <c:pt idx="304">
                  <c:v>-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1.0000020000000001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1.0000020000000001</c:v>
                </c:pt>
                <c:pt idx="323">
                  <c:v>1.0000020000000001</c:v>
                </c:pt>
                <c:pt idx="324">
                  <c:v>1.0000020000000001</c:v>
                </c:pt>
                <c:pt idx="325">
                  <c:v>2.0000040000000001</c:v>
                </c:pt>
                <c:pt idx="326">
                  <c:v>0.5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1.0000009999999999</c:v>
                </c:pt>
                <c:pt idx="334">
                  <c:v>1.0000009999999999</c:v>
                </c:pt>
                <c:pt idx="335">
                  <c:v>0.5</c:v>
                </c:pt>
                <c:pt idx="336">
                  <c:v>0.5</c:v>
                </c:pt>
                <c:pt idx="337">
                  <c:v>0.33333299999999999</c:v>
                </c:pt>
                <c:pt idx="338">
                  <c:v>0</c:v>
                </c:pt>
                <c:pt idx="339">
                  <c:v>-0.25</c:v>
                </c:pt>
                <c:pt idx="340">
                  <c:v>-0.5</c:v>
                </c:pt>
                <c:pt idx="341">
                  <c:v>-0.33333299999999999</c:v>
                </c:pt>
                <c:pt idx="342">
                  <c:v>-0.33333299999999999</c:v>
                </c:pt>
                <c:pt idx="343">
                  <c:v>-0.5</c:v>
                </c:pt>
                <c:pt idx="344">
                  <c:v>-0.33333299999999999</c:v>
                </c:pt>
                <c:pt idx="345">
                  <c:v>-0.33333299999999999</c:v>
                </c:pt>
                <c:pt idx="346">
                  <c:v>-0.5</c:v>
                </c:pt>
                <c:pt idx="347">
                  <c:v>-0.5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-0.5</c:v>
                </c:pt>
                <c:pt idx="352">
                  <c:v>0</c:v>
                </c:pt>
                <c:pt idx="353">
                  <c:v>3.000006</c:v>
                </c:pt>
                <c:pt idx="354">
                  <c:v>1.5000009999999999</c:v>
                </c:pt>
                <c:pt idx="355">
                  <c:v>1.0000009999999999</c:v>
                </c:pt>
                <c:pt idx="356">
                  <c:v>1.5000009999999999</c:v>
                </c:pt>
                <c:pt idx="357">
                  <c:v>5.0000099999999996</c:v>
                </c:pt>
                <c:pt idx="358">
                  <c:v>6.0000119999999999</c:v>
                </c:pt>
                <c:pt idx="359">
                  <c:v>0.75</c:v>
                </c:pt>
                <c:pt idx="360">
                  <c:v>-0.2</c:v>
                </c:pt>
                <c:pt idx="361">
                  <c:v>-0.25</c:v>
                </c:pt>
                <c:pt idx="362">
                  <c:v>-0.4</c:v>
                </c:pt>
                <c:pt idx="363">
                  <c:v>-0.66666599999999998</c:v>
                </c:pt>
                <c:pt idx="364">
                  <c:v>-0.85714299999999999</c:v>
                </c:pt>
                <c:pt idx="365">
                  <c:v>-0.85714299999999999</c:v>
                </c:pt>
                <c:pt idx="366">
                  <c:v>-0.75</c:v>
                </c:pt>
                <c:pt idx="367">
                  <c:v>0.33333299999999999</c:v>
                </c:pt>
                <c:pt idx="368">
                  <c:v>0.33333299999999999</c:v>
                </c:pt>
                <c:pt idx="369">
                  <c:v>1.5000009999999999</c:v>
                </c:pt>
                <c:pt idx="370">
                  <c:v>4.0000080000000002</c:v>
                </c:pt>
                <c:pt idx="371">
                  <c:v>5.0000099999999996</c:v>
                </c:pt>
                <c:pt idx="372">
                  <c:v>4.0000080000000002</c:v>
                </c:pt>
                <c:pt idx="373">
                  <c:v>0.25</c:v>
                </c:pt>
                <c:pt idx="374">
                  <c:v>-0.25</c:v>
                </c:pt>
                <c:pt idx="375">
                  <c:v>-0.4</c:v>
                </c:pt>
                <c:pt idx="376">
                  <c:v>-0.6</c:v>
                </c:pt>
                <c:pt idx="377">
                  <c:v>0</c:v>
                </c:pt>
                <c:pt idx="378">
                  <c:v>0.2</c:v>
                </c:pt>
                <c:pt idx="379">
                  <c:v>0.2</c:v>
                </c:pt>
                <c:pt idx="380">
                  <c:v>1</c:v>
                </c:pt>
                <c:pt idx="381">
                  <c:v>1</c:v>
                </c:pt>
                <c:pt idx="382">
                  <c:v>2.0000019999999998</c:v>
                </c:pt>
                <c:pt idx="383">
                  <c:v>0.16666600000000001</c:v>
                </c:pt>
                <c:pt idx="384">
                  <c:v>-0.5</c:v>
                </c:pt>
                <c:pt idx="385">
                  <c:v>-0.66666599999999998</c:v>
                </c:pt>
                <c:pt idx="386">
                  <c:v>-0.66666599999999998</c:v>
                </c:pt>
                <c:pt idx="387">
                  <c:v>-0.5</c:v>
                </c:pt>
                <c:pt idx="388">
                  <c:v>-0.66666599999999998</c:v>
                </c:pt>
                <c:pt idx="389">
                  <c:v>-0.57142800000000005</c:v>
                </c:pt>
                <c:pt idx="390">
                  <c:v>0</c:v>
                </c:pt>
                <c:pt idx="391">
                  <c:v>1.5000009999999999</c:v>
                </c:pt>
                <c:pt idx="392">
                  <c:v>2.0000019999999998</c:v>
                </c:pt>
                <c:pt idx="393">
                  <c:v>1.6666669999999999</c:v>
                </c:pt>
                <c:pt idx="394">
                  <c:v>3.000003</c:v>
                </c:pt>
                <c:pt idx="395">
                  <c:v>2.666668</c:v>
                </c:pt>
                <c:pt idx="396">
                  <c:v>2.3333339999999998</c:v>
                </c:pt>
                <c:pt idx="397">
                  <c:v>1.2</c:v>
                </c:pt>
                <c:pt idx="398">
                  <c:v>1</c:v>
                </c:pt>
                <c:pt idx="399">
                  <c:v>1.125</c:v>
                </c:pt>
                <c:pt idx="400">
                  <c:v>1.625</c:v>
                </c:pt>
                <c:pt idx="401">
                  <c:v>1.181818</c:v>
                </c:pt>
                <c:pt idx="402">
                  <c:v>1.2</c:v>
                </c:pt>
                <c:pt idx="403">
                  <c:v>1</c:v>
                </c:pt>
                <c:pt idx="404">
                  <c:v>0.74999899999999997</c:v>
                </c:pt>
                <c:pt idx="405">
                  <c:v>0.52941099999999996</c:v>
                </c:pt>
                <c:pt idx="406">
                  <c:v>4.7619000000000002E-2</c:v>
                </c:pt>
                <c:pt idx="407">
                  <c:v>-0.16666600000000001</c:v>
                </c:pt>
                <c:pt idx="408">
                  <c:v>0</c:v>
                </c:pt>
                <c:pt idx="409">
                  <c:v>9.0909000000000004E-2</c:v>
                </c:pt>
                <c:pt idx="410">
                  <c:v>0.19047600000000001</c:v>
                </c:pt>
                <c:pt idx="411">
                  <c:v>-7.6923000000000005E-2</c:v>
                </c:pt>
                <c:pt idx="412">
                  <c:v>-9.0909000000000004E-2</c:v>
                </c:pt>
                <c:pt idx="413">
                  <c:v>-0.05</c:v>
                </c:pt>
                <c:pt idx="414">
                  <c:v>-9.0909000000000004E-2</c:v>
                </c:pt>
                <c:pt idx="415">
                  <c:v>-0.375</c:v>
                </c:pt>
                <c:pt idx="416">
                  <c:v>-0.43999899999999997</c:v>
                </c:pt>
                <c:pt idx="417">
                  <c:v>-0.33333299999999999</c:v>
                </c:pt>
                <c:pt idx="418">
                  <c:v>0.05</c:v>
                </c:pt>
                <c:pt idx="419">
                  <c:v>0.68420999999999998</c:v>
                </c:pt>
                <c:pt idx="420">
                  <c:v>0.65</c:v>
                </c:pt>
                <c:pt idx="421">
                  <c:v>1.1333329999999999</c:v>
                </c:pt>
                <c:pt idx="422">
                  <c:v>1.428571</c:v>
                </c:pt>
                <c:pt idx="423">
                  <c:v>1.5</c:v>
                </c:pt>
                <c:pt idx="424">
                  <c:v>0.90476100000000004</c:v>
                </c:pt>
                <c:pt idx="425">
                  <c:v>0.21875</c:v>
                </c:pt>
                <c:pt idx="426">
                  <c:v>0.18181800000000001</c:v>
                </c:pt>
                <c:pt idx="427">
                  <c:v>0.625</c:v>
                </c:pt>
                <c:pt idx="428">
                  <c:v>0.70588200000000001</c:v>
                </c:pt>
                <c:pt idx="429">
                  <c:v>0.59999899999999995</c:v>
                </c:pt>
                <c:pt idx="430">
                  <c:v>0.8</c:v>
                </c:pt>
                <c:pt idx="431">
                  <c:v>1.1025640000000001</c:v>
                </c:pt>
                <c:pt idx="432">
                  <c:v>1.230769</c:v>
                </c:pt>
                <c:pt idx="433">
                  <c:v>0.65384600000000004</c:v>
                </c:pt>
                <c:pt idx="434">
                  <c:v>0.53448200000000001</c:v>
                </c:pt>
                <c:pt idx="435">
                  <c:v>0.53125</c:v>
                </c:pt>
                <c:pt idx="436">
                  <c:v>0.41666599999999998</c:v>
                </c:pt>
                <c:pt idx="437">
                  <c:v>0.17073099999999999</c:v>
                </c:pt>
                <c:pt idx="438">
                  <c:v>6.8964999999999999E-2</c:v>
                </c:pt>
                <c:pt idx="439">
                  <c:v>4.6510999999999997E-2</c:v>
                </c:pt>
                <c:pt idx="440">
                  <c:v>4.4942999999999997E-2</c:v>
                </c:pt>
                <c:pt idx="441">
                  <c:v>-8.1631999999999996E-2</c:v>
                </c:pt>
                <c:pt idx="442">
                  <c:v>-0.17646999999999999</c:v>
                </c:pt>
                <c:pt idx="443">
                  <c:v>2.0833000000000001E-2</c:v>
                </c:pt>
                <c:pt idx="444">
                  <c:v>0.118279</c:v>
                </c:pt>
                <c:pt idx="445">
                  <c:v>0.16666600000000001</c:v>
                </c:pt>
                <c:pt idx="446">
                  <c:v>0.32257999999999998</c:v>
                </c:pt>
                <c:pt idx="447">
                  <c:v>0.54444400000000004</c:v>
                </c:pt>
                <c:pt idx="448">
                  <c:v>0.76190400000000003</c:v>
                </c:pt>
                <c:pt idx="449">
                  <c:v>0.45918300000000001</c:v>
                </c:pt>
                <c:pt idx="450">
                  <c:v>0.38461499999999998</c:v>
                </c:pt>
                <c:pt idx="451">
                  <c:v>0.40952300000000003</c:v>
                </c:pt>
                <c:pt idx="452">
                  <c:v>0.21951200000000001</c:v>
                </c:pt>
                <c:pt idx="453">
                  <c:v>-1.4388E-2</c:v>
                </c:pt>
                <c:pt idx="454">
                  <c:v>-0.162162</c:v>
                </c:pt>
                <c:pt idx="455">
                  <c:v>-0.17482500000000001</c:v>
                </c:pt>
                <c:pt idx="456">
                  <c:v>-9.7222000000000003E-2</c:v>
                </c:pt>
                <c:pt idx="457">
                  <c:v>-0.175675</c:v>
                </c:pt>
                <c:pt idx="458">
                  <c:v>-0.27333299999999999</c:v>
                </c:pt>
                <c:pt idx="459">
                  <c:v>-0.175182</c:v>
                </c:pt>
                <c:pt idx="460">
                  <c:v>-0.12903200000000001</c:v>
                </c:pt>
                <c:pt idx="461">
                  <c:v>-3.3897999999999998E-2</c:v>
                </c:pt>
                <c:pt idx="462">
                  <c:v>-0.16922999999999999</c:v>
                </c:pt>
                <c:pt idx="463">
                  <c:v>-0.19672100000000001</c:v>
                </c:pt>
                <c:pt idx="464">
                  <c:v>-0.13761399999999999</c:v>
                </c:pt>
                <c:pt idx="465">
                  <c:v>-0.141592</c:v>
                </c:pt>
                <c:pt idx="466">
                  <c:v>-0.15740699999999999</c:v>
                </c:pt>
                <c:pt idx="467">
                  <c:v>-0.16666600000000001</c:v>
                </c:pt>
                <c:pt idx="468">
                  <c:v>-0.222222</c:v>
                </c:pt>
                <c:pt idx="469">
                  <c:v>-5.1020000000000003E-2</c:v>
                </c:pt>
                <c:pt idx="470">
                  <c:v>2.1276E-2</c:v>
                </c:pt>
                <c:pt idx="471">
                  <c:v>-1.0309E-2</c:v>
                </c:pt>
                <c:pt idx="472">
                  <c:v>2.1978000000000001E-2</c:v>
                </c:pt>
                <c:pt idx="473">
                  <c:v>-8.4209999999999993E-2</c:v>
                </c:pt>
                <c:pt idx="474">
                  <c:v>-1.1904E-2</c:v>
                </c:pt>
                <c:pt idx="475">
                  <c:v>-6.4516000000000004E-2</c:v>
                </c:pt>
                <c:pt idx="476">
                  <c:v>-0.15625</c:v>
                </c:pt>
                <c:pt idx="477">
                  <c:v>-0.19791600000000001</c:v>
                </c:pt>
                <c:pt idx="478">
                  <c:v>-0.193548</c:v>
                </c:pt>
                <c:pt idx="479">
                  <c:v>-0.16091900000000001</c:v>
                </c:pt>
                <c:pt idx="480">
                  <c:v>-0.13253000000000001</c:v>
                </c:pt>
                <c:pt idx="481">
                  <c:v>-0.16091900000000001</c:v>
                </c:pt>
                <c:pt idx="482">
                  <c:v>-0.13580200000000001</c:v>
                </c:pt>
                <c:pt idx="483">
                  <c:v>0</c:v>
                </c:pt>
                <c:pt idx="484">
                  <c:v>0.08</c:v>
                </c:pt>
                <c:pt idx="485">
                  <c:v>6.8492999999999998E-2</c:v>
                </c:pt>
                <c:pt idx="486">
                  <c:v>9.7222000000000003E-2</c:v>
                </c:pt>
                <c:pt idx="487">
                  <c:v>0.164383</c:v>
                </c:pt>
                <c:pt idx="488">
                  <c:v>0.24285699999999999</c:v>
                </c:pt>
                <c:pt idx="489">
                  <c:v>0</c:v>
                </c:pt>
                <c:pt idx="490">
                  <c:v>-0.234567</c:v>
                </c:pt>
                <c:pt idx="491">
                  <c:v>-0.29487099999999999</c:v>
                </c:pt>
                <c:pt idx="492">
                  <c:v>-0.37974599999999997</c:v>
                </c:pt>
                <c:pt idx="493">
                  <c:v>-0.364705</c:v>
                </c:pt>
                <c:pt idx="494">
                  <c:v>-0.43678099999999997</c:v>
                </c:pt>
                <c:pt idx="495">
                  <c:v>-0.38961000000000001</c:v>
                </c:pt>
                <c:pt idx="496">
                  <c:v>-0.14516100000000001</c:v>
                </c:pt>
                <c:pt idx="497">
                  <c:v>-5.4545000000000003E-2</c:v>
                </c:pt>
                <c:pt idx="498">
                  <c:v>8.1631999999999996E-2</c:v>
                </c:pt>
                <c:pt idx="499">
                  <c:v>-3.7037E-2</c:v>
                </c:pt>
                <c:pt idx="500">
                  <c:v>0</c:v>
                </c:pt>
                <c:pt idx="501">
                  <c:v>-4.2553000000000001E-2</c:v>
                </c:pt>
                <c:pt idx="502">
                  <c:v>-0.245283</c:v>
                </c:pt>
                <c:pt idx="503">
                  <c:v>-0.30769200000000002</c:v>
                </c:pt>
                <c:pt idx="504">
                  <c:v>-0.37735800000000003</c:v>
                </c:pt>
                <c:pt idx="505">
                  <c:v>-0.36538399999999999</c:v>
                </c:pt>
                <c:pt idx="506">
                  <c:v>-0.30612200000000001</c:v>
                </c:pt>
                <c:pt idx="507">
                  <c:v>-0.24444399999999999</c:v>
                </c:pt>
                <c:pt idx="508">
                  <c:v>0.05</c:v>
                </c:pt>
                <c:pt idx="509">
                  <c:v>0.44444400000000001</c:v>
                </c:pt>
                <c:pt idx="510">
                  <c:v>0.78787799999999997</c:v>
                </c:pt>
                <c:pt idx="511">
                  <c:v>0.81818100000000005</c:v>
                </c:pt>
                <c:pt idx="512">
                  <c:v>0.76470499999999997</c:v>
                </c:pt>
                <c:pt idx="513">
                  <c:v>0.88235200000000003</c:v>
                </c:pt>
                <c:pt idx="514">
                  <c:v>0.59523800000000004</c:v>
                </c:pt>
                <c:pt idx="515">
                  <c:v>0.26923000000000002</c:v>
                </c:pt>
                <c:pt idx="516">
                  <c:v>8.4745000000000001E-2</c:v>
                </c:pt>
                <c:pt idx="517">
                  <c:v>0.1</c:v>
                </c:pt>
                <c:pt idx="518">
                  <c:v>0.3</c:v>
                </c:pt>
                <c:pt idx="519">
                  <c:v>0.3125</c:v>
                </c:pt>
                <c:pt idx="520">
                  <c:v>0.37313400000000002</c:v>
                </c:pt>
                <c:pt idx="521">
                  <c:v>0.37878699999999998</c:v>
                </c:pt>
                <c:pt idx="522">
                  <c:v>0.578125</c:v>
                </c:pt>
                <c:pt idx="523">
                  <c:v>0.469696</c:v>
                </c:pt>
                <c:pt idx="524">
                  <c:v>0.217948</c:v>
                </c:pt>
                <c:pt idx="525">
                  <c:v>4.7619000000000002E-2</c:v>
                </c:pt>
                <c:pt idx="526">
                  <c:v>1.0869E-2</c:v>
                </c:pt>
                <c:pt idx="527">
                  <c:v>3.2967000000000003E-2</c:v>
                </c:pt>
                <c:pt idx="528">
                  <c:v>0</c:v>
                </c:pt>
                <c:pt idx="529">
                  <c:v>-5.1546000000000002E-2</c:v>
                </c:pt>
                <c:pt idx="530">
                  <c:v>-2.1052000000000001E-2</c:v>
                </c:pt>
                <c:pt idx="531">
                  <c:v>0.147727</c:v>
                </c:pt>
                <c:pt idx="532">
                  <c:v>0.118279</c:v>
                </c:pt>
                <c:pt idx="533">
                  <c:v>7.4468000000000006E-2</c:v>
                </c:pt>
                <c:pt idx="534">
                  <c:v>-5.9404999999999999E-2</c:v>
                </c:pt>
                <c:pt idx="535">
                  <c:v>1.0869E-2</c:v>
                </c:pt>
                <c:pt idx="536">
                  <c:v>2.1505E-2</c:v>
                </c:pt>
                <c:pt idx="537">
                  <c:v>-1.9800999999999999E-2</c:v>
                </c:pt>
                <c:pt idx="538">
                  <c:v>-0.13461500000000001</c:v>
                </c:pt>
                <c:pt idx="539">
                  <c:v>-4.9503999999999999E-2</c:v>
                </c:pt>
                <c:pt idx="540">
                  <c:v>-1.0526000000000001E-2</c:v>
                </c:pt>
                <c:pt idx="541">
                  <c:v>4.301E-2</c:v>
                </c:pt>
                <c:pt idx="542">
                  <c:v>-9.4736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92-4723-A6DD-F9006463A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v_den_pozitivity65_7dni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1.4925373134000001E-2</c:v>
                </c:pt>
                <c:pt idx="1">
                  <c:v>1.7421602787000001E-2</c:v>
                </c:pt>
                <c:pt idx="2">
                  <c:v>1.6233766233000001E-2</c:v>
                </c:pt>
                <c:pt idx="3">
                  <c:v>2.4316109422E-2</c:v>
                </c:pt>
                <c:pt idx="4">
                  <c:v>2.6086956521000002E-2</c:v>
                </c:pt>
                <c:pt idx="5">
                  <c:v>2.9972752043000001E-2</c:v>
                </c:pt>
                <c:pt idx="6">
                  <c:v>3.0456852791000001E-2</c:v>
                </c:pt>
                <c:pt idx="7">
                  <c:v>2.4175824174999999E-2</c:v>
                </c:pt>
                <c:pt idx="8">
                  <c:v>2.1526418786E-2</c:v>
                </c:pt>
                <c:pt idx="9">
                  <c:v>2.6642984014000001E-2</c:v>
                </c:pt>
                <c:pt idx="10">
                  <c:v>2.5889967637000001E-2</c:v>
                </c:pt>
                <c:pt idx="11">
                  <c:v>2.0188425302000001E-2</c:v>
                </c:pt>
                <c:pt idx="12">
                  <c:v>2.0382165604999999E-2</c:v>
                </c:pt>
                <c:pt idx="13">
                  <c:v>1.8450184501E-2</c:v>
                </c:pt>
                <c:pt idx="14">
                  <c:v>2.7939464492999999E-2</c:v>
                </c:pt>
                <c:pt idx="15">
                  <c:v>2.4678111587E-2</c:v>
                </c:pt>
                <c:pt idx="16">
                  <c:v>2.2893772893E-2</c:v>
                </c:pt>
                <c:pt idx="17">
                  <c:v>2.1015761821000001E-2</c:v>
                </c:pt>
                <c:pt idx="18">
                  <c:v>2.2563176894999998E-2</c:v>
                </c:pt>
                <c:pt idx="19">
                  <c:v>2.4800708591E-2</c:v>
                </c:pt>
                <c:pt idx="20">
                  <c:v>2.5466893038999999E-2</c:v>
                </c:pt>
                <c:pt idx="21">
                  <c:v>2.2134387350999998E-2</c:v>
                </c:pt>
                <c:pt idx="22">
                  <c:v>2.8287461773000001E-2</c:v>
                </c:pt>
                <c:pt idx="23">
                  <c:v>3.1455742501E-2</c:v>
                </c:pt>
                <c:pt idx="24">
                  <c:v>3.1809145129000002E-2</c:v>
                </c:pt>
                <c:pt idx="25">
                  <c:v>3.2258064516000003E-2</c:v>
                </c:pt>
                <c:pt idx="26">
                  <c:v>3.041825095E-2</c:v>
                </c:pt>
                <c:pt idx="27">
                  <c:v>3.1578947368000002E-2</c:v>
                </c:pt>
                <c:pt idx="28">
                  <c:v>3.2455603184000002E-2</c:v>
                </c:pt>
                <c:pt idx="29">
                  <c:v>2.8026905828999998E-2</c:v>
                </c:pt>
                <c:pt idx="30">
                  <c:v>2.4152106885E-2</c:v>
                </c:pt>
                <c:pt idx="31">
                  <c:v>2.3977433004000001E-2</c:v>
                </c:pt>
                <c:pt idx="32">
                  <c:v>2.1992238032999999E-2</c:v>
                </c:pt>
                <c:pt idx="33">
                  <c:v>2.2810590631000001E-2</c:v>
                </c:pt>
                <c:pt idx="34">
                  <c:v>2.8934368382999998E-2</c:v>
                </c:pt>
                <c:pt idx="35">
                  <c:v>2.7795325331000001E-2</c:v>
                </c:pt>
                <c:pt idx="36">
                  <c:v>3.0216647661999999E-2</c:v>
                </c:pt>
                <c:pt idx="37">
                  <c:v>2.9568460309E-2</c:v>
                </c:pt>
                <c:pt idx="38">
                  <c:v>2.7504011001000001E-2</c:v>
                </c:pt>
                <c:pt idx="39">
                  <c:v>2.9746281714000001E-2</c:v>
                </c:pt>
                <c:pt idx="40">
                  <c:v>2.9676071054999999E-2</c:v>
                </c:pt>
                <c:pt idx="41">
                  <c:v>2.6747720363999999E-2</c:v>
                </c:pt>
                <c:pt idx="42">
                  <c:v>2.4363636362999999E-2</c:v>
                </c:pt>
                <c:pt idx="43">
                  <c:v>2.1728313153000001E-2</c:v>
                </c:pt>
                <c:pt idx="44">
                  <c:v>2.0922419059E-2</c:v>
                </c:pt>
                <c:pt idx="45">
                  <c:v>2.1347661922000001E-2</c:v>
                </c:pt>
                <c:pt idx="46">
                  <c:v>1.8138170177999999E-2</c:v>
                </c:pt>
                <c:pt idx="47">
                  <c:v>1.8485237482999999E-2</c:v>
                </c:pt>
                <c:pt idx="48">
                  <c:v>1.8262645680000002E-2</c:v>
                </c:pt>
                <c:pt idx="49">
                  <c:v>1.8056652746999999E-2</c:v>
                </c:pt>
                <c:pt idx="50">
                  <c:v>1.7353579175000002E-2</c:v>
                </c:pt>
                <c:pt idx="51">
                  <c:v>1.7296050734999999E-2</c:v>
                </c:pt>
                <c:pt idx="52">
                  <c:v>1.6324334020000001E-2</c:v>
                </c:pt>
                <c:pt idx="53">
                  <c:v>1.7161885245000001E-2</c:v>
                </c:pt>
                <c:pt idx="54">
                  <c:v>1.7368290463000001E-2</c:v>
                </c:pt>
                <c:pt idx="55">
                  <c:v>1.8626124333E-2</c:v>
                </c:pt>
                <c:pt idx="56">
                  <c:v>1.9143804641999999E-2</c:v>
                </c:pt>
                <c:pt idx="57">
                  <c:v>1.8732532667999999E-2</c:v>
                </c:pt>
                <c:pt idx="58">
                  <c:v>1.9170286056000001E-2</c:v>
                </c:pt>
                <c:pt idx="59">
                  <c:v>1.9178082191E-2</c:v>
                </c:pt>
                <c:pt idx="60">
                  <c:v>1.9343924682999999E-2</c:v>
                </c:pt>
                <c:pt idx="61">
                  <c:v>1.8618396749E-2</c:v>
                </c:pt>
                <c:pt idx="62">
                  <c:v>1.8695716178000001E-2</c:v>
                </c:pt>
                <c:pt idx="63">
                  <c:v>1.8332081141E-2</c:v>
                </c:pt>
                <c:pt idx="64">
                  <c:v>1.7246335153E-2</c:v>
                </c:pt>
                <c:pt idx="65">
                  <c:v>1.7061743933000001E-2</c:v>
                </c:pt>
                <c:pt idx="66">
                  <c:v>1.7229254571E-2</c:v>
                </c:pt>
                <c:pt idx="67">
                  <c:v>1.7016654597999999E-2</c:v>
                </c:pt>
                <c:pt idx="68">
                  <c:v>1.7092103298000001E-2</c:v>
                </c:pt>
                <c:pt idx="69">
                  <c:v>1.6004371925E-2</c:v>
                </c:pt>
                <c:pt idx="70">
                  <c:v>1.5787354007000001E-2</c:v>
                </c:pt>
                <c:pt idx="71">
                  <c:v>1.7692307692E-2</c:v>
                </c:pt>
                <c:pt idx="72">
                  <c:v>1.6747506177E-2</c:v>
                </c:pt>
                <c:pt idx="73">
                  <c:v>1.617903507E-2</c:v>
                </c:pt>
                <c:pt idx="74">
                  <c:v>1.6361591163999999E-2</c:v>
                </c:pt>
                <c:pt idx="75">
                  <c:v>1.6303197120000001E-2</c:v>
                </c:pt>
                <c:pt idx="76">
                  <c:v>1.5505500261E-2</c:v>
                </c:pt>
                <c:pt idx="77">
                  <c:v>1.5438189204000001E-2</c:v>
                </c:pt>
                <c:pt idx="78">
                  <c:v>1.5256410256E-2</c:v>
                </c:pt>
                <c:pt idx="79">
                  <c:v>1.6598639455000001E-2</c:v>
                </c:pt>
                <c:pt idx="80">
                  <c:v>1.7033773860999999E-2</c:v>
                </c:pt>
                <c:pt idx="81">
                  <c:v>1.7971367650999999E-2</c:v>
                </c:pt>
                <c:pt idx="82">
                  <c:v>1.8204069143999999E-2</c:v>
                </c:pt>
                <c:pt idx="83">
                  <c:v>1.6738402677999999E-2</c:v>
                </c:pt>
                <c:pt idx="84">
                  <c:v>1.6408249284E-2</c:v>
                </c:pt>
                <c:pt idx="85">
                  <c:v>1.7090069284E-2</c:v>
                </c:pt>
                <c:pt idx="86">
                  <c:v>1.6861219194999999E-2</c:v>
                </c:pt>
                <c:pt idx="87">
                  <c:v>1.7383966244000001E-2</c:v>
                </c:pt>
                <c:pt idx="88">
                  <c:v>1.6507384882000001E-2</c:v>
                </c:pt>
                <c:pt idx="89">
                  <c:v>1.6675443214999999E-2</c:v>
                </c:pt>
                <c:pt idx="90">
                  <c:v>1.9080501544000001E-2</c:v>
                </c:pt>
                <c:pt idx="91">
                  <c:v>1.9238095237999998E-2</c:v>
                </c:pt>
                <c:pt idx="92">
                  <c:v>1.9376089905000001E-2</c:v>
                </c:pt>
                <c:pt idx="93">
                  <c:v>2.1764938662000001E-2</c:v>
                </c:pt>
                <c:pt idx="94">
                  <c:v>2.2920371467999998E-2</c:v>
                </c:pt>
                <c:pt idx="95">
                  <c:v>2.2435282837000001E-2</c:v>
                </c:pt>
                <c:pt idx="96">
                  <c:v>2.3130300693000001E-2</c:v>
                </c:pt>
                <c:pt idx="97">
                  <c:v>2.1097046413E-2</c:v>
                </c:pt>
                <c:pt idx="98">
                  <c:v>2.2267964070999999E-2</c:v>
                </c:pt>
                <c:pt idx="99">
                  <c:v>2.0777359842E-2</c:v>
                </c:pt>
                <c:pt idx="100">
                  <c:v>1.929092805E-2</c:v>
                </c:pt>
                <c:pt idx="101">
                  <c:v>1.6813858694999999E-2</c:v>
                </c:pt>
                <c:pt idx="102">
                  <c:v>1.7765630338000001E-2</c:v>
                </c:pt>
                <c:pt idx="103">
                  <c:v>1.6714023065E-2</c:v>
                </c:pt>
                <c:pt idx="104">
                  <c:v>1.8261862056999999E-2</c:v>
                </c:pt>
                <c:pt idx="105">
                  <c:v>1.6751754944999999E-2</c:v>
                </c:pt>
                <c:pt idx="106">
                  <c:v>1.5784586815000001E-2</c:v>
                </c:pt>
                <c:pt idx="107">
                  <c:v>1.4781297134000001E-2</c:v>
                </c:pt>
                <c:pt idx="108">
                  <c:v>1.4480286738E-2</c:v>
                </c:pt>
                <c:pt idx="109">
                  <c:v>1.3180033650999999E-2</c:v>
                </c:pt>
                <c:pt idx="110">
                  <c:v>1.3125512715000001E-2</c:v>
                </c:pt>
                <c:pt idx="111">
                  <c:v>1.1844331640999999E-2</c:v>
                </c:pt>
                <c:pt idx="112">
                  <c:v>1.1222249328999999E-2</c:v>
                </c:pt>
                <c:pt idx="113">
                  <c:v>1.1818485895E-2</c:v>
                </c:pt>
                <c:pt idx="114">
                  <c:v>1.1599005799000001E-2</c:v>
                </c:pt>
                <c:pt idx="115">
                  <c:v>1.3391098856999999E-2</c:v>
                </c:pt>
                <c:pt idx="116">
                  <c:v>1.4073180538E-2</c:v>
                </c:pt>
                <c:pt idx="117">
                  <c:v>1.6048408313000001E-2</c:v>
                </c:pt>
                <c:pt idx="118">
                  <c:v>1.6588264421000001E-2</c:v>
                </c:pt>
                <c:pt idx="119">
                  <c:v>1.7366946777999999E-2</c:v>
                </c:pt>
                <c:pt idx="120">
                  <c:v>1.6442605996999999E-2</c:v>
                </c:pt>
                <c:pt idx="121">
                  <c:v>1.5302963290000001E-2</c:v>
                </c:pt>
                <c:pt idx="122">
                  <c:v>1.4917606244000001E-2</c:v>
                </c:pt>
                <c:pt idx="123">
                  <c:v>1.5161612795E-2</c:v>
                </c:pt>
                <c:pt idx="124">
                  <c:v>1.4010087262000001E-2</c:v>
                </c:pt>
                <c:pt idx="125">
                  <c:v>1.3308857273E-2</c:v>
                </c:pt>
                <c:pt idx="126">
                  <c:v>1.2652673151E-2</c:v>
                </c:pt>
                <c:pt idx="127">
                  <c:v>1.2352731166999999E-2</c:v>
                </c:pt>
                <c:pt idx="128">
                  <c:v>1.1723009814000001E-2</c:v>
                </c:pt>
                <c:pt idx="129">
                  <c:v>1.1215629522E-2</c:v>
                </c:pt>
                <c:pt idx="130">
                  <c:v>1.1128590572E-2</c:v>
                </c:pt>
                <c:pt idx="131">
                  <c:v>1.1004044729E-2</c:v>
                </c:pt>
                <c:pt idx="132">
                  <c:v>1.1191735333E-2</c:v>
                </c:pt>
                <c:pt idx="133">
                  <c:v>1.0957818996999999E-2</c:v>
                </c:pt>
                <c:pt idx="134">
                  <c:v>1.1150822015000001E-2</c:v>
                </c:pt>
                <c:pt idx="135">
                  <c:v>1.2911452936E-2</c:v>
                </c:pt>
                <c:pt idx="136">
                  <c:v>1.3475238176E-2</c:v>
                </c:pt>
                <c:pt idx="137">
                  <c:v>1.310844257E-2</c:v>
                </c:pt>
                <c:pt idx="138">
                  <c:v>1.3015184381E-2</c:v>
                </c:pt>
                <c:pt idx="139">
                  <c:v>1.3589921634E-2</c:v>
                </c:pt>
                <c:pt idx="140">
                  <c:v>1.4611398963E-2</c:v>
                </c:pt>
                <c:pt idx="141">
                  <c:v>1.5772179627000001E-2</c:v>
                </c:pt>
                <c:pt idx="142">
                  <c:v>1.4295287021999999E-2</c:v>
                </c:pt>
                <c:pt idx="143">
                  <c:v>1.4547973675000001E-2</c:v>
                </c:pt>
                <c:pt idx="144">
                  <c:v>1.5006498877E-2</c:v>
                </c:pt>
                <c:pt idx="145">
                  <c:v>1.5175050782E-2</c:v>
                </c:pt>
                <c:pt idx="146">
                  <c:v>1.4878432321E-2</c:v>
                </c:pt>
                <c:pt idx="147">
                  <c:v>1.521523998E-2</c:v>
                </c:pt>
                <c:pt idx="148">
                  <c:v>1.3676488872000001E-2</c:v>
                </c:pt>
                <c:pt idx="149">
                  <c:v>1.3926883859000001E-2</c:v>
                </c:pt>
                <c:pt idx="150">
                  <c:v>1.4689122451E-2</c:v>
                </c:pt>
                <c:pt idx="151">
                  <c:v>1.4797805842E-2</c:v>
                </c:pt>
                <c:pt idx="152">
                  <c:v>1.473015873E-2</c:v>
                </c:pt>
                <c:pt idx="153">
                  <c:v>1.5431705138999999E-2</c:v>
                </c:pt>
                <c:pt idx="154">
                  <c:v>1.4104193138E-2</c:v>
                </c:pt>
                <c:pt idx="155">
                  <c:v>1.5020366598E-2</c:v>
                </c:pt>
                <c:pt idx="156">
                  <c:v>1.5913430935E-2</c:v>
                </c:pt>
                <c:pt idx="157">
                  <c:v>1.5124779430000001E-2</c:v>
                </c:pt>
                <c:pt idx="158">
                  <c:v>1.5176016917000001E-2</c:v>
                </c:pt>
                <c:pt idx="159">
                  <c:v>1.5053495894000001E-2</c:v>
                </c:pt>
                <c:pt idx="160">
                  <c:v>1.458019105E-2</c:v>
                </c:pt>
                <c:pt idx="161">
                  <c:v>1.6791979948999999E-2</c:v>
                </c:pt>
                <c:pt idx="162">
                  <c:v>1.7652250660999999E-2</c:v>
                </c:pt>
                <c:pt idx="163">
                  <c:v>1.7019146539E-2</c:v>
                </c:pt>
                <c:pt idx="164">
                  <c:v>1.6567598329999999E-2</c:v>
                </c:pt>
                <c:pt idx="165">
                  <c:v>1.5515706472999999E-2</c:v>
                </c:pt>
                <c:pt idx="166">
                  <c:v>1.6514227642000001E-2</c:v>
                </c:pt>
                <c:pt idx="167">
                  <c:v>1.5399900645000001E-2</c:v>
                </c:pt>
                <c:pt idx="168">
                  <c:v>1.4135122183999999E-2</c:v>
                </c:pt>
                <c:pt idx="169">
                  <c:v>1.4955489614000001E-2</c:v>
                </c:pt>
                <c:pt idx="170">
                  <c:v>1.5398865346000001E-2</c:v>
                </c:pt>
                <c:pt idx="171">
                  <c:v>1.4624418346E-2</c:v>
                </c:pt>
                <c:pt idx="172">
                  <c:v>1.5794028559000001E-2</c:v>
                </c:pt>
                <c:pt idx="173">
                  <c:v>1.6435432230000002E-2</c:v>
                </c:pt>
                <c:pt idx="174">
                  <c:v>1.6907216494E-2</c:v>
                </c:pt>
                <c:pt idx="175">
                  <c:v>1.5820895522E-2</c:v>
                </c:pt>
                <c:pt idx="176">
                  <c:v>1.4552025870000001E-2</c:v>
                </c:pt>
                <c:pt idx="177">
                  <c:v>1.4375972896000001E-2</c:v>
                </c:pt>
                <c:pt idx="178">
                  <c:v>1.3807753584E-2</c:v>
                </c:pt>
                <c:pt idx="179">
                  <c:v>1.2887953708E-2</c:v>
                </c:pt>
                <c:pt idx="180">
                  <c:v>1.2370415540999999E-2</c:v>
                </c:pt>
                <c:pt idx="181">
                  <c:v>1.2480765942E-2</c:v>
                </c:pt>
                <c:pt idx="182">
                  <c:v>1.3094245204E-2</c:v>
                </c:pt>
                <c:pt idx="183">
                  <c:v>1.2509197939000001E-2</c:v>
                </c:pt>
                <c:pt idx="184">
                  <c:v>1.1888282712999999E-2</c:v>
                </c:pt>
                <c:pt idx="185">
                  <c:v>1.2681309573E-2</c:v>
                </c:pt>
                <c:pt idx="186">
                  <c:v>1.2738336713E-2</c:v>
                </c:pt>
                <c:pt idx="187">
                  <c:v>1.2019816454E-2</c:v>
                </c:pt>
                <c:pt idx="188">
                  <c:v>1.2994585588999999E-2</c:v>
                </c:pt>
                <c:pt idx="189">
                  <c:v>1.2168809873E-2</c:v>
                </c:pt>
                <c:pt idx="190">
                  <c:v>1.2498907437999999E-2</c:v>
                </c:pt>
                <c:pt idx="191">
                  <c:v>1.3347861617999999E-2</c:v>
                </c:pt>
                <c:pt idx="192">
                  <c:v>1.4054813773E-2</c:v>
                </c:pt>
                <c:pt idx="193">
                  <c:v>1.4006867883E-2</c:v>
                </c:pt>
                <c:pt idx="194">
                  <c:v>1.4593214154999999E-2</c:v>
                </c:pt>
                <c:pt idx="195">
                  <c:v>1.3579576317E-2</c:v>
                </c:pt>
                <c:pt idx="196">
                  <c:v>1.3318934485E-2</c:v>
                </c:pt>
                <c:pt idx="197">
                  <c:v>1.3325981067E-2</c:v>
                </c:pt>
                <c:pt idx="198">
                  <c:v>1.2361623616E-2</c:v>
                </c:pt>
                <c:pt idx="199">
                  <c:v>1.1873877469E-2</c:v>
                </c:pt>
                <c:pt idx="200">
                  <c:v>1.2050632911E-2</c:v>
                </c:pt>
                <c:pt idx="201">
                  <c:v>1.1460145297999999E-2</c:v>
                </c:pt>
                <c:pt idx="202">
                  <c:v>1.1969648390999999E-2</c:v>
                </c:pt>
                <c:pt idx="203">
                  <c:v>1.3775338783E-2</c:v>
                </c:pt>
                <c:pt idx="204">
                  <c:v>1.3946342039E-2</c:v>
                </c:pt>
                <c:pt idx="205">
                  <c:v>1.5192354813999999E-2</c:v>
                </c:pt>
                <c:pt idx="206">
                  <c:v>1.5547971179E-2</c:v>
                </c:pt>
                <c:pt idx="207">
                  <c:v>1.5835929387E-2</c:v>
                </c:pt>
                <c:pt idx="208">
                  <c:v>1.6337285901999999E-2</c:v>
                </c:pt>
                <c:pt idx="209">
                  <c:v>1.6273175936999999E-2</c:v>
                </c:pt>
                <c:pt idx="210">
                  <c:v>1.5064862602E-2</c:v>
                </c:pt>
                <c:pt idx="211">
                  <c:v>1.4912654452000001E-2</c:v>
                </c:pt>
                <c:pt idx="212">
                  <c:v>1.5131286159E-2</c:v>
                </c:pt>
                <c:pt idx="213">
                  <c:v>1.5709376534000001E-2</c:v>
                </c:pt>
                <c:pt idx="214">
                  <c:v>1.6418676244000001E-2</c:v>
                </c:pt>
                <c:pt idx="215">
                  <c:v>1.6073871409000001E-2</c:v>
                </c:pt>
                <c:pt idx="216">
                  <c:v>1.4931315945999999E-2</c:v>
                </c:pt>
                <c:pt idx="217">
                  <c:v>1.7829627999000001E-2</c:v>
                </c:pt>
                <c:pt idx="218">
                  <c:v>1.9856845993E-2</c:v>
                </c:pt>
                <c:pt idx="219">
                  <c:v>2.1343681784999999E-2</c:v>
                </c:pt>
                <c:pt idx="220">
                  <c:v>2.0750757751999999E-2</c:v>
                </c:pt>
                <c:pt idx="221">
                  <c:v>2.1978021978000001E-2</c:v>
                </c:pt>
                <c:pt idx="222">
                  <c:v>2.3115819889000001E-2</c:v>
                </c:pt>
                <c:pt idx="223">
                  <c:v>2.4549549548999999E-2</c:v>
                </c:pt>
                <c:pt idx="224">
                  <c:v>2.3169601482E-2</c:v>
                </c:pt>
                <c:pt idx="225">
                  <c:v>2.4004085801E-2</c:v>
                </c:pt>
                <c:pt idx="226">
                  <c:v>2.3578363384E-2</c:v>
                </c:pt>
                <c:pt idx="227">
                  <c:v>2.3809523809000002E-2</c:v>
                </c:pt>
                <c:pt idx="228">
                  <c:v>2.25472273E-2</c:v>
                </c:pt>
                <c:pt idx="229">
                  <c:v>2.1098355568999999E-2</c:v>
                </c:pt>
                <c:pt idx="230">
                  <c:v>2.0880179889999999E-2</c:v>
                </c:pt>
                <c:pt idx="231">
                  <c:v>2.2321428571000002E-2</c:v>
                </c:pt>
                <c:pt idx="232">
                  <c:v>2.1873860735999999E-2</c:v>
                </c:pt>
                <c:pt idx="233">
                  <c:v>2.2438294689E-2</c:v>
                </c:pt>
                <c:pt idx="234">
                  <c:v>2.5230276331000001E-2</c:v>
                </c:pt>
                <c:pt idx="235">
                  <c:v>2.5736820257000002E-2</c:v>
                </c:pt>
                <c:pt idx="236">
                  <c:v>2.6415094338999998E-2</c:v>
                </c:pt>
                <c:pt idx="237">
                  <c:v>2.5360734586000001E-2</c:v>
                </c:pt>
                <c:pt idx="238">
                  <c:v>2.3831347387000001E-2</c:v>
                </c:pt>
                <c:pt idx="239">
                  <c:v>2.6178010471000001E-2</c:v>
                </c:pt>
                <c:pt idx="240">
                  <c:v>2.6473526473000001E-2</c:v>
                </c:pt>
                <c:pt idx="241">
                  <c:v>2.2854240731000001E-2</c:v>
                </c:pt>
                <c:pt idx="242">
                  <c:v>1.9657258064E-2</c:v>
                </c:pt>
                <c:pt idx="243">
                  <c:v>1.8461538461000002E-2</c:v>
                </c:pt>
                <c:pt idx="244">
                  <c:v>1.5441959531000001E-2</c:v>
                </c:pt>
                <c:pt idx="245">
                  <c:v>2.05213533E-2</c:v>
                </c:pt>
                <c:pt idx="246">
                  <c:v>1.9733023794999999E-2</c:v>
                </c:pt>
                <c:pt idx="247">
                  <c:v>1.8856447687999999E-2</c:v>
                </c:pt>
                <c:pt idx="248">
                  <c:v>2.2353714661000001E-2</c:v>
                </c:pt>
                <c:pt idx="249">
                  <c:v>2.6388888887999999E-2</c:v>
                </c:pt>
                <c:pt idx="250">
                  <c:v>2.6988636363000001E-2</c:v>
                </c:pt>
                <c:pt idx="251">
                  <c:v>3.0234315947999999E-2</c:v>
                </c:pt>
                <c:pt idx="252">
                  <c:v>2.8404344192999999E-2</c:v>
                </c:pt>
                <c:pt idx="253">
                  <c:v>3.1510658015999997E-2</c:v>
                </c:pt>
                <c:pt idx="254">
                  <c:v>3.1651829871000001E-2</c:v>
                </c:pt>
                <c:pt idx="255">
                  <c:v>2.9075804776000001E-2</c:v>
                </c:pt>
                <c:pt idx="256">
                  <c:v>2.7600849255999999E-2</c:v>
                </c:pt>
                <c:pt idx="257">
                  <c:v>2.5081788439999999E-2</c:v>
                </c:pt>
                <c:pt idx="258">
                  <c:v>2.0656136087E-2</c:v>
                </c:pt>
                <c:pt idx="259">
                  <c:v>1.9255455711999998E-2</c:v>
                </c:pt>
                <c:pt idx="260">
                  <c:v>1.7615176151E-2</c:v>
                </c:pt>
                <c:pt idx="261">
                  <c:v>1.6320474777000001E-2</c:v>
                </c:pt>
                <c:pt idx="262">
                  <c:v>1.7799352750000001E-2</c:v>
                </c:pt>
                <c:pt idx="263">
                  <c:v>1.7241379309999999E-2</c:v>
                </c:pt>
                <c:pt idx="264">
                  <c:v>1.9264448335999999E-2</c:v>
                </c:pt>
                <c:pt idx="265">
                  <c:v>2.1235521234999999E-2</c:v>
                </c:pt>
                <c:pt idx="266">
                  <c:v>1.9693654266000001E-2</c:v>
                </c:pt>
                <c:pt idx="267">
                  <c:v>2.3584905659999999E-2</c:v>
                </c:pt>
                <c:pt idx="268">
                  <c:v>2.3622047244000001E-2</c:v>
                </c:pt>
                <c:pt idx="269">
                  <c:v>1.9178082191E-2</c:v>
                </c:pt>
                <c:pt idx="270">
                  <c:v>1.9886363636E-2</c:v>
                </c:pt>
                <c:pt idx="271">
                  <c:v>2.0348837208999999E-2</c:v>
                </c:pt>
                <c:pt idx="272">
                  <c:v>3.0581039755000001E-2</c:v>
                </c:pt>
                <c:pt idx="273">
                  <c:v>3.4482758619999998E-2</c:v>
                </c:pt>
                <c:pt idx="274">
                  <c:v>2.6515151515000002E-2</c:v>
                </c:pt>
                <c:pt idx="275">
                  <c:v>3.4615384615000001E-2</c:v>
                </c:pt>
                <c:pt idx="276">
                  <c:v>4.3290043290000003E-2</c:v>
                </c:pt>
                <c:pt idx="277">
                  <c:v>4.0723981899999998E-2</c:v>
                </c:pt>
                <c:pt idx="278">
                  <c:v>3.7558685446000002E-2</c:v>
                </c:pt>
                <c:pt idx="279">
                  <c:v>2.0942408376000001E-2</c:v>
                </c:pt>
                <c:pt idx="280">
                  <c:v>2.3255813952999999E-2</c:v>
                </c:pt>
                <c:pt idx="281">
                  <c:v>1.8749999999999999E-2</c:v>
                </c:pt>
                <c:pt idx="282">
                  <c:v>1.4388489208E-2</c:v>
                </c:pt>
                <c:pt idx="283">
                  <c:v>8.5470085469999992E-3</c:v>
                </c:pt>
                <c:pt idx="284">
                  <c:v>9.1743119259999999E-3</c:v>
                </c:pt>
                <c:pt idx="285">
                  <c:v>8.8495575219999997E-3</c:v>
                </c:pt>
                <c:pt idx="286">
                  <c:v>1.9801980197999999E-2</c:v>
                </c:pt>
                <c:pt idx="287">
                  <c:v>2.1052631578000001E-2</c:v>
                </c:pt>
                <c:pt idx="288">
                  <c:v>2.1052631578000001E-2</c:v>
                </c:pt>
                <c:pt idx="289">
                  <c:v>1.2345679012E-2</c:v>
                </c:pt>
                <c:pt idx="290">
                  <c:v>3.3707865167999999E-2</c:v>
                </c:pt>
                <c:pt idx="291">
                  <c:v>3.2608695652000003E-2</c:v>
                </c:pt>
                <c:pt idx="292">
                  <c:v>4.5454545454000003E-2</c:v>
                </c:pt>
                <c:pt idx="293">
                  <c:v>3.5714285714000003E-2</c:v>
                </c:pt>
                <c:pt idx="294">
                  <c:v>3.6144578312999998E-2</c:v>
                </c:pt>
                <c:pt idx="295">
                  <c:v>4.3478260869000002E-2</c:v>
                </c:pt>
                <c:pt idx="296">
                  <c:v>4.7619047619000002E-2</c:v>
                </c:pt>
                <c:pt idx="297">
                  <c:v>2.0408163265000001E-2</c:v>
                </c:pt>
                <c:pt idx="298">
                  <c:v>2.0408163265000001E-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2.9411764704999999E-2</c:v>
                </c:pt>
                <c:pt idx="310">
                  <c:v>2.7777777776999999E-2</c:v>
                </c:pt>
                <c:pt idx="311">
                  <c:v>2.5641025641000001E-2</c:v>
                </c:pt>
                <c:pt idx="312">
                  <c:v>2.6315789472999999E-2</c:v>
                </c:pt>
                <c:pt idx="313">
                  <c:v>2.8571428571E-2</c:v>
                </c:pt>
                <c:pt idx="314">
                  <c:v>3.5714285714000003E-2</c:v>
                </c:pt>
                <c:pt idx="315">
                  <c:v>2.9411764704999999E-2</c:v>
                </c:pt>
                <c:pt idx="316">
                  <c:v>1.4705882352E-2</c:v>
                </c:pt>
                <c:pt idx="317">
                  <c:v>1.5151515151E-2</c:v>
                </c:pt>
                <c:pt idx="318">
                  <c:v>1.4492753622999999E-2</c:v>
                </c:pt>
                <c:pt idx="319">
                  <c:v>1.3698630135999999E-2</c:v>
                </c:pt>
                <c:pt idx="320">
                  <c:v>2.7027027027000002E-2</c:v>
                </c:pt>
                <c:pt idx="321">
                  <c:v>3.3333333333000002E-2</c:v>
                </c:pt>
                <c:pt idx="322">
                  <c:v>3.5714285714000003E-2</c:v>
                </c:pt>
                <c:pt idx="323">
                  <c:v>3.7037037037000002E-2</c:v>
                </c:pt>
                <c:pt idx="324">
                  <c:v>3.7037037037000002E-2</c:v>
                </c:pt>
                <c:pt idx="325">
                  <c:v>5.5555555554999997E-2</c:v>
                </c:pt>
                <c:pt idx="326">
                  <c:v>5.8823529410999997E-2</c:v>
                </c:pt>
                <c:pt idx="327">
                  <c:v>4.1666666666000003E-2</c:v>
                </c:pt>
                <c:pt idx="328">
                  <c:v>3.5714285714000003E-2</c:v>
                </c:pt>
                <c:pt idx="329">
                  <c:v>3.5714285714000003E-2</c:v>
                </c:pt>
                <c:pt idx="330">
                  <c:v>3.7735849055999998E-2</c:v>
                </c:pt>
                <c:pt idx="331">
                  <c:v>0.05</c:v>
                </c:pt>
                <c:pt idx="332">
                  <c:v>5.4545454544999997E-2</c:v>
                </c:pt>
                <c:pt idx="333">
                  <c:v>7.5471698113000002E-2</c:v>
                </c:pt>
                <c:pt idx="334">
                  <c:v>7.2727272726999997E-2</c:v>
                </c:pt>
                <c:pt idx="335">
                  <c:v>5.8823529410999997E-2</c:v>
                </c:pt>
                <c:pt idx="336">
                  <c:v>5.7692307691999997E-2</c:v>
                </c:pt>
                <c:pt idx="337">
                  <c:v>7.5471698113000002E-2</c:v>
                </c:pt>
                <c:pt idx="338">
                  <c:v>6.5217391304000005E-2</c:v>
                </c:pt>
                <c:pt idx="339">
                  <c:v>5.6603773583999997E-2</c:v>
                </c:pt>
                <c:pt idx="340">
                  <c:v>3.7735849055999998E-2</c:v>
                </c:pt>
                <c:pt idx="341">
                  <c:v>3.7735849055999998E-2</c:v>
                </c:pt>
                <c:pt idx="342">
                  <c:v>3.7735849055999998E-2</c:v>
                </c:pt>
                <c:pt idx="343">
                  <c:v>3.8461538460999999E-2</c:v>
                </c:pt>
                <c:pt idx="344">
                  <c:v>3.5087719298000003E-2</c:v>
                </c:pt>
                <c:pt idx="345">
                  <c:v>3.4482758619999998E-2</c:v>
                </c:pt>
                <c:pt idx="346">
                  <c:v>1.7857142857000002E-2</c:v>
                </c:pt>
                <c:pt idx="347">
                  <c:v>1.7543859649000001E-2</c:v>
                </c:pt>
                <c:pt idx="348">
                  <c:v>3.3898305083999998E-2</c:v>
                </c:pt>
                <c:pt idx="349">
                  <c:v>3.3898305083999998E-2</c:v>
                </c:pt>
                <c:pt idx="350">
                  <c:v>2.9411764704999999E-2</c:v>
                </c:pt>
                <c:pt idx="351">
                  <c:v>1.4705882352E-2</c:v>
                </c:pt>
                <c:pt idx="352">
                  <c:v>1.5625E-2</c:v>
                </c:pt>
                <c:pt idx="353">
                  <c:v>6.3492063491999998E-2</c:v>
                </c:pt>
                <c:pt idx="354">
                  <c:v>7.4626865671000006E-2</c:v>
                </c:pt>
                <c:pt idx="355">
                  <c:v>5.9701492537000002E-2</c:v>
                </c:pt>
                <c:pt idx="356">
                  <c:v>7.5757575756999998E-2</c:v>
                </c:pt>
                <c:pt idx="357">
                  <c:v>8.8235294116999999E-2</c:v>
                </c:pt>
                <c:pt idx="358">
                  <c:v>9.4594594594000006E-2</c:v>
                </c:pt>
                <c:pt idx="359">
                  <c:v>8.6419753086000001E-2</c:v>
                </c:pt>
                <c:pt idx="360">
                  <c:v>4.8780487804000003E-2</c:v>
                </c:pt>
                <c:pt idx="361">
                  <c:v>3.7037037037000002E-2</c:v>
                </c:pt>
                <c:pt idx="362">
                  <c:v>3.7974683544E-2</c:v>
                </c:pt>
                <c:pt idx="363">
                  <c:v>2.5000000000000001E-2</c:v>
                </c:pt>
                <c:pt idx="364">
                  <c:v>1.3157894736E-2</c:v>
                </c:pt>
                <c:pt idx="365">
                  <c:v>1.2048192770999999E-2</c:v>
                </c:pt>
                <c:pt idx="366">
                  <c:v>1.1111111111000001E-2</c:v>
                </c:pt>
                <c:pt idx="367">
                  <c:v>3.6036036036000002E-2</c:v>
                </c:pt>
                <c:pt idx="368">
                  <c:v>3.3898305083999998E-2</c:v>
                </c:pt>
                <c:pt idx="369">
                  <c:v>0.04</c:v>
                </c:pt>
                <c:pt idx="370">
                  <c:v>3.5714285714000003E-2</c:v>
                </c:pt>
                <c:pt idx="371">
                  <c:v>3.7267080745E-2</c:v>
                </c:pt>
                <c:pt idx="372">
                  <c:v>3.125E-2</c:v>
                </c:pt>
                <c:pt idx="373">
                  <c:v>3.0120481926999999E-2</c:v>
                </c:pt>
                <c:pt idx="374">
                  <c:v>1.7647058823000002E-2</c:v>
                </c:pt>
                <c:pt idx="375">
                  <c:v>1.7857142857000002E-2</c:v>
                </c:pt>
                <c:pt idx="376">
                  <c:v>1.2121212120999999E-2</c:v>
                </c:pt>
                <c:pt idx="377">
                  <c:v>3.3333333333000002E-2</c:v>
                </c:pt>
                <c:pt idx="378">
                  <c:v>3.0927835051E-2</c:v>
                </c:pt>
                <c:pt idx="379">
                  <c:v>3.0150753767999999E-2</c:v>
                </c:pt>
                <c:pt idx="380">
                  <c:v>2.8571428571E-2</c:v>
                </c:pt>
                <c:pt idx="381">
                  <c:v>2.6785714285000001E-2</c:v>
                </c:pt>
                <c:pt idx="382">
                  <c:v>2.6431718061E-2</c:v>
                </c:pt>
                <c:pt idx="383">
                  <c:v>2.9411764704999999E-2</c:v>
                </c:pt>
                <c:pt idx="384">
                  <c:v>1.2820512819999999E-2</c:v>
                </c:pt>
                <c:pt idx="385">
                  <c:v>8.7719298239999997E-3</c:v>
                </c:pt>
                <c:pt idx="386">
                  <c:v>8.3682008359999994E-3</c:v>
                </c:pt>
                <c:pt idx="387">
                  <c:v>1.304347826E-2</c:v>
                </c:pt>
                <c:pt idx="388">
                  <c:v>9.0090090090000005E-3</c:v>
                </c:pt>
                <c:pt idx="389">
                  <c:v>1.2658227847999999E-2</c:v>
                </c:pt>
                <c:pt idx="390">
                  <c:v>1.2605042016E-2</c:v>
                </c:pt>
                <c:pt idx="391">
                  <c:v>1.9455252918000002E-2</c:v>
                </c:pt>
                <c:pt idx="392">
                  <c:v>2.5000000000000001E-2</c:v>
                </c:pt>
                <c:pt idx="393">
                  <c:v>3.1872509960000003E-2</c:v>
                </c:pt>
                <c:pt idx="394">
                  <c:v>2.6755852842000001E-2</c:v>
                </c:pt>
                <c:pt idx="395">
                  <c:v>3.2163742689999997E-2</c:v>
                </c:pt>
                <c:pt idx="396">
                  <c:v>2.7624309392000002E-2</c:v>
                </c:pt>
                <c:pt idx="397">
                  <c:v>2.9490616620999999E-2</c:v>
                </c:pt>
                <c:pt idx="398">
                  <c:v>3.1088082901E-2</c:v>
                </c:pt>
                <c:pt idx="399">
                  <c:v>3.6170212765000001E-2</c:v>
                </c:pt>
                <c:pt idx="400">
                  <c:v>3.9399624765000002E-2</c:v>
                </c:pt>
                <c:pt idx="401">
                  <c:v>4.2933810374999999E-2</c:v>
                </c:pt>
                <c:pt idx="402">
                  <c:v>3.8128249566E-2</c:v>
                </c:pt>
                <c:pt idx="403">
                  <c:v>3.9076376554000002E-2</c:v>
                </c:pt>
                <c:pt idx="404">
                  <c:v>3.7634408602E-2</c:v>
                </c:pt>
                <c:pt idx="405">
                  <c:v>4.3551088777000001E-2</c:v>
                </c:pt>
                <c:pt idx="406">
                  <c:v>3.6605657237000003E-2</c:v>
                </c:pt>
                <c:pt idx="407">
                  <c:v>3.2362459545999998E-2</c:v>
                </c:pt>
                <c:pt idx="408">
                  <c:v>3.4591194967999998E-2</c:v>
                </c:pt>
                <c:pt idx="409">
                  <c:v>3.3379694018999997E-2</c:v>
                </c:pt>
                <c:pt idx="410">
                  <c:v>3.2133676091999998E-2</c:v>
                </c:pt>
                <c:pt idx="411">
                  <c:v>2.9629629628999999E-2</c:v>
                </c:pt>
                <c:pt idx="412">
                  <c:v>2.1436227224000001E-2</c:v>
                </c:pt>
                <c:pt idx="413">
                  <c:v>1.7040358743999999E-2</c:v>
                </c:pt>
                <c:pt idx="414">
                  <c:v>1.5810276679E-2</c:v>
                </c:pt>
                <c:pt idx="415">
                  <c:v>1.0416666666E-2</c:v>
                </c:pt>
                <c:pt idx="416">
                  <c:v>8.5522296880000005E-3</c:v>
                </c:pt>
                <c:pt idx="417">
                  <c:v>9.1220068410000008E-3</c:v>
                </c:pt>
                <c:pt idx="418">
                  <c:v>1.1345218799999999E-2</c:v>
                </c:pt>
                <c:pt idx="419">
                  <c:v>1.5625E-2</c:v>
                </c:pt>
                <c:pt idx="420">
                  <c:v>1.4187446259E-2</c:v>
                </c:pt>
                <c:pt idx="421">
                  <c:v>1.257367387E-2</c:v>
                </c:pt>
                <c:pt idx="422">
                  <c:v>1.3302034428000001E-2</c:v>
                </c:pt>
                <c:pt idx="423">
                  <c:v>1.4295925661000001E-2</c:v>
                </c:pt>
                <c:pt idx="424">
                  <c:v>1.336005344E-2</c:v>
                </c:pt>
                <c:pt idx="425">
                  <c:v>1.2472017908E-2</c:v>
                </c:pt>
                <c:pt idx="426">
                  <c:v>1.0933557611000001E-2</c:v>
                </c:pt>
                <c:pt idx="427">
                  <c:v>1.3319672131E-2</c:v>
                </c:pt>
                <c:pt idx="428">
                  <c:v>1.3145965548E-2</c:v>
                </c:pt>
                <c:pt idx="429">
                  <c:v>1.2563800549E-2</c:v>
                </c:pt>
                <c:pt idx="430">
                  <c:v>1.3071895424E-2</c:v>
                </c:pt>
                <c:pt idx="431">
                  <c:v>1.4487632508E-2</c:v>
                </c:pt>
                <c:pt idx="432">
                  <c:v>1.5273876404000001E-2</c:v>
                </c:pt>
                <c:pt idx="433">
                  <c:v>1.457380105E-2</c:v>
                </c:pt>
                <c:pt idx="434">
                  <c:v>1.4042284632E-2</c:v>
                </c:pt>
                <c:pt idx="435">
                  <c:v>1.4855237229E-2</c:v>
                </c:pt>
                <c:pt idx="436">
                  <c:v>1.5210259469000001E-2</c:v>
                </c:pt>
                <c:pt idx="437">
                  <c:v>1.3483146067000001E-2</c:v>
                </c:pt>
                <c:pt idx="438">
                  <c:v>1.2689316414E-2</c:v>
                </c:pt>
                <c:pt idx="439">
                  <c:v>1.2012813666999999E-2</c:v>
                </c:pt>
                <c:pt idx="440">
                  <c:v>1.1959876543E-2</c:v>
                </c:pt>
                <c:pt idx="441">
                  <c:v>1.0911736178E-2</c:v>
                </c:pt>
                <c:pt idx="442">
                  <c:v>1.0441267868000001E-2</c:v>
                </c:pt>
                <c:pt idx="443">
                  <c:v>1.1825751176E-2</c:v>
                </c:pt>
                <c:pt idx="444">
                  <c:v>1.1501880115E-2</c:v>
                </c:pt>
                <c:pt idx="445">
                  <c:v>1.1126417293000001E-2</c:v>
                </c:pt>
                <c:pt idx="446">
                  <c:v>1.282719783E-2</c:v>
                </c:pt>
                <c:pt idx="447">
                  <c:v>1.4241803278000001E-2</c:v>
                </c:pt>
                <c:pt idx="448">
                  <c:v>1.4866901054000001E-2</c:v>
                </c:pt>
                <c:pt idx="449">
                  <c:v>1.3604794975999999E-2</c:v>
                </c:pt>
                <c:pt idx="450">
                  <c:v>1.2371134020000001E-2</c:v>
                </c:pt>
                <c:pt idx="451">
                  <c:v>1.3001844856E-2</c:v>
                </c:pt>
                <c:pt idx="452">
                  <c:v>1.3182177695E-2</c:v>
                </c:pt>
                <c:pt idx="453">
                  <c:v>1.1824615915E-2</c:v>
                </c:pt>
                <c:pt idx="454">
                  <c:v>1.0543321146E-2</c:v>
                </c:pt>
                <c:pt idx="455">
                  <c:v>1.0163652024E-2</c:v>
                </c:pt>
                <c:pt idx="456">
                  <c:v>1.0915197313000001E-2</c:v>
                </c:pt>
                <c:pt idx="457">
                  <c:v>1.0777385158999999E-2</c:v>
                </c:pt>
                <c:pt idx="458">
                  <c:v>9.7217267209999993E-3</c:v>
                </c:pt>
                <c:pt idx="459">
                  <c:v>1.0190278654000001E-2</c:v>
                </c:pt>
                <c:pt idx="460">
                  <c:v>1.0031580902000001E-2</c:v>
                </c:pt>
                <c:pt idx="461">
                  <c:v>1.0739519547E-2</c:v>
                </c:pt>
                <c:pt idx="462">
                  <c:v>1.0326034992999999E-2</c:v>
                </c:pt>
                <c:pt idx="463">
                  <c:v>9.7619284780000003E-3</c:v>
                </c:pt>
                <c:pt idx="464">
                  <c:v>9.6927201479999996E-3</c:v>
                </c:pt>
                <c:pt idx="465">
                  <c:v>1.0535462148E-2</c:v>
                </c:pt>
                <c:pt idx="466">
                  <c:v>1.0178970916999999E-2</c:v>
                </c:pt>
                <c:pt idx="467">
                  <c:v>1.0769753995999999E-2</c:v>
                </c:pt>
                <c:pt idx="468">
                  <c:v>9.9384760999999995E-3</c:v>
                </c:pt>
                <c:pt idx="469">
                  <c:v>1.1351153423000001E-2</c:v>
                </c:pt>
                <c:pt idx="470">
                  <c:v>1.2296656846000001E-2</c:v>
                </c:pt>
                <c:pt idx="471">
                  <c:v>1.3165112452E-2</c:v>
                </c:pt>
                <c:pt idx="472">
                  <c:v>1.3588544710000001E-2</c:v>
                </c:pt>
                <c:pt idx="473">
                  <c:v>1.3221884498E-2</c:v>
                </c:pt>
                <c:pt idx="474">
                  <c:v>1.2820512819999999E-2</c:v>
                </c:pt>
                <c:pt idx="475">
                  <c:v>1.4204081632E-2</c:v>
                </c:pt>
                <c:pt idx="476">
                  <c:v>1.4208033678E-2</c:v>
                </c:pt>
                <c:pt idx="477">
                  <c:v>1.4259259259E-2</c:v>
                </c:pt>
                <c:pt idx="478">
                  <c:v>1.491646778E-2</c:v>
                </c:pt>
                <c:pt idx="479">
                  <c:v>1.7064048620000001E-2</c:v>
                </c:pt>
                <c:pt idx="480">
                  <c:v>1.8404907974999999E-2</c:v>
                </c:pt>
                <c:pt idx="481">
                  <c:v>1.9195372073999999E-2</c:v>
                </c:pt>
                <c:pt idx="482">
                  <c:v>1.9130910083999999E-2</c:v>
                </c:pt>
                <c:pt idx="483">
                  <c:v>2.2567409144E-2</c:v>
                </c:pt>
                <c:pt idx="484">
                  <c:v>2.4915410642000001E-2</c:v>
                </c:pt>
                <c:pt idx="485">
                  <c:v>2.4223602484E-2</c:v>
                </c:pt>
                <c:pt idx="486">
                  <c:v>2.2054718034000002E-2</c:v>
                </c:pt>
                <c:pt idx="487">
                  <c:v>2.3776223775999999E-2</c:v>
                </c:pt>
                <c:pt idx="488">
                  <c:v>2.4315259921000001E-2</c:v>
                </c:pt>
                <c:pt idx="489">
                  <c:v>2.0833333333000002E-2</c:v>
                </c:pt>
                <c:pt idx="490">
                  <c:v>1.6393442622000001E-2</c:v>
                </c:pt>
                <c:pt idx="491">
                  <c:v>1.4705882352E-2</c:v>
                </c:pt>
                <c:pt idx="492">
                  <c:v>1.3358778625E-2</c:v>
                </c:pt>
                <c:pt idx="493">
                  <c:v>1.4717906786000001E-2</c:v>
                </c:pt>
                <c:pt idx="494">
                  <c:v>1.2847404299E-2</c:v>
                </c:pt>
                <c:pt idx="495">
                  <c:v>1.2361914781000001E-2</c:v>
                </c:pt>
                <c:pt idx="496">
                  <c:v>1.5606595995E-2</c:v>
                </c:pt>
                <c:pt idx="497">
                  <c:v>1.6844833170999999E-2</c:v>
                </c:pt>
                <c:pt idx="498">
                  <c:v>1.7719826144999999E-2</c:v>
                </c:pt>
                <c:pt idx="499">
                  <c:v>1.7912504305E-2</c:v>
                </c:pt>
                <c:pt idx="500">
                  <c:v>1.6780821917000002E-2</c:v>
                </c:pt>
                <c:pt idx="501">
                  <c:v>1.4970059880000001E-2</c:v>
                </c:pt>
                <c:pt idx="502">
                  <c:v>1.3071895424E-2</c:v>
                </c:pt>
                <c:pt idx="503">
                  <c:v>1.0632014176E-2</c:v>
                </c:pt>
                <c:pt idx="504">
                  <c:v>8.6364825960000002E-3</c:v>
                </c:pt>
                <c:pt idx="505">
                  <c:v>7.5984342620000001E-3</c:v>
                </c:pt>
                <c:pt idx="506">
                  <c:v>6.726013847E-3</c:v>
                </c:pt>
                <c:pt idx="507">
                  <c:v>5.9068797770000002E-3</c:v>
                </c:pt>
                <c:pt idx="508">
                  <c:v>6.7752863359999997E-3</c:v>
                </c:pt>
                <c:pt idx="509">
                  <c:v>7.9889383919999994E-3</c:v>
                </c:pt>
                <c:pt idx="510">
                  <c:v>8.2471344700000004E-3</c:v>
                </c:pt>
                <c:pt idx="511">
                  <c:v>7.622919578E-3</c:v>
                </c:pt>
                <c:pt idx="512">
                  <c:v>6.5075921899999997E-3</c:v>
                </c:pt>
                <c:pt idx="513">
                  <c:v>6.4895558709999997E-3</c:v>
                </c:pt>
                <c:pt idx="514">
                  <c:v>5.948681523E-3</c:v>
                </c:pt>
                <c:pt idx="515">
                  <c:v>5.7586598019999996E-3</c:v>
                </c:pt>
                <c:pt idx="516">
                  <c:v>5.2553785509999998E-3</c:v>
                </c:pt>
                <c:pt idx="517">
                  <c:v>5.2054578429999998E-3</c:v>
                </c:pt>
                <c:pt idx="518">
                  <c:v>5.5905963300000002E-3</c:v>
                </c:pt>
                <c:pt idx="519">
                  <c:v>5.8770027279999998E-3</c:v>
                </c:pt>
                <c:pt idx="520">
                  <c:v>6.0874743589999997E-3</c:v>
                </c:pt>
                <c:pt idx="521">
                  <c:v>6.1669829220000003E-3</c:v>
                </c:pt>
                <c:pt idx="522">
                  <c:v>6.4964301789999998E-3</c:v>
                </c:pt>
                <c:pt idx="523">
                  <c:v>6.4353479730000001E-3</c:v>
                </c:pt>
                <c:pt idx="524">
                  <c:v>6.1050061049999996E-3</c:v>
                </c:pt>
                <c:pt idx="525">
                  <c:v>5.7670882750000003E-3</c:v>
                </c:pt>
                <c:pt idx="526">
                  <c:v>6.1593483010000004E-3</c:v>
                </c:pt>
                <c:pt idx="527">
                  <c:v>6.3668382549999999E-3</c:v>
                </c:pt>
                <c:pt idx="528">
                  <c:v>6.8349461999999998E-3</c:v>
                </c:pt>
                <c:pt idx="529">
                  <c:v>6.5299169559999998E-3</c:v>
                </c:pt>
                <c:pt idx="530">
                  <c:v>6.6291253830000002E-3</c:v>
                </c:pt>
                <c:pt idx="531">
                  <c:v>7.3513356130000002E-3</c:v>
                </c:pt>
                <c:pt idx="532">
                  <c:v>7.6622706840000004E-3</c:v>
                </c:pt>
                <c:pt idx="533">
                  <c:v>7.7728182230000003E-3</c:v>
                </c:pt>
                <c:pt idx="534">
                  <c:v>7.5450718760000004E-3</c:v>
                </c:pt>
                <c:pt idx="535">
                  <c:v>7.7824267779999998E-3</c:v>
                </c:pt>
                <c:pt idx="536">
                  <c:v>8.0699966019999996E-3</c:v>
                </c:pt>
                <c:pt idx="537">
                  <c:v>8.5617919219999998E-3</c:v>
                </c:pt>
                <c:pt idx="538">
                  <c:v>7.9950253170000003E-3</c:v>
                </c:pt>
                <c:pt idx="539">
                  <c:v>9.1786977719999999E-3</c:v>
                </c:pt>
                <c:pt idx="540">
                  <c:v>9.4815412539999994E-3</c:v>
                </c:pt>
                <c:pt idx="541">
                  <c:v>1.0325739832999999E-2</c:v>
                </c:pt>
                <c:pt idx="542">
                  <c:v>9.487038058000000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B47-4816-8473-17E3F5392F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v_den_pozitivity65_7dni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.58966565402</c:v>
                </c:pt>
                <c:pt idx="4">
                  <c:v>5.7304347828399997</c:v>
                </c:pt>
                <c:pt idx="5">
                  <c:v>2.98637602197</c:v>
                </c:pt>
                <c:pt idx="6">
                  <c:v>1.0406091370399999</c:v>
                </c:pt>
                <c:pt idx="7">
                  <c:v>0.38769230768000001</c:v>
                </c:pt>
                <c:pt idx="8">
                  <c:v>0.32602739728000002</c:v>
                </c:pt>
                <c:pt idx="9">
                  <c:v>9.5692717590000004E-2</c:v>
                </c:pt>
                <c:pt idx="10">
                  <c:v>-7.5512405500000003E-3</c:v>
                </c:pt>
                <c:pt idx="11">
                  <c:v>-0.32644071945000003</c:v>
                </c:pt>
                <c:pt idx="12">
                  <c:v>-0.33078556260999997</c:v>
                </c:pt>
                <c:pt idx="13">
                  <c:v>-0.23683327742999999</c:v>
                </c:pt>
                <c:pt idx="14">
                  <c:v>0.29791512329999997</c:v>
                </c:pt>
                <c:pt idx="15">
                  <c:v>-7.3748211760000001E-2</c:v>
                </c:pt>
                <c:pt idx="16">
                  <c:v>-0.11572802198</c:v>
                </c:pt>
                <c:pt idx="17">
                  <c:v>4.0980735570000003E-2</c:v>
                </c:pt>
                <c:pt idx="18">
                  <c:v>0.10700586641</c:v>
                </c:pt>
                <c:pt idx="19">
                  <c:v>0.34419840568999999</c:v>
                </c:pt>
                <c:pt idx="20">
                  <c:v>-8.849745329E-2</c:v>
                </c:pt>
                <c:pt idx="21">
                  <c:v>-0.10307612990999999</c:v>
                </c:pt>
                <c:pt idx="22">
                  <c:v>0.23559633027999999</c:v>
                </c:pt>
                <c:pt idx="23">
                  <c:v>0.49676908068999998</c:v>
                </c:pt>
                <c:pt idx="24">
                  <c:v>0.40978131213000002</c:v>
                </c:pt>
                <c:pt idx="25">
                  <c:v>0.30069124425999999</c:v>
                </c:pt>
                <c:pt idx="26">
                  <c:v>0.19442332063000001</c:v>
                </c:pt>
                <c:pt idx="27">
                  <c:v>0.42669172934999999</c:v>
                </c:pt>
                <c:pt idx="28">
                  <c:v>0.14734943149999999</c:v>
                </c:pt>
                <c:pt idx="29">
                  <c:v>-0.10900511001</c:v>
                </c:pt>
                <c:pt idx="30">
                  <c:v>-0.24071813979000001</c:v>
                </c:pt>
                <c:pt idx="31">
                  <c:v>-0.25669957687</c:v>
                </c:pt>
                <c:pt idx="32">
                  <c:v>-0.27700517465000002</c:v>
                </c:pt>
                <c:pt idx="33">
                  <c:v>-0.27766463000000002</c:v>
                </c:pt>
                <c:pt idx="34">
                  <c:v>-0.1084938949</c:v>
                </c:pt>
                <c:pt idx="35">
                  <c:v>-8.2627921600000008E-3</c:v>
                </c:pt>
                <c:pt idx="36">
                  <c:v>0.25109779472999999</c:v>
                </c:pt>
                <c:pt idx="37">
                  <c:v>0.23317872701</c:v>
                </c:pt>
                <c:pt idx="38">
                  <c:v>0.25062355908</c:v>
                </c:pt>
                <c:pt idx="39">
                  <c:v>0.30405574300999999</c:v>
                </c:pt>
                <c:pt idx="40">
                  <c:v>2.5633967949999999E-2</c:v>
                </c:pt>
                <c:pt idx="41">
                  <c:v>-3.7689969599999998E-2</c:v>
                </c:pt>
                <c:pt idx="42">
                  <c:v>-0.19370154374000001</c:v>
                </c:pt>
                <c:pt idx="43">
                  <c:v>-0.26515236416999999</c:v>
                </c:pt>
                <c:pt idx="44">
                  <c:v>-0.23929571368999999</c:v>
                </c:pt>
                <c:pt idx="45">
                  <c:v>-0.28234183595000001</c:v>
                </c:pt>
                <c:pt idx="46">
                  <c:v>-0.38879475843</c:v>
                </c:pt>
                <c:pt idx="47">
                  <c:v>-0.30890418952999998</c:v>
                </c:pt>
                <c:pt idx="48">
                  <c:v>-0.25041379669000002</c:v>
                </c:pt>
                <c:pt idx="49">
                  <c:v>-0.16898046250000001</c:v>
                </c:pt>
                <c:pt idx="50">
                  <c:v>-0.17057491650000001</c:v>
                </c:pt>
                <c:pt idx="51">
                  <c:v>-0.18979180023</c:v>
                </c:pt>
                <c:pt idx="52">
                  <c:v>-0.10000105524</c:v>
                </c:pt>
                <c:pt idx="53">
                  <c:v>-7.1589680099999997E-2</c:v>
                </c:pt>
                <c:pt idx="54">
                  <c:v>-4.8971832040000003E-2</c:v>
                </c:pt>
                <c:pt idx="55">
                  <c:v>3.1538048270000001E-2</c:v>
                </c:pt>
                <c:pt idx="56">
                  <c:v>0.10316174254</c:v>
                </c:pt>
                <c:pt idx="57">
                  <c:v>8.3052597089999999E-2</c:v>
                </c:pt>
                <c:pt idx="58">
                  <c:v>0.17433801786</c:v>
                </c:pt>
                <c:pt idx="59">
                  <c:v>0.11748108772</c:v>
                </c:pt>
                <c:pt idx="60">
                  <c:v>0.11374949215999999</c:v>
                </c:pt>
                <c:pt idx="61">
                  <c:v>-4.1487879000000002E-4</c:v>
                </c:pt>
                <c:pt idx="62">
                  <c:v>-2.340644779E-2</c:v>
                </c:pt>
                <c:pt idx="63">
                  <c:v>-2.1377329699999999E-2</c:v>
                </c:pt>
                <c:pt idx="64">
                  <c:v>-0.10036109515</c:v>
                </c:pt>
                <c:pt idx="65">
                  <c:v>-0.11035192345</c:v>
                </c:pt>
                <c:pt idx="66">
                  <c:v>-0.10931960016</c:v>
                </c:pt>
                <c:pt idx="67">
                  <c:v>-8.6030079420000002E-2</c:v>
                </c:pt>
                <c:pt idx="68">
                  <c:v>-8.5774348769999995E-2</c:v>
                </c:pt>
                <c:pt idx="69">
                  <c:v>-0.12697462977999999</c:v>
                </c:pt>
                <c:pt idx="70">
                  <c:v>-8.4596590109999995E-2</c:v>
                </c:pt>
                <c:pt idx="71">
                  <c:v>3.69577554E-2</c:v>
                </c:pt>
                <c:pt idx="72">
                  <c:v>-2.7961070050000002E-2</c:v>
                </c:pt>
                <c:pt idx="73">
                  <c:v>-4.9223513529999999E-2</c:v>
                </c:pt>
                <c:pt idx="74">
                  <c:v>-4.2739744849999997E-2</c:v>
                </c:pt>
                <c:pt idx="75">
                  <c:v>1.8671472790000001E-2</c:v>
                </c:pt>
                <c:pt idx="76">
                  <c:v>-1.785313396E-2</c:v>
                </c:pt>
                <c:pt idx="77">
                  <c:v>-0.12740669715</c:v>
                </c:pt>
                <c:pt idx="78">
                  <c:v>-8.9033907800000006E-2</c:v>
                </c:pt>
                <c:pt idx="79">
                  <c:v>2.5935068629999999E-2</c:v>
                </c:pt>
                <c:pt idx="80">
                  <c:v>4.1082966210000002E-2</c:v>
                </c:pt>
                <c:pt idx="81">
                  <c:v>0.10232168075</c:v>
                </c:pt>
                <c:pt idx="82">
                  <c:v>0.17403945939000001</c:v>
                </c:pt>
                <c:pt idx="83">
                  <c:v>8.4220594580000002E-2</c:v>
                </c:pt>
                <c:pt idx="84">
                  <c:v>7.5498692589999999E-2</c:v>
                </c:pt>
                <c:pt idx="85">
                  <c:v>2.9606633140000001E-2</c:v>
                </c:pt>
                <c:pt idx="86">
                  <c:v>-1.013014892E-2</c:v>
                </c:pt>
                <c:pt idx="87">
                  <c:v>-3.2685403709999998E-2</c:v>
                </c:pt>
                <c:pt idx="88">
                  <c:v>-9.3203571599999993E-2</c:v>
                </c:pt>
                <c:pt idx="89">
                  <c:v>-3.7613782000000002E-3</c:v>
                </c:pt>
                <c:pt idx="90">
                  <c:v>0.16286029141</c:v>
                </c:pt>
                <c:pt idx="91">
                  <c:v>0.12568854568000001</c:v>
                </c:pt>
                <c:pt idx="92">
                  <c:v>0.14915117825999999</c:v>
                </c:pt>
                <c:pt idx="93">
                  <c:v>0.25201224832000002</c:v>
                </c:pt>
                <c:pt idx="94">
                  <c:v>0.38849197687999998</c:v>
                </c:pt>
                <c:pt idx="95">
                  <c:v>0.34540848765999999</c:v>
                </c:pt>
                <c:pt idx="96">
                  <c:v>0.21224804492999999</c:v>
                </c:pt>
                <c:pt idx="97">
                  <c:v>9.6628650179999998E-2</c:v>
                </c:pt>
                <c:pt idx="98">
                  <c:v>0.1492496257</c:v>
                </c:pt>
                <c:pt idx="99">
                  <c:v>-4.5374757779999997E-2</c:v>
                </c:pt>
                <c:pt idx="100">
                  <c:v>-0.15835011326000001</c:v>
                </c:pt>
                <c:pt idx="101">
                  <c:v>-0.25056176838999999</c:v>
                </c:pt>
                <c:pt idx="102">
                  <c:v>-0.23193258169</c:v>
                </c:pt>
                <c:pt idx="103">
                  <c:v>-0.2077553067</c:v>
                </c:pt>
                <c:pt idx="104">
                  <c:v>-0.17990427868</c:v>
                </c:pt>
                <c:pt idx="105">
                  <c:v>-0.19374958741000001</c:v>
                </c:pt>
                <c:pt idx="106">
                  <c:v>-0.18176114834000001</c:v>
                </c:pt>
                <c:pt idx="107">
                  <c:v>-0.12088608557</c:v>
                </c:pt>
                <c:pt idx="108">
                  <c:v>-0.18492693687</c:v>
                </c:pt>
                <c:pt idx="109">
                  <c:v>-0.21143858664000001</c:v>
                </c:pt>
                <c:pt idx="110">
                  <c:v>-0.28126098674</c:v>
                </c:pt>
                <c:pt idx="111">
                  <c:v>-0.29294980256999997</c:v>
                </c:pt>
                <c:pt idx="112">
                  <c:v>-0.28903749837999998</c:v>
                </c:pt>
                <c:pt idx="113">
                  <c:v>-0.20044325015</c:v>
                </c:pt>
                <c:pt idx="114">
                  <c:v>-0.19897955000000001</c:v>
                </c:pt>
                <c:pt idx="115">
                  <c:v>1.6014011160000001E-2</c:v>
                </c:pt>
                <c:pt idx="116">
                  <c:v>7.2200442259999997E-2</c:v>
                </c:pt>
                <c:pt idx="117">
                  <c:v>0.35494418760000002</c:v>
                </c:pt>
                <c:pt idx="118">
                  <c:v>0.47815860570000002</c:v>
                </c:pt>
                <c:pt idx="119">
                  <c:v>0.46947307229000002</c:v>
                </c:pt>
                <c:pt idx="120">
                  <c:v>0.41758753136999999</c:v>
                </c:pt>
                <c:pt idx="121">
                  <c:v>0.1427712881</c:v>
                </c:pt>
                <c:pt idx="122">
                  <c:v>6.000247802E-2</c:v>
                </c:pt>
                <c:pt idx="123">
                  <c:v>-5.5257537109999998E-2</c:v>
                </c:pt>
                <c:pt idx="124">
                  <c:v>-0.15542175441</c:v>
                </c:pt>
                <c:pt idx="125">
                  <c:v>-0.23366741182</c:v>
                </c:pt>
                <c:pt idx="126">
                  <c:v>-0.23049465799999999</c:v>
                </c:pt>
                <c:pt idx="127">
                  <c:v>-0.19278828988999999</c:v>
                </c:pt>
                <c:pt idx="128">
                  <c:v>-0.21414940022000001</c:v>
                </c:pt>
                <c:pt idx="129">
                  <c:v>-0.26026144621000002</c:v>
                </c:pt>
                <c:pt idx="130">
                  <c:v>-0.20567300089000001</c:v>
                </c:pt>
                <c:pt idx="131">
                  <c:v>-0.17317884599</c:v>
                </c:pt>
                <c:pt idx="132">
                  <c:v>-0.11546475598</c:v>
                </c:pt>
                <c:pt idx="133">
                  <c:v>-0.11292338116</c:v>
                </c:pt>
                <c:pt idx="134">
                  <c:v>-4.8808949919999997E-2</c:v>
                </c:pt>
                <c:pt idx="135">
                  <c:v>0.15120180375</c:v>
                </c:pt>
                <c:pt idx="136">
                  <c:v>0.21086655932000001</c:v>
                </c:pt>
                <c:pt idx="137">
                  <c:v>0.1912385757</c:v>
                </c:pt>
                <c:pt idx="138">
                  <c:v>0.16292817812999999</c:v>
                </c:pt>
                <c:pt idx="139">
                  <c:v>0.24020314970000001</c:v>
                </c:pt>
                <c:pt idx="140">
                  <c:v>0.31034276606</c:v>
                </c:pt>
                <c:pt idx="141">
                  <c:v>0.22156504811</c:v>
                </c:pt>
                <c:pt idx="142">
                  <c:v>6.0855981560000001E-2</c:v>
                </c:pt>
                <c:pt idx="143">
                  <c:v>0.10981709667</c:v>
                </c:pt>
                <c:pt idx="144">
                  <c:v>0.15299933045</c:v>
                </c:pt>
                <c:pt idx="145">
                  <c:v>0.11664005067</c:v>
                </c:pt>
                <c:pt idx="146">
                  <c:v>1.8275687259999999E-2</c:v>
                </c:pt>
                <c:pt idx="147">
                  <c:v>-3.5311520669999999E-2</c:v>
                </c:pt>
                <c:pt idx="148">
                  <c:v>-4.3286864330000001E-2</c:v>
                </c:pt>
                <c:pt idx="149">
                  <c:v>-4.2692530919999999E-2</c:v>
                </c:pt>
                <c:pt idx="150">
                  <c:v>-2.1149265300000001E-2</c:v>
                </c:pt>
                <c:pt idx="151">
                  <c:v>-2.485955041E-2</c:v>
                </c:pt>
                <c:pt idx="152">
                  <c:v>-9.9656729799999996E-3</c:v>
                </c:pt>
                <c:pt idx="153">
                  <c:v>1.4226864590000001E-2</c:v>
                </c:pt>
                <c:pt idx="154">
                  <c:v>3.1272958279999999E-2</c:v>
                </c:pt>
                <c:pt idx="155">
                  <c:v>7.8515965950000002E-2</c:v>
                </c:pt>
                <c:pt idx="156">
                  <c:v>8.3347966359999998E-2</c:v>
                </c:pt>
                <c:pt idx="157">
                  <c:v>2.2096085830000001E-2</c:v>
                </c:pt>
                <c:pt idx="158">
                  <c:v>3.0268389850000001E-2</c:v>
                </c:pt>
                <c:pt idx="159">
                  <c:v>-2.450858421E-2</c:v>
                </c:pt>
                <c:pt idx="160">
                  <c:v>3.3748680779999998E-2</c:v>
                </c:pt>
                <c:pt idx="161">
                  <c:v>0.11794741089000001</c:v>
                </c:pt>
                <c:pt idx="162">
                  <c:v>0.10926743158</c:v>
                </c:pt>
                <c:pt idx="163">
                  <c:v>0.12524923868999999</c:v>
                </c:pt>
                <c:pt idx="164">
                  <c:v>9.1696089989999993E-2</c:v>
                </c:pt>
                <c:pt idx="165">
                  <c:v>3.0704534160000001E-2</c:v>
                </c:pt>
                <c:pt idx="166">
                  <c:v>0.13264823384999999</c:v>
                </c:pt>
                <c:pt idx="167">
                  <c:v>-8.2901439150000006E-2</c:v>
                </c:pt>
                <c:pt idx="168">
                  <c:v>-0.19924532822999999</c:v>
                </c:pt>
                <c:pt idx="169">
                  <c:v>-0.12125501829</c:v>
                </c:pt>
                <c:pt idx="170">
                  <c:v>-7.0543295450000001E-2</c:v>
                </c:pt>
                <c:pt idx="171">
                  <c:v>-5.7444250350000003E-2</c:v>
                </c:pt>
                <c:pt idx="172">
                  <c:v>-4.3610824469999997E-2</c:v>
                </c:pt>
                <c:pt idx="173">
                  <c:v>6.7242744529999995E-2</c:v>
                </c:pt>
                <c:pt idx="174">
                  <c:v>0.19611392627999999</c:v>
                </c:pt>
                <c:pt idx="175">
                  <c:v>5.7865434719999997E-2</c:v>
                </c:pt>
                <c:pt idx="176">
                  <c:v>-5.499362822E-2</c:v>
                </c:pt>
                <c:pt idx="177">
                  <c:v>-1.6988398719999999E-2</c:v>
                </c:pt>
                <c:pt idx="178">
                  <c:v>-0.12576113608</c:v>
                </c:pt>
                <c:pt idx="179">
                  <c:v>-0.21584333605</c:v>
                </c:pt>
                <c:pt idx="180">
                  <c:v>-0.26833517832999998</c:v>
                </c:pt>
                <c:pt idx="181">
                  <c:v>-0.21112139797999999</c:v>
                </c:pt>
                <c:pt idx="182">
                  <c:v>-0.10017716289</c:v>
                </c:pt>
                <c:pt idx="183">
                  <c:v>-0.12985381723</c:v>
                </c:pt>
                <c:pt idx="184">
                  <c:v>-0.13901398654</c:v>
                </c:pt>
                <c:pt idx="185">
                  <c:v>-1.603389798E-2</c:v>
                </c:pt>
                <c:pt idx="186">
                  <c:v>2.9742022060000001E-2</c:v>
                </c:pt>
                <c:pt idx="187">
                  <c:v>-3.6932788430000002E-2</c:v>
                </c:pt>
                <c:pt idx="188">
                  <c:v>-7.6109476599999998E-3</c:v>
                </c:pt>
                <c:pt idx="189">
                  <c:v>-2.721102245E-2</c:v>
                </c:pt>
                <c:pt idx="190">
                  <c:v>5.1363577030000003E-2</c:v>
                </c:pt>
                <c:pt idx="191">
                  <c:v>5.256176747E-2</c:v>
                </c:pt>
                <c:pt idx="192">
                  <c:v>0.10334764182</c:v>
                </c:pt>
                <c:pt idx="193">
                  <c:v>0.16531462327999999</c:v>
                </c:pt>
                <c:pt idx="194">
                  <c:v>0.12302266625</c:v>
                </c:pt>
                <c:pt idx="195">
                  <c:v>0.1159329843</c:v>
                </c:pt>
                <c:pt idx="196">
                  <c:v>6.5607898210000001E-2</c:v>
                </c:pt>
                <c:pt idx="197">
                  <c:v>-1.6392551500000001E-3</c:v>
                </c:pt>
                <c:pt idx="198">
                  <c:v>-0.12047047967000001</c:v>
                </c:pt>
                <c:pt idx="199">
                  <c:v>-0.15228175432999999</c:v>
                </c:pt>
                <c:pt idx="200">
                  <c:v>-0.17423037975</c:v>
                </c:pt>
                <c:pt idx="201">
                  <c:v>-0.15607490024000001</c:v>
                </c:pt>
                <c:pt idx="202">
                  <c:v>-0.10130585861999999</c:v>
                </c:pt>
                <c:pt idx="203">
                  <c:v>3.3720422809999998E-2</c:v>
                </c:pt>
                <c:pt idx="204">
                  <c:v>0.12819662466000001</c:v>
                </c:pt>
                <c:pt idx="205">
                  <c:v>0.27947714245999999</c:v>
                </c:pt>
                <c:pt idx="206">
                  <c:v>0.29022029745</c:v>
                </c:pt>
                <c:pt idx="207">
                  <c:v>0.38182623126999998</c:v>
                </c:pt>
                <c:pt idx="208">
                  <c:v>0.36489271600000001</c:v>
                </c:pt>
                <c:pt idx="209">
                  <c:v>0.18132673128999999</c:v>
                </c:pt>
                <c:pt idx="210">
                  <c:v>8.0201715960000003E-2</c:v>
                </c:pt>
                <c:pt idx="211">
                  <c:v>-1.841059963E-2</c:v>
                </c:pt>
                <c:pt idx="212">
                  <c:v>-2.6799960920000001E-2</c:v>
                </c:pt>
                <c:pt idx="213">
                  <c:v>-7.9915014700000005E-3</c:v>
                </c:pt>
                <c:pt idx="214">
                  <c:v>4.98187657E-3</c:v>
                </c:pt>
                <c:pt idx="215">
                  <c:v>-1.22474266E-2</c:v>
                </c:pt>
                <c:pt idx="216">
                  <c:v>-8.8647775600000003E-3</c:v>
                </c:pt>
                <c:pt idx="217">
                  <c:v>0.19560391185000001</c:v>
                </c:pt>
                <c:pt idx="218">
                  <c:v>0.31230391020999998</c:v>
                </c:pt>
                <c:pt idx="219">
                  <c:v>0.35865874363</c:v>
                </c:pt>
                <c:pt idx="220">
                  <c:v>0.26385083934999998</c:v>
                </c:pt>
                <c:pt idx="221">
                  <c:v>0.36731353752000001</c:v>
                </c:pt>
                <c:pt idx="222">
                  <c:v>0.54814351076000001</c:v>
                </c:pt>
                <c:pt idx="223">
                  <c:v>0.37689634076</c:v>
                </c:pt>
                <c:pt idx="224">
                  <c:v>0.16683190724999999</c:v>
                </c:pt>
                <c:pt idx="225">
                  <c:v>0.12464597451999999</c:v>
                </c:pt>
                <c:pt idx="226">
                  <c:v>0.13626517478</c:v>
                </c:pt>
                <c:pt idx="227">
                  <c:v>8.3333333309999993E-2</c:v>
                </c:pt>
                <c:pt idx="228">
                  <c:v>-2.459755231E-2</c:v>
                </c:pt>
                <c:pt idx="229">
                  <c:v>-0.14058074561</c:v>
                </c:pt>
                <c:pt idx="230">
                  <c:v>-9.8811435909999995E-2</c:v>
                </c:pt>
                <c:pt idx="231">
                  <c:v>-7.0098784169999998E-2</c:v>
                </c:pt>
                <c:pt idx="232">
                  <c:v>-7.2290965240000005E-2</c:v>
                </c:pt>
                <c:pt idx="233">
                  <c:v>-5.7591623039999998E-2</c:v>
                </c:pt>
                <c:pt idx="234">
                  <c:v>0.11899685025999999</c:v>
                </c:pt>
                <c:pt idx="235">
                  <c:v>0.21984958366999999</c:v>
                </c:pt>
                <c:pt idx="236">
                  <c:v>0.26507982585000001</c:v>
                </c:pt>
                <c:pt idx="237">
                  <c:v>0.13616090947000001</c:v>
                </c:pt>
                <c:pt idx="238">
                  <c:v>8.9489764720000003E-2</c:v>
                </c:pt>
                <c:pt idx="239">
                  <c:v>0.16666666667999999</c:v>
                </c:pt>
                <c:pt idx="240">
                  <c:v>4.9276120700000002E-2</c:v>
                </c:pt>
                <c:pt idx="241">
                  <c:v>-0.11200216255000001</c:v>
                </c:pt>
                <c:pt idx="242">
                  <c:v>-0.25583237327000002</c:v>
                </c:pt>
                <c:pt idx="243">
                  <c:v>-0.27204244031000002</c:v>
                </c:pt>
                <c:pt idx="244">
                  <c:v>-0.35203162118999998</c:v>
                </c:pt>
                <c:pt idx="245">
                  <c:v>-0.21608430393</c:v>
                </c:pt>
                <c:pt idx="246">
                  <c:v>-0.25461295021000002</c:v>
                </c:pt>
                <c:pt idx="247">
                  <c:v>-0.17492565559000001</c:v>
                </c:pt>
                <c:pt idx="248">
                  <c:v>0.13717358688</c:v>
                </c:pt>
                <c:pt idx="249">
                  <c:v>0.42939814813999999</c:v>
                </c:pt>
                <c:pt idx="250">
                  <c:v>0.7477468652</c:v>
                </c:pt>
                <c:pt idx="251">
                  <c:v>0.47331004470999999</c:v>
                </c:pt>
                <c:pt idx="252">
                  <c:v>0.43943191312000002</c:v>
                </c:pt>
                <c:pt idx="253">
                  <c:v>0.67108134773000006</c:v>
                </c:pt>
                <c:pt idx="254">
                  <c:v>0.41595391865999998</c:v>
                </c:pt>
                <c:pt idx="255">
                  <c:v>0.10181997048999999</c:v>
                </c:pt>
                <c:pt idx="256">
                  <c:v>2.2684098770000001E-2</c:v>
                </c:pt>
                <c:pt idx="257">
                  <c:v>-0.17041984733000001</c:v>
                </c:pt>
                <c:pt idx="258">
                  <c:v>-0.27278250303000001</c:v>
                </c:pt>
                <c:pt idx="259">
                  <c:v>-0.38892244959</c:v>
                </c:pt>
                <c:pt idx="260">
                  <c:v>-0.44347052847000001</c:v>
                </c:pt>
                <c:pt idx="261">
                  <c:v>-0.43869224246999999</c:v>
                </c:pt>
                <c:pt idx="262">
                  <c:v>-0.35511575803000001</c:v>
                </c:pt>
                <c:pt idx="263">
                  <c:v>-0.31259370314000001</c:v>
                </c:pt>
                <c:pt idx="264">
                  <c:v>-6.7374059939999995E-2</c:v>
                </c:pt>
                <c:pt idx="265">
                  <c:v>0.10283140283</c:v>
                </c:pt>
                <c:pt idx="266">
                  <c:v>0.11799360376</c:v>
                </c:pt>
                <c:pt idx="267">
                  <c:v>0.44511149229000002</c:v>
                </c:pt>
                <c:pt idx="268">
                  <c:v>0.32712956339999999</c:v>
                </c:pt>
                <c:pt idx="269">
                  <c:v>0.1123287671</c:v>
                </c:pt>
                <c:pt idx="270">
                  <c:v>3.2283057839999997E-2</c:v>
                </c:pt>
                <c:pt idx="271">
                  <c:v>-4.1754756859999999E-2</c:v>
                </c:pt>
                <c:pt idx="272">
                  <c:v>0.55283724095999998</c:v>
                </c:pt>
                <c:pt idx="273">
                  <c:v>0.46206896550999998</c:v>
                </c:pt>
                <c:pt idx="274">
                  <c:v>0.12247474747000001</c:v>
                </c:pt>
                <c:pt idx="275">
                  <c:v>0.80494505499000002</c:v>
                </c:pt>
                <c:pt idx="276">
                  <c:v>1.17687074833</c:v>
                </c:pt>
                <c:pt idx="277">
                  <c:v>1.0012928248199999</c:v>
                </c:pt>
                <c:pt idx="278">
                  <c:v>0.22816901409000001</c:v>
                </c:pt>
                <c:pt idx="279">
                  <c:v>-0.39267015708000003</c:v>
                </c:pt>
                <c:pt idx="280">
                  <c:v>-0.12292358805</c:v>
                </c:pt>
                <c:pt idx="281">
                  <c:v>-0.45833333331999998</c:v>
                </c:pt>
                <c:pt idx="282">
                  <c:v>-0.66762589929000005</c:v>
                </c:pt>
                <c:pt idx="283">
                  <c:v>-0.79012345677999996</c:v>
                </c:pt>
                <c:pt idx="284">
                  <c:v>-0.75573394497000002</c:v>
                </c:pt>
                <c:pt idx="285">
                  <c:v>-0.5774336283</c:v>
                </c:pt>
                <c:pt idx="286">
                  <c:v>-0.14851485146000001</c:v>
                </c:pt>
                <c:pt idx="287">
                  <c:v>0.12280701749</c:v>
                </c:pt>
                <c:pt idx="288">
                  <c:v>0.46315789473000002</c:v>
                </c:pt>
                <c:pt idx="289">
                  <c:v>0.44444444440000003</c:v>
                </c:pt>
                <c:pt idx="290">
                  <c:v>2.6741573035499999</c:v>
                </c:pt>
                <c:pt idx="291">
                  <c:v>2.68478260872</c:v>
                </c:pt>
                <c:pt idx="292">
                  <c:v>1.2954545454199999</c:v>
                </c:pt>
                <c:pt idx="293">
                  <c:v>0.69642857149000004</c:v>
                </c:pt>
                <c:pt idx="294">
                  <c:v>0.71686746993999995</c:v>
                </c:pt>
                <c:pt idx="295">
                  <c:v>2.5217391304799999</c:v>
                </c:pt>
                <c:pt idx="296">
                  <c:v>0.41269841271000002</c:v>
                </c:pt>
                <c:pt idx="297">
                  <c:v>-0.37414965985999998</c:v>
                </c:pt>
                <c:pt idx="298">
                  <c:v>-0.55102040815999997</c:v>
                </c:pt>
                <c:pt idx="299">
                  <c:v>-1</c:v>
                </c:pt>
                <c:pt idx="300">
                  <c:v>-1</c:v>
                </c:pt>
                <c:pt idx="301">
                  <c:v>-1</c:v>
                </c:pt>
                <c:pt idx="302">
                  <c:v>-1</c:v>
                </c:pt>
                <c:pt idx="303">
                  <c:v>-1</c:v>
                </c:pt>
                <c:pt idx="304">
                  <c:v>-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-0.47058823530999999</c:v>
                </c:pt>
                <c:pt idx="317">
                  <c:v>-0.40909090911000001</c:v>
                </c:pt>
                <c:pt idx="318">
                  <c:v>-0.44927536230999998</c:v>
                </c:pt>
                <c:pt idx="319">
                  <c:v>-0.52054794523000003</c:v>
                </c:pt>
                <c:pt idx="320">
                  <c:v>-0.24324324322999999</c:v>
                </c:pt>
                <c:pt idx="321">
                  <c:v>0.13333333335</c:v>
                </c:pt>
                <c:pt idx="322">
                  <c:v>1.4285714287</c:v>
                </c:pt>
                <c:pt idx="323">
                  <c:v>1.44444444452</c:v>
                </c:pt>
                <c:pt idx="324">
                  <c:v>1.55555555558</c:v>
                </c:pt>
                <c:pt idx="325">
                  <c:v>3.0555555557999998</c:v>
                </c:pt>
                <c:pt idx="326">
                  <c:v>1.1764705881999999</c:v>
                </c:pt>
                <c:pt idx="327">
                  <c:v>0.24999999999</c:v>
                </c:pt>
                <c:pt idx="328">
                  <c:v>0</c:v>
                </c:pt>
                <c:pt idx="329">
                  <c:v>-3.5714285720000002E-2</c:v>
                </c:pt>
                <c:pt idx="330">
                  <c:v>1.8867924509999998E-2</c:v>
                </c:pt>
                <c:pt idx="331">
                  <c:v>-9.9999999990000005E-2</c:v>
                </c:pt>
                <c:pt idx="332">
                  <c:v>-7.272727272E-2</c:v>
                </c:pt>
                <c:pt idx="333">
                  <c:v>0.81132075473999998</c:v>
                </c:pt>
                <c:pt idx="334">
                  <c:v>1.03636363637</c:v>
                </c:pt>
                <c:pt idx="335">
                  <c:v>0.64705882351999999</c:v>
                </c:pt>
                <c:pt idx="336">
                  <c:v>0.52884615386</c:v>
                </c:pt>
                <c:pt idx="337">
                  <c:v>0.50943396226000004</c:v>
                </c:pt>
                <c:pt idx="338">
                  <c:v>0.19565217391</c:v>
                </c:pt>
                <c:pt idx="339">
                  <c:v>-0.25</c:v>
                </c:pt>
                <c:pt idx="340">
                  <c:v>-0.48113207546999998</c:v>
                </c:pt>
                <c:pt idx="341">
                  <c:v>-0.35849056603000001</c:v>
                </c:pt>
                <c:pt idx="342">
                  <c:v>-0.34591194969</c:v>
                </c:pt>
                <c:pt idx="343">
                  <c:v>-0.49038461539</c:v>
                </c:pt>
                <c:pt idx="344">
                  <c:v>-0.46198830409000002</c:v>
                </c:pt>
                <c:pt idx="345">
                  <c:v>-0.39080459769999998</c:v>
                </c:pt>
                <c:pt idx="346">
                  <c:v>-0.52678571427999998</c:v>
                </c:pt>
                <c:pt idx="347">
                  <c:v>-0.53508771928999999</c:v>
                </c:pt>
                <c:pt idx="348">
                  <c:v>-0.10169491525</c:v>
                </c:pt>
                <c:pt idx="349">
                  <c:v>-0.1186440678</c:v>
                </c:pt>
                <c:pt idx="350">
                  <c:v>-0.1617647059</c:v>
                </c:pt>
                <c:pt idx="351">
                  <c:v>-0.57352941178000005</c:v>
                </c:pt>
                <c:pt idx="352">
                  <c:v>-0.12499999999</c:v>
                </c:pt>
                <c:pt idx="353">
                  <c:v>2.6190476190599998</c:v>
                </c:pt>
                <c:pt idx="354">
                  <c:v>1.2014925373400001</c:v>
                </c:pt>
                <c:pt idx="355">
                  <c:v>0.76119402987999996</c:v>
                </c:pt>
                <c:pt idx="356">
                  <c:v>1.57575757581</c:v>
                </c:pt>
                <c:pt idx="357">
                  <c:v>5.00000000034</c:v>
                </c:pt>
                <c:pt idx="358">
                  <c:v>5.0540540540099999</c:v>
                </c:pt>
                <c:pt idx="359">
                  <c:v>0.36111111109999999</c:v>
                </c:pt>
                <c:pt idx="360">
                  <c:v>-0.34634146342</c:v>
                </c:pt>
                <c:pt idx="361">
                  <c:v>-0.37962962962000002</c:v>
                </c:pt>
                <c:pt idx="362">
                  <c:v>-0.49873417721000002</c:v>
                </c:pt>
                <c:pt idx="363">
                  <c:v>-0.71666666666000001</c:v>
                </c:pt>
                <c:pt idx="364">
                  <c:v>-0.86090225564</c:v>
                </c:pt>
                <c:pt idx="365">
                  <c:v>-0.86058519792999999</c:v>
                </c:pt>
                <c:pt idx="366">
                  <c:v>-0.77222222222000003</c:v>
                </c:pt>
                <c:pt idx="367">
                  <c:v>-2.702702702E-2</c:v>
                </c:pt>
                <c:pt idx="368">
                  <c:v>-0.10734463278</c:v>
                </c:pt>
                <c:pt idx="369">
                  <c:v>0.6</c:v>
                </c:pt>
                <c:pt idx="370">
                  <c:v>1.7142857144300001</c:v>
                </c:pt>
                <c:pt idx="371">
                  <c:v>2.0931677018500001</c:v>
                </c:pt>
                <c:pt idx="372">
                  <c:v>1.81250000002</c:v>
                </c:pt>
                <c:pt idx="373">
                  <c:v>-0.16415662651999999</c:v>
                </c:pt>
                <c:pt idx="374">
                  <c:v>-0.47941176471000002</c:v>
                </c:pt>
                <c:pt idx="375">
                  <c:v>-0.55357142856999997</c:v>
                </c:pt>
                <c:pt idx="376">
                  <c:v>-0.66060606060000004</c:v>
                </c:pt>
                <c:pt idx="377">
                  <c:v>-0.10555555555</c:v>
                </c:pt>
                <c:pt idx="378">
                  <c:v>-1.030927836E-2</c:v>
                </c:pt>
                <c:pt idx="379">
                  <c:v>1.0050251200000001E-3</c:v>
                </c:pt>
                <c:pt idx="380">
                  <c:v>0.61904761907000005</c:v>
                </c:pt>
                <c:pt idx="381">
                  <c:v>0.49999999997</c:v>
                </c:pt>
                <c:pt idx="382">
                  <c:v>1.1806167400700001</c:v>
                </c:pt>
                <c:pt idx="383">
                  <c:v>-0.11764705884</c:v>
                </c:pt>
                <c:pt idx="384">
                  <c:v>-0.58547008547000001</c:v>
                </c:pt>
                <c:pt idx="385">
                  <c:v>-0.70906432749000003</c:v>
                </c:pt>
                <c:pt idx="386">
                  <c:v>-0.70711297073000001</c:v>
                </c:pt>
                <c:pt idx="387">
                  <c:v>-0.51304347827999996</c:v>
                </c:pt>
                <c:pt idx="388">
                  <c:v>-0.65915915915000001</c:v>
                </c:pt>
                <c:pt idx="389">
                  <c:v>-0.56962025314999998</c:v>
                </c:pt>
                <c:pt idx="390">
                  <c:v>-1.6806722709999999E-2</c:v>
                </c:pt>
                <c:pt idx="391">
                  <c:v>1.21789883279</c:v>
                </c:pt>
                <c:pt idx="392">
                  <c:v>1.9875000002900001</c:v>
                </c:pt>
                <c:pt idx="393">
                  <c:v>1.4435590970900001</c:v>
                </c:pt>
                <c:pt idx="394">
                  <c:v>1.9698996654600001</c:v>
                </c:pt>
                <c:pt idx="395">
                  <c:v>1.5409356725300001</c:v>
                </c:pt>
                <c:pt idx="396">
                  <c:v>1.19152854523</c:v>
                </c:pt>
                <c:pt idx="397">
                  <c:v>0.51581769434000002</c:v>
                </c:pt>
                <c:pt idx="398">
                  <c:v>0.24352331603999999</c:v>
                </c:pt>
                <c:pt idx="399">
                  <c:v>0.1348404255</c:v>
                </c:pt>
                <c:pt idx="400">
                  <c:v>0.47256097562999999</c:v>
                </c:pt>
                <c:pt idx="401">
                  <c:v>0.33485119529000001</c:v>
                </c:pt>
                <c:pt idx="402">
                  <c:v>0.38024263429999999</c:v>
                </c:pt>
                <c:pt idx="403">
                  <c:v>0.32504440500999998</c:v>
                </c:pt>
                <c:pt idx="404">
                  <c:v>0.21057347671000001</c:v>
                </c:pt>
                <c:pt idx="405">
                  <c:v>0.20405951326999999</c:v>
                </c:pt>
                <c:pt idx="406">
                  <c:v>-7.0913556779999998E-2</c:v>
                </c:pt>
                <c:pt idx="407">
                  <c:v>-0.24622437972</c:v>
                </c:pt>
                <c:pt idx="408">
                  <c:v>-9.2767295590000007E-2</c:v>
                </c:pt>
                <c:pt idx="409">
                  <c:v>-0.14578328487</c:v>
                </c:pt>
                <c:pt idx="410">
                  <c:v>-0.14616232098000001</c:v>
                </c:pt>
                <c:pt idx="411">
                  <c:v>-0.31965811966000002</c:v>
                </c:pt>
                <c:pt idx="412">
                  <c:v>-0.41440124717999999</c:v>
                </c:pt>
                <c:pt idx="413">
                  <c:v>-0.47345291479000001</c:v>
                </c:pt>
                <c:pt idx="414">
                  <c:v>-0.54293927417999999</c:v>
                </c:pt>
                <c:pt idx="415">
                  <c:v>-0.68793402779000001</c:v>
                </c:pt>
                <c:pt idx="416">
                  <c:v>-0.73385461210000003</c:v>
                </c:pt>
                <c:pt idx="417">
                  <c:v>-0.69213226910000003</c:v>
                </c:pt>
                <c:pt idx="418">
                  <c:v>-0.47074554296999999</c:v>
                </c:pt>
                <c:pt idx="419">
                  <c:v>-8.3059210499999994E-2</c:v>
                </c:pt>
                <c:pt idx="420">
                  <c:v>-0.10264402407000001</c:v>
                </c:pt>
                <c:pt idx="421">
                  <c:v>0.20707269159</c:v>
                </c:pt>
                <c:pt idx="422">
                  <c:v>0.55538788283999996</c:v>
                </c:pt>
                <c:pt idx="423">
                  <c:v>0.56719085066999997</c:v>
                </c:pt>
                <c:pt idx="424">
                  <c:v>0.17759328185000001</c:v>
                </c:pt>
                <c:pt idx="425">
                  <c:v>-0.20179085388000001</c:v>
                </c:pt>
                <c:pt idx="426">
                  <c:v>-0.22934984835</c:v>
                </c:pt>
                <c:pt idx="427">
                  <c:v>5.9330174190000001E-2</c:v>
                </c:pt>
                <c:pt idx="428">
                  <c:v>-1.173270756E-2</c:v>
                </c:pt>
                <c:pt idx="429">
                  <c:v>-0.12116215158</c:v>
                </c:pt>
                <c:pt idx="430">
                  <c:v>-2.1568627489999999E-2</c:v>
                </c:pt>
                <c:pt idx="431">
                  <c:v>0.16161094498</c:v>
                </c:pt>
                <c:pt idx="432">
                  <c:v>0.39697223423</c:v>
                </c:pt>
                <c:pt idx="433">
                  <c:v>9.4156140380000003E-2</c:v>
                </c:pt>
                <c:pt idx="434">
                  <c:v>6.8182065489999999E-2</c:v>
                </c:pt>
                <c:pt idx="435">
                  <c:v>0.18238403824999999</c:v>
                </c:pt>
                <c:pt idx="436">
                  <c:v>0.16358484945000001</c:v>
                </c:pt>
                <c:pt idx="437">
                  <c:v>-6.9334064099999995E-2</c:v>
                </c:pt>
                <c:pt idx="438">
                  <c:v>-0.16921441038000001</c:v>
                </c:pt>
                <c:pt idx="439">
                  <c:v>-0.17572542496999999</c:v>
                </c:pt>
                <c:pt idx="440">
                  <c:v>-0.14829553335000001</c:v>
                </c:pt>
                <c:pt idx="441">
                  <c:v>-0.26546200442000001</c:v>
                </c:pt>
                <c:pt idx="442">
                  <c:v>-0.31353782035</c:v>
                </c:pt>
                <c:pt idx="443">
                  <c:v>-0.12292345440999999</c:v>
                </c:pt>
                <c:pt idx="444">
                  <c:v>-9.3577641239999995E-2</c:v>
                </c:pt>
                <c:pt idx="445">
                  <c:v>-7.3787573709999998E-2</c:v>
                </c:pt>
                <c:pt idx="446">
                  <c:v>7.2519250830000007E-2</c:v>
                </c:pt>
                <c:pt idx="447">
                  <c:v>0.30518214934999999</c:v>
                </c:pt>
                <c:pt idx="448">
                  <c:v>0.42385974978000002</c:v>
                </c:pt>
                <c:pt idx="449">
                  <c:v>0.15043812214999999</c:v>
                </c:pt>
                <c:pt idx="450">
                  <c:v>7.5574940470000004E-2</c:v>
                </c:pt>
                <c:pt idx="451">
                  <c:v>0.16855628487999999</c:v>
                </c:pt>
                <c:pt idx="452">
                  <c:v>2.7673999389999999E-2</c:v>
                </c:pt>
                <c:pt idx="453">
                  <c:v>-0.16972481052999999</c:v>
                </c:pt>
                <c:pt idx="454">
                  <c:v>-0.29081917557999998</c:v>
                </c:pt>
                <c:pt idx="455">
                  <c:v>-0.25293603895</c:v>
                </c:pt>
                <c:pt idx="456">
                  <c:v>-0.11768821715</c:v>
                </c:pt>
                <c:pt idx="457">
                  <c:v>-0.17108800494000001</c:v>
                </c:pt>
                <c:pt idx="458">
                  <c:v>-0.26250981089999997</c:v>
                </c:pt>
                <c:pt idx="459">
                  <c:v>-0.13821482851</c:v>
                </c:pt>
                <c:pt idx="460">
                  <c:v>-4.8536911359999997E-2</c:v>
                </c:pt>
                <c:pt idx="461">
                  <c:v>5.6659507980000003E-2</c:v>
                </c:pt>
                <c:pt idx="462">
                  <c:v>-5.3976332539999998E-2</c:v>
                </c:pt>
                <c:pt idx="463">
                  <c:v>-9.4221062529999997E-2</c:v>
                </c:pt>
                <c:pt idx="464">
                  <c:v>-2.98368528E-3</c:v>
                </c:pt>
                <c:pt idx="465">
                  <c:v>3.3873803229999999E-2</c:v>
                </c:pt>
                <c:pt idx="466">
                  <c:v>1.469260094E-2</c:v>
                </c:pt>
                <c:pt idx="467">
                  <c:v>2.81525154E-3</c:v>
                </c:pt>
                <c:pt idx="468">
                  <c:v>-3.7532207980000003E-2</c:v>
                </c:pt>
                <c:pt idx="469">
                  <c:v>0.16279825739000001</c:v>
                </c:pt>
                <c:pt idx="470">
                  <c:v>0.26864870317</c:v>
                </c:pt>
                <c:pt idx="471">
                  <c:v>0.24959990051</c:v>
                </c:pt>
                <c:pt idx="472">
                  <c:v>0.33496252428000001</c:v>
                </c:pt>
                <c:pt idx="473">
                  <c:v>0.22768677007999999</c:v>
                </c:pt>
                <c:pt idx="474">
                  <c:v>0.28998778997000002</c:v>
                </c:pt>
                <c:pt idx="475">
                  <c:v>0.25133377222999997</c:v>
                </c:pt>
                <c:pt idx="476">
                  <c:v>0.15543873883000001</c:v>
                </c:pt>
                <c:pt idx="477">
                  <c:v>8.3109567879999999E-2</c:v>
                </c:pt>
                <c:pt idx="478">
                  <c:v>9.7723714959999999E-2</c:v>
                </c:pt>
                <c:pt idx="479">
                  <c:v>0.29059126348999997</c:v>
                </c:pt>
                <c:pt idx="480">
                  <c:v>0.43558282209999999</c:v>
                </c:pt>
                <c:pt idx="481">
                  <c:v>0.35139832135999999</c:v>
                </c:pt>
                <c:pt idx="482">
                  <c:v>0.34648541223000001</c:v>
                </c:pt>
                <c:pt idx="483">
                  <c:v>0.58264947245999998</c:v>
                </c:pt>
                <c:pt idx="484">
                  <c:v>0.67032912948000001</c:v>
                </c:pt>
                <c:pt idx="485">
                  <c:v>0.41956947166000003</c:v>
                </c:pt>
                <c:pt idx="486">
                  <c:v>0.19830634654000001</c:v>
                </c:pt>
                <c:pt idx="487">
                  <c:v>0.23864354826</c:v>
                </c:pt>
                <c:pt idx="488">
                  <c:v>0.27099337220000003</c:v>
                </c:pt>
                <c:pt idx="489">
                  <c:v>-7.683982684E-2</c:v>
                </c:pt>
                <c:pt idx="490">
                  <c:v>-0.34203602510999997</c:v>
                </c:pt>
                <c:pt idx="491">
                  <c:v>-0.39291101058</c:v>
                </c:pt>
                <c:pt idx="492">
                  <c:v>-0.39428930334000001</c:v>
                </c:pt>
                <c:pt idx="493">
                  <c:v>-0.38098215575</c:v>
                </c:pt>
                <c:pt idx="494">
                  <c:v>-0.47163203927000003</c:v>
                </c:pt>
                <c:pt idx="495">
                  <c:v>-0.40662809049999998</c:v>
                </c:pt>
                <c:pt idx="496">
                  <c:v>-4.7997644239999998E-2</c:v>
                </c:pt>
                <c:pt idx="497">
                  <c:v>0.14544865570000001</c:v>
                </c:pt>
                <c:pt idx="498">
                  <c:v>0.32645555723000003</c:v>
                </c:pt>
                <c:pt idx="499">
                  <c:v>0.21705515366</c:v>
                </c:pt>
                <c:pt idx="500">
                  <c:v>0.30616438358999998</c:v>
                </c:pt>
                <c:pt idx="501">
                  <c:v>0.21098229078</c:v>
                </c:pt>
                <c:pt idx="502">
                  <c:v>-0.16241213469999999</c:v>
                </c:pt>
                <c:pt idx="503">
                  <c:v>-0.36882638918999999</c:v>
                </c:pt>
                <c:pt idx="504">
                  <c:v>-0.51260906706999998</c:v>
                </c:pt>
                <c:pt idx="505">
                  <c:v>-0.57580279491999997</c:v>
                </c:pt>
                <c:pt idx="506">
                  <c:v>-0.59918448092999999</c:v>
                </c:pt>
                <c:pt idx="507">
                  <c:v>-0.60542043088999997</c:v>
                </c:pt>
                <c:pt idx="508">
                  <c:v>-0.48169059526000002</c:v>
                </c:pt>
                <c:pt idx="509">
                  <c:v>-0.24859596123</c:v>
                </c:pt>
                <c:pt idx="510">
                  <c:v>-4.5081793619999998E-2</c:v>
                </c:pt>
                <c:pt idx="511">
                  <c:v>3.2224159800000002E-3</c:v>
                </c:pt>
                <c:pt idx="512">
                  <c:v>-3.2474161059999999E-2</c:v>
                </c:pt>
                <c:pt idx="513">
                  <c:v>9.8643635209999997E-2</c:v>
                </c:pt>
                <c:pt idx="514">
                  <c:v>-0.12200293419</c:v>
                </c:pt>
                <c:pt idx="515">
                  <c:v>-0.27917083354</c:v>
                </c:pt>
                <c:pt idx="516">
                  <c:v>-0.36276308212000002</c:v>
                </c:pt>
                <c:pt idx="517">
                  <c:v>-0.31713068860999999</c:v>
                </c:pt>
                <c:pt idx="518">
                  <c:v>-0.14091169716999999</c:v>
                </c:pt>
                <c:pt idx="519">
                  <c:v>-9.4390610870000002E-2</c:v>
                </c:pt>
                <c:pt idx="520">
                  <c:v>2.333169719E-2</c:v>
                </c:pt>
                <c:pt idx="521">
                  <c:v>7.0905928460000003E-2</c:v>
                </c:pt>
                <c:pt idx="522">
                  <c:v>0.23614885511</c:v>
                </c:pt>
                <c:pt idx="523">
                  <c:v>0.23626934788000001</c:v>
                </c:pt>
                <c:pt idx="524">
                  <c:v>9.2013399750000002E-2</c:v>
                </c:pt>
                <c:pt idx="525">
                  <c:v>-1.870246758E-2</c:v>
                </c:pt>
                <c:pt idx="526">
                  <c:v>1.180685745E-2</c:v>
                </c:pt>
                <c:pt idx="527">
                  <c:v>3.2407310920000001E-2</c:v>
                </c:pt>
                <c:pt idx="528">
                  <c:v>5.2108005729999997E-2</c:v>
                </c:pt>
                <c:pt idx="529">
                  <c:v>1.469524E-2</c:v>
                </c:pt>
                <c:pt idx="530">
                  <c:v>8.5850737730000001E-2</c:v>
                </c:pt>
                <c:pt idx="531">
                  <c:v>0.27470488788000003</c:v>
                </c:pt>
                <c:pt idx="532">
                  <c:v>0.24400672108999999</c:v>
                </c:pt>
                <c:pt idx="533">
                  <c:v>0.22082859837999999</c:v>
                </c:pt>
                <c:pt idx="534">
                  <c:v>0.10389630806</c:v>
                </c:pt>
                <c:pt idx="535">
                  <c:v>0.19181098786</c:v>
                </c:pt>
                <c:pt idx="536">
                  <c:v>0.21735464871999999</c:v>
                </c:pt>
                <c:pt idx="537">
                  <c:v>0.16465801219000001</c:v>
                </c:pt>
                <c:pt idx="538">
                  <c:v>4.3427679169999997E-2</c:v>
                </c:pt>
                <c:pt idx="539">
                  <c:v>0.18087127585000001</c:v>
                </c:pt>
                <c:pt idx="540">
                  <c:v>0.25665353620999998</c:v>
                </c:pt>
                <c:pt idx="541">
                  <c:v>0.32680205385</c:v>
                </c:pt>
                <c:pt idx="542">
                  <c:v>0.17559381072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DCC-406F-80CC-496A6C4931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JIP_v_den_pozitivity65_7dni_z_HOSP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5.6338028169E-2</c:v>
                </c:pt>
                <c:pt idx="1">
                  <c:v>6.9444444443999997E-2</c:v>
                </c:pt>
                <c:pt idx="2">
                  <c:v>6.4102564102000006E-2</c:v>
                </c:pt>
                <c:pt idx="3">
                  <c:v>0.107142857142</c:v>
                </c:pt>
                <c:pt idx="4">
                  <c:v>8.2474226804000003E-2</c:v>
                </c:pt>
                <c:pt idx="5">
                  <c:v>0.102803738317</c:v>
                </c:pt>
                <c:pt idx="6">
                  <c:v>9.0163934426E-2</c:v>
                </c:pt>
                <c:pt idx="7">
                  <c:v>7.9365079364999994E-2</c:v>
                </c:pt>
                <c:pt idx="8">
                  <c:v>8.8435374149000004E-2</c:v>
                </c:pt>
                <c:pt idx="9">
                  <c:v>9.4594594594000006E-2</c:v>
                </c:pt>
                <c:pt idx="10">
                  <c:v>7.1005917158999995E-2</c:v>
                </c:pt>
                <c:pt idx="11">
                  <c:v>9.4117647058000006E-2</c:v>
                </c:pt>
                <c:pt idx="12">
                  <c:v>7.8651685393000006E-2</c:v>
                </c:pt>
                <c:pt idx="13">
                  <c:v>9.0425531914000004E-2</c:v>
                </c:pt>
                <c:pt idx="14">
                  <c:v>9.4594594594000006E-2</c:v>
                </c:pt>
                <c:pt idx="15">
                  <c:v>8.1896551723999997E-2</c:v>
                </c:pt>
                <c:pt idx="16">
                  <c:v>8.4175084174999998E-2</c:v>
                </c:pt>
                <c:pt idx="17">
                  <c:v>7.6677316292999995E-2</c:v>
                </c:pt>
                <c:pt idx="18">
                  <c:v>7.3746312684000004E-2</c:v>
                </c:pt>
                <c:pt idx="19">
                  <c:v>8.5470085469999998E-2</c:v>
                </c:pt>
                <c:pt idx="20">
                  <c:v>8.0729166665999996E-2</c:v>
                </c:pt>
                <c:pt idx="21">
                  <c:v>8.7939698492000007E-2</c:v>
                </c:pt>
                <c:pt idx="22">
                  <c:v>9.2165898617000003E-2</c:v>
                </c:pt>
                <c:pt idx="23">
                  <c:v>9.6551724137E-2</c:v>
                </c:pt>
                <c:pt idx="24">
                  <c:v>0.10359408033799999</c:v>
                </c:pt>
                <c:pt idx="25">
                  <c:v>0.1</c:v>
                </c:pt>
                <c:pt idx="26">
                  <c:v>9.3690248564999995E-2</c:v>
                </c:pt>
                <c:pt idx="27">
                  <c:v>0.1</c:v>
                </c:pt>
                <c:pt idx="28">
                  <c:v>8.3892617449000007E-2</c:v>
                </c:pt>
                <c:pt idx="29">
                  <c:v>7.4074074074000004E-2</c:v>
                </c:pt>
                <c:pt idx="30">
                  <c:v>7.2463768114999993E-2</c:v>
                </c:pt>
                <c:pt idx="31">
                  <c:v>6.8965517241000002E-2</c:v>
                </c:pt>
                <c:pt idx="32">
                  <c:v>8.1151832460000003E-2</c:v>
                </c:pt>
                <c:pt idx="33">
                  <c:v>8.7438423644999999E-2</c:v>
                </c:pt>
                <c:pt idx="34">
                  <c:v>8.2714740189999997E-2</c:v>
                </c:pt>
                <c:pt idx="35">
                  <c:v>8.8321884200000006E-2</c:v>
                </c:pt>
                <c:pt idx="36">
                  <c:v>9.5365418894000006E-2</c:v>
                </c:pt>
                <c:pt idx="37">
                  <c:v>8.5918854414999996E-2</c:v>
                </c:pt>
                <c:pt idx="38">
                  <c:v>8.6956521738999995E-2</c:v>
                </c:pt>
                <c:pt idx="39">
                  <c:v>8.3730428863E-2</c:v>
                </c:pt>
                <c:pt idx="40">
                  <c:v>8.0550098230999997E-2</c:v>
                </c:pt>
                <c:pt idx="41">
                  <c:v>7.5685339690000006E-2</c:v>
                </c:pt>
                <c:pt idx="42">
                  <c:v>7.1268237934000001E-2</c:v>
                </c:pt>
                <c:pt idx="43">
                  <c:v>6.5410779695999996E-2</c:v>
                </c:pt>
                <c:pt idx="44">
                  <c:v>6.5401897153999994E-2</c:v>
                </c:pt>
                <c:pt idx="45">
                  <c:v>6.3691306369E-2</c:v>
                </c:pt>
                <c:pt idx="46">
                  <c:v>5.5483870966999999E-2</c:v>
                </c:pt>
                <c:pt idx="47">
                  <c:v>5.4640417837999999E-2</c:v>
                </c:pt>
                <c:pt idx="48">
                  <c:v>5.3726825575999997E-2</c:v>
                </c:pt>
                <c:pt idx="49">
                  <c:v>5.3864987757E-2</c:v>
                </c:pt>
                <c:pt idx="50">
                  <c:v>5.2080025404000002E-2</c:v>
                </c:pt>
                <c:pt idx="51">
                  <c:v>5.3687315633999998E-2</c:v>
                </c:pt>
                <c:pt idx="52">
                  <c:v>5.2195526096999997E-2</c:v>
                </c:pt>
                <c:pt idx="53">
                  <c:v>5.4333421680000001E-2</c:v>
                </c:pt>
                <c:pt idx="54">
                  <c:v>5.6159878572999998E-2</c:v>
                </c:pt>
                <c:pt idx="55">
                  <c:v>5.7542031729999998E-2</c:v>
                </c:pt>
                <c:pt idx="56">
                  <c:v>5.6007226738000002E-2</c:v>
                </c:pt>
                <c:pt idx="57">
                  <c:v>5.4753722794000002E-2</c:v>
                </c:pt>
                <c:pt idx="58">
                  <c:v>5.4633930545999999E-2</c:v>
                </c:pt>
                <c:pt idx="59">
                  <c:v>5.3327734621000003E-2</c:v>
                </c:pt>
                <c:pt idx="60">
                  <c:v>5.4863895336000001E-2</c:v>
                </c:pt>
                <c:pt idx="61">
                  <c:v>5.4106073567E-2</c:v>
                </c:pt>
                <c:pt idx="62">
                  <c:v>5.2395209579999998E-2</c:v>
                </c:pt>
                <c:pt idx="63">
                  <c:v>5.0541516245000001E-2</c:v>
                </c:pt>
                <c:pt idx="64">
                  <c:v>5.0569948185999997E-2</c:v>
                </c:pt>
                <c:pt idx="65">
                  <c:v>5.1085568326000003E-2</c:v>
                </c:pt>
                <c:pt idx="66">
                  <c:v>5.1259193224000001E-2</c:v>
                </c:pt>
                <c:pt idx="67">
                  <c:v>4.8885857206999998E-2</c:v>
                </c:pt>
                <c:pt idx="68">
                  <c:v>4.7067006723000002E-2</c:v>
                </c:pt>
                <c:pt idx="69">
                  <c:v>4.6623407834E-2</c:v>
                </c:pt>
                <c:pt idx="70">
                  <c:v>4.6836073741000003E-2</c:v>
                </c:pt>
                <c:pt idx="71">
                  <c:v>4.6021840873E-2</c:v>
                </c:pt>
                <c:pt idx="72">
                  <c:v>4.2530282636999997E-2</c:v>
                </c:pt>
                <c:pt idx="73">
                  <c:v>4.0373523756999999E-2</c:v>
                </c:pt>
                <c:pt idx="74">
                  <c:v>3.9484738168000001E-2</c:v>
                </c:pt>
                <c:pt idx="75">
                  <c:v>3.8874383520999999E-2</c:v>
                </c:pt>
                <c:pt idx="76">
                  <c:v>3.7137681158999999E-2</c:v>
                </c:pt>
                <c:pt idx="77">
                  <c:v>3.8012670890000003E-2</c:v>
                </c:pt>
                <c:pt idx="78">
                  <c:v>3.9242219214999999E-2</c:v>
                </c:pt>
                <c:pt idx="79">
                  <c:v>3.6805555555000001E-2</c:v>
                </c:pt>
                <c:pt idx="80">
                  <c:v>3.9083051484E-2</c:v>
                </c:pt>
                <c:pt idx="81">
                  <c:v>4.1634241245000002E-2</c:v>
                </c:pt>
                <c:pt idx="82">
                  <c:v>4.0840602695999997E-2</c:v>
                </c:pt>
                <c:pt idx="83">
                  <c:v>3.9183673469000001E-2</c:v>
                </c:pt>
                <c:pt idx="84">
                  <c:v>3.8043478259999999E-2</c:v>
                </c:pt>
                <c:pt idx="85">
                  <c:v>4.0849673202000003E-2</c:v>
                </c:pt>
                <c:pt idx="86">
                  <c:v>4.253509145E-2</c:v>
                </c:pt>
                <c:pt idx="87">
                  <c:v>4.1903099083000002E-2</c:v>
                </c:pt>
                <c:pt idx="88">
                  <c:v>4.0142729704999998E-2</c:v>
                </c:pt>
                <c:pt idx="89">
                  <c:v>4.1095890410000002E-2</c:v>
                </c:pt>
                <c:pt idx="90">
                  <c:v>4.7048379937E-2</c:v>
                </c:pt>
                <c:pt idx="91">
                  <c:v>4.6261682242000002E-2</c:v>
                </c:pt>
                <c:pt idx="92">
                  <c:v>4.6577946767999999E-2</c:v>
                </c:pt>
                <c:pt idx="93">
                  <c:v>5.2145823718999999E-2</c:v>
                </c:pt>
                <c:pt idx="94">
                  <c:v>5.2348993288000002E-2</c:v>
                </c:pt>
                <c:pt idx="95">
                  <c:v>5.2069425900999999E-2</c:v>
                </c:pt>
                <c:pt idx="96">
                  <c:v>5.3148727110000002E-2</c:v>
                </c:pt>
                <c:pt idx="97">
                  <c:v>4.8714479025E-2</c:v>
                </c:pt>
                <c:pt idx="98">
                  <c:v>5.0201703271999999E-2</c:v>
                </c:pt>
                <c:pt idx="99">
                  <c:v>4.7350130321000002E-2</c:v>
                </c:pt>
                <c:pt idx="100">
                  <c:v>4.2850896370000002E-2</c:v>
                </c:pt>
                <c:pt idx="101">
                  <c:v>4.2991491266999998E-2</c:v>
                </c:pt>
                <c:pt idx="102">
                  <c:v>4.3802014892000002E-2</c:v>
                </c:pt>
                <c:pt idx="103">
                  <c:v>4.3140638480999999E-2</c:v>
                </c:pt>
                <c:pt idx="104">
                  <c:v>4.5493562230999998E-2</c:v>
                </c:pt>
                <c:pt idx="105">
                  <c:v>4.1684035013999997E-2</c:v>
                </c:pt>
                <c:pt idx="106">
                  <c:v>4.4180118945999998E-2</c:v>
                </c:pt>
                <c:pt idx="107">
                  <c:v>4.3348916277000001E-2</c:v>
                </c:pt>
                <c:pt idx="108">
                  <c:v>3.8032244728999999E-2</c:v>
                </c:pt>
                <c:pt idx="109">
                  <c:v>3.7375415282000002E-2</c:v>
                </c:pt>
                <c:pt idx="110">
                  <c:v>3.7572254334999999E-2</c:v>
                </c:pt>
                <c:pt idx="111">
                  <c:v>3.4355828220000002E-2</c:v>
                </c:pt>
                <c:pt idx="112">
                  <c:v>3.9473684209999998E-2</c:v>
                </c:pt>
                <c:pt idx="113">
                  <c:v>3.8358266205999997E-2</c:v>
                </c:pt>
                <c:pt idx="114">
                  <c:v>3.9600000000000003E-2</c:v>
                </c:pt>
                <c:pt idx="115">
                  <c:v>4.4782251437000001E-2</c:v>
                </c:pt>
                <c:pt idx="116">
                  <c:v>4.5226130652999998E-2</c:v>
                </c:pt>
                <c:pt idx="117">
                  <c:v>4.5821114369E-2</c:v>
                </c:pt>
                <c:pt idx="118">
                  <c:v>4.8738922971999998E-2</c:v>
                </c:pt>
                <c:pt idx="119">
                  <c:v>4.8749198202999999E-2</c:v>
                </c:pt>
                <c:pt idx="120">
                  <c:v>4.9022649704999997E-2</c:v>
                </c:pt>
                <c:pt idx="121">
                  <c:v>4.8994619087999999E-2</c:v>
                </c:pt>
                <c:pt idx="122">
                  <c:v>4.8285322359000002E-2</c:v>
                </c:pt>
                <c:pt idx="123">
                  <c:v>4.7225186766000002E-2</c:v>
                </c:pt>
                <c:pt idx="124">
                  <c:v>4.6920052423999999E-2</c:v>
                </c:pt>
                <c:pt idx="125">
                  <c:v>4.5246568378E-2</c:v>
                </c:pt>
                <c:pt idx="126">
                  <c:v>4.3381259295000002E-2</c:v>
                </c:pt>
                <c:pt idx="127">
                  <c:v>4.2348411933999998E-2</c:v>
                </c:pt>
                <c:pt idx="128">
                  <c:v>3.9953271027999997E-2</c:v>
                </c:pt>
                <c:pt idx="129">
                  <c:v>3.9668310174E-2</c:v>
                </c:pt>
                <c:pt idx="130">
                  <c:v>3.9446837451E-2</c:v>
                </c:pt>
                <c:pt idx="131">
                  <c:v>4.0192926045000001E-2</c:v>
                </c:pt>
                <c:pt idx="132">
                  <c:v>3.8679245282999999E-2</c:v>
                </c:pt>
                <c:pt idx="133">
                  <c:v>3.7869533348999999E-2</c:v>
                </c:pt>
                <c:pt idx="134">
                  <c:v>3.7538304392000003E-2</c:v>
                </c:pt>
                <c:pt idx="135">
                  <c:v>4.0150902720999998E-2</c:v>
                </c:pt>
                <c:pt idx="136">
                  <c:v>4.0387275241999997E-2</c:v>
                </c:pt>
                <c:pt idx="137">
                  <c:v>4.0068201193000003E-2</c:v>
                </c:pt>
                <c:pt idx="138">
                  <c:v>3.7573964496999998E-2</c:v>
                </c:pt>
                <c:pt idx="139">
                  <c:v>4.1028781383E-2</c:v>
                </c:pt>
                <c:pt idx="140">
                  <c:v>4.4733502538E-2</c:v>
                </c:pt>
                <c:pt idx="141">
                  <c:v>4.5527412631999997E-2</c:v>
                </c:pt>
                <c:pt idx="142">
                  <c:v>4.3879907620999997E-2</c:v>
                </c:pt>
                <c:pt idx="143">
                  <c:v>4.3800539083000002E-2</c:v>
                </c:pt>
                <c:pt idx="144">
                  <c:v>4.4217687073999999E-2</c:v>
                </c:pt>
                <c:pt idx="145">
                  <c:v>4.5330606680000003E-2</c:v>
                </c:pt>
                <c:pt idx="146">
                  <c:v>4.4459881903000001E-2</c:v>
                </c:pt>
                <c:pt idx="147">
                  <c:v>4.2837078650999998E-2</c:v>
                </c:pt>
                <c:pt idx="148">
                  <c:v>3.8420490927999998E-2</c:v>
                </c:pt>
                <c:pt idx="149">
                  <c:v>3.8998211090999997E-2</c:v>
                </c:pt>
                <c:pt idx="150">
                  <c:v>4.0638606676E-2</c:v>
                </c:pt>
                <c:pt idx="151">
                  <c:v>4.0980607390999998E-2</c:v>
                </c:pt>
                <c:pt idx="152">
                  <c:v>4.1636230825000002E-2</c:v>
                </c:pt>
                <c:pt idx="153">
                  <c:v>4.1606886656999999E-2</c:v>
                </c:pt>
                <c:pt idx="154">
                  <c:v>3.7878787878000003E-2</c:v>
                </c:pt>
                <c:pt idx="155">
                  <c:v>4.1801801801000002E-2</c:v>
                </c:pt>
                <c:pt idx="156">
                  <c:v>4.3710021320999999E-2</c:v>
                </c:pt>
                <c:pt idx="157">
                  <c:v>4.3928571428000003E-2</c:v>
                </c:pt>
                <c:pt idx="158">
                  <c:v>4.4903777619000003E-2</c:v>
                </c:pt>
                <c:pt idx="159">
                  <c:v>4.3029871976999999E-2</c:v>
                </c:pt>
                <c:pt idx="160">
                  <c:v>4.2278753135E-2</c:v>
                </c:pt>
                <c:pt idx="161">
                  <c:v>4.5552367288000002E-2</c:v>
                </c:pt>
                <c:pt idx="162">
                  <c:v>4.8842257596999998E-2</c:v>
                </c:pt>
                <c:pt idx="163">
                  <c:v>4.5997826874000003E-2</c:v>
                </c:pt>
                <c:pt idx="164">
                  <c:v>4.2116630669000003E-2</c:v>
                </c:pt>
                <c:pt idx="165">
                  <c:v>3.9942425332000001E-2</c:v>
                </c:pt>
                <c:pt idx="166">
                  <c:v>3.9957939010999997E-2</c:v>
                </c:pt>
                <c:pt idx="167">
                  <c:v>4.0014164305000002E-2</c:v>
                </c:pt>
                <c:pt idx="168">
                  <c:v>4.1420118343000002E-2</c:v>
                </c:pt>
                <c:pt idx="169">
                  <c:v>4.3114973261999999E-2</c:v>
                </c:pt>
                <c:pt idx="170">
                  <c:v>4.2063752874999999E-2</c:v>
                </c:pt>
                <c:pt idx="171">
                  <c:v>4.3687761002000003E-2</c:v>
                </c:pt>
                <c:pt idx="172">
                  <c:v>4.5799115602999999E-2</c:v>
                </c:pt>
                <c:pt idx="173">
                  <c:v>4.8619824340999998E-2</c:v>
                </c:pt>
                <c:pt idx="174">
                  <c:v>4.6462192529000003E-2</c:v>
                </c:pt>
                <c:pt idx="175">
                  <c:v>4.4324648097999998E-2</c:v>
                </c:pt>
                <c:pt idx="176">
                  <c:v>4.1766109784999998E-2</c:v>
                </c:pt>
                <c:pt idx="177">
                  <c:v>4.3063583815000001E-2</c:v>
                </c:pt>
                <c:pt idx="178">
                  <c:v>4.1037332572999997E-2</c:v>
                </c:pt>
                <c:pt idx="179">
                  <c:v>3.9878150096000001E-2</c:v>
                </c:pt>
                <c:pt idx="180">
                  <c:v>3.8408779148999997E-2</c:v>
                </c:pt>
                <c:pt idx="181">
                  <c:v>4.0210249671000002E-2</c:v>
                </c:pt>
                <c:pt idx="182">
                  <c:v>4.1804741269000002E-2</c:v>
                </c:pt>
                <c:pt idx="183">
                  <c:v>4.0040805915999997E-2</c:v>
                </c:pt>
                <c:pt idx="184">
                  <c:v>3.9662231319999998E-2</c:v>
                </c:pt>
                <c:pt idx="185">
                  <c:v>4.2121289011999997E-2</c:v>
                </c:pt>
                <c:pt idx="186">
                  <c:v>4.0914866580999999E-2</c:v>
                </c:pt>
                <c:pt idx="187">
                  <c:v>3.9848675914000001E-2</c:v>
                </c:pt>
                <c:pt idx="188">
                  <c:v>3.9195461578000003E-2</c:v>
                </c:pt>
                <c:pt idx="189">
                  <c:v>3.5257247323E-2</c:v>
                </c:pt>
                <c:pt idx="190">
                  <c:v>3.5932721712000001E-2</c:v>
                </c:pt>
                <c:pt idx="191">
                  <c:v>3.6520415925999999E-2</c:v>
                </c:pt>
                <c:pt idx="192">
                  <c:v>3.3932641174000001E-2</c:v>
                </c:pt>
                <c:pt idx="193">
                  <c:v>3.6520415925999999E-2</c:v>
                </c:pt>
                <c:pt idx="194">
                  <c:v>3.6270753512000001E-2</c:v>
                </c:pt>
                <c:pt idx="195">
                  <c:v>3.3324788515000002E-2</c:v>
                </c:pt>
                <c:pt idx="196">
                  <c:v>3.5723530933999999E-2</c:v>
                </c:pt>
                <c:pt idx="197">
                  <c:v>3.2637774209999998E-2</c:v>
                </c:pt>
                <c:pt idx="198">
                  <c:v>3.1429352282E-2</c:v>
                </c:pt>
                <c:pt idx="199">
                  <c:v>3.2942490227999999E-2</c:v>
                </c:pt>
                <c:pt idx="200">
                  <c:v>3.0137772675000001E-2</c:v>
                </c:pt>
                <c:pt idx="201">
                  <c:v>3.0498533724E-2</c:v>
                </c:pt>
                <c:pt idx="202">
                  <c:v>3.4852546916000003E-2</c:v>
                </c:pt>
                <c:pt idx="203">
                  <c:v>3.3866995072999999E-2</c:v>
                </c:pt>
                <c:pt idx="204">
                  <c:v>3.7071651089999998E-2</c:v>
                </c:pt>
                <c:pt idx="205">
                  <c:v>3.6507936507000002E-2</c:v>
                </c:pt>
                <c:pt idx="206">
                  <c:v>3.5472428248000003E-2</c:v>
                </c:pt>
                <c:pt idx="207">
                  <c:v>3.6164029706000002E-2</c:v>
                </c:pt>
                <c:pt idx="208">
                  <c:v>3.6458333332999998E-2</c:v>
                </c:pt>
                <c:pt idx="209">
                  <c:v>3.3779264214000002E-2</c:v>
                </c:pt>
                <c:pt idx="210">
                  <c:v>3.3241946538E-2</c:v>
                </c:pt>
                <c:pt idx="211">
                  <c:v>3.2734952481000001E-2</c:v>
                </c:pt>
                <c:pt idx="212">
                  <c:v>3.3261026753000002E-2</c:v>
                </c:pt>
                <c:pt idx="213">
                  <c:v>3.3677765020999999E-2</c:v>
                </c:pt>
                <c:pt idx="214">
                  <c:v>3.2690035446999999E-2</c:v>
                </c:pt>
                <c:pt idx="215">
                  <c:v>3.0266343825E-2</c:v>
                </c:pt>
                <c:pt idx="216">
                  <c:v>3.1432420295999998E-2</c:v>
                </c:pt>
                <c:pt idx="217">
                  <c:v>3.1404217137E-2</c:v>
                </c:pt>
                <c:pt idx="218">
                  <c:v>3.2833020636999999E-2</c:v>
                </c:pt>
                <c:pt idx="219">
                  <c:v>3.8005922999999997E-2</c:v>
                </c:pt>
                <c:pt idx="220">
                  <c:v>3.8118811880999998E-2</c:v>
                </c:pt>
                <c:pt idx="221">
                  <c:v>4.1709577753999999E-2</c:v>
                </c:pt>
                <c:pt idx="222">
                  <c:v>4.6311254710999998E-2</c:v>
                </c:pt>
                <c:pt idx="223">
                  <c:v>4.8754636988999997E-2</c:v>
                </c:pt>
                <c:pt idx="224">
                  <c:v>5.4398148148000001E-2</c:v>
                </c:pt>
                <c:pt idx="225">
                  <c:v>5.1466187911000001E-2</c:v>
                </c:pt>
                <c:pt idx="226">
                  <c:v>4.4099378880999997E-2</c:v>
                </c:pt>
                <c:pt idx="227">
                  <c:v>4.6022353714E-2</c:v>
                </c:pt>
                <c:pt idx="228">
                  <c:v>4.5423728812999997E-2</c:v>
                </c:pt>
                <c:pt idx="229">
                  <c:v>4.1208791208000001E-2</c:v>
                </c:pt>
                <c:pt idx="230">
                  <c:v>4.3727598566000003E-2</c:v>
                </c:pt>
                <c:pt idx="231">
                  <c:v>3.9611360238999999E-2</c:v>
                </c:pt>
                <c:pt idx="232">
                  <c:v>4.1731066460000001E-2</c:v>
                </c:pt>
                <c:pt idx="233">
                  <c:v>4.8465266558E-2</c:v>
                </c:pt>
                <c:pt idx="234">
                  <c:v>5.3344623200000003E-2</c:v>
                </c:pt>
                <c:pt idx="235">
                  <c:v>5.5103884371999999E-2</c:v>
                </c:pt>
                <c:pt idx="236">
                  <c:v>6.1378659112000002E-2</c:v>
                </c:pt>
                <c:pt idx="237">
                  <c:v>5.5944055944000003E-2</c:v>
                </c:pt>
                <c:pt idx="238">
                  <c:v>5.4989816699999999E-2</c:v>
                </c:pt>
                <c:pt idx="239">
                  <c:v>5.7483731018999999E-2</c:v>
                </c:pt>
                <c:pt idx="240">
                  <c:v>5.3145336224999999E-2</c:v>
                </c:pt>
                <c:pt idx="241">
                  <c:v>4.6697038724000002E-2</c:v>
                </c:pt>
                <c:pt idx="242">
                  <c:v>4.0770101925000003E-2</c:v>
                </c:pt>
                <c:pt idx="243">
                  <c:v>3.4482758619999998E-2</c:v>
                </c:pt>
                <c:pt idx="244">
                  <c:v>3.6299765806999999E-2</c:v>
                </c:pt>
                <c:pt idx="245">
                  <c:v>4.3804755943999997E-2</c:v>
                </c:pt>
                <c:pt idx="246">
                  <c:v>4.2384105960000001E-2</c:v>
                </c:pt>
                <c:pt idx="247">
                  <c:v>4.4096728306999997E-2</c:v>
                </c:pt>
                <c:pt idx="248">
                  <c:v>4.8780487804000003E-2</c:v>
                </c:pt>
                <c:pt idx="249">
                  <c:v>5.4628224582E-2</c:v>
                </c:pt>
                <c:pt idx="250">
                  <c:v>5.8544303797E-2</c:v>
                </c:pt>
                <c:pt idx="251">
                  <c:v>6.0402684562999999E-2</c:v>
                </c:pt>
                <c:pt idx="252">
                  <c:v>6.0283687943E-2</c:v>
                </c:pt>
                <c:pt idx="253">
                  <c:v>6.1224489795000003E-2</c:v>
                </c:pt>
                <c:pt idx="254">
                  <c:v>5.7199211044999997E-2</c:v>
                </c:pt>
                <c:pt idx="255">
                  <c:v>5.3995680344999998E-2</c:v>
                </c:pt>
                <c:pt idx="256">
                  <c:v>4.9661399548000001E-2</c:v>
                </c:pt>
                <c:pt idx="257">
                  <c:v>4.5454545454000003E-2</c:v>
                </c:pt>
                <c:pt idx="258">
                  <c:v>4.0322580645000002E-2</c:v>
                </c:pt>
                <c:pt idx="259">
                  <c:v>3.4782608695000002E-2</c:v>
                </c:pt>
                <c:pt idx="260">
                  <c:v>3.2154340836000002E-2</c:v>
                </c:pt>
                <c:pt idx="261">
                  <c:v>3.1358885017000002E-2</c:v>
                </c:pt>
                <c:pt idx="262">
                  <c:v>3.7037037037000002E-2</c:v>
                </c:pt>
                <c:pt idx="263">
                  <c:v>3.7453183520000002E-2</c:v>
                </c:pt>
                <c:pt idx="264">
                  <c:v>4.0650406504000001E-2</c:v>
                </c:pt>
                <c:pt idx="265">
                  <c:v>3.6036036036000002E-2</c:v>
                </c:pt>
                <c:pt idx="266">
                  <c:v>3.7209302324999999E-2</c:v>
                </c:pt>
                <c:pt idx="267">
                  <c:v>4.2253521125999997E-2</c:v>
                </c:pt>
                <c:pt idx="268">
                  <c:v>4.6153846153E-2</c:v>
                </c:pt>
                <c:pt idx="269">
                  <c:v>3.2967032967000001E-2</c:v>
                </c:pt>
                <c:pt idx="270">
                  <c:v>3.5714285714000003E-2</c:v>
                </c:pt>
                <c:pt idx="271">
                  <c:v>5.3254437868999999E-2</c:v>
                </c:pt>
                <c:pt idx="272">
                  <c:v>6.0975609755999999E-2</c:v>
                </c:pt>
                <c:pt idx="273">
                  <c:v>7.0921985815000005E-2</c:v>
                </c:pt>
                <c:pt idx="274">
                  <c:v>6.4000000000000001E-2</c:v>
                </c:pt>
                <c:pt idx="275">
                  <c:v>7.9646017698999996E-2</c:v>
                </c:pt>
                <c:pt idx="276">
                  <c:v>9.6153846153000003E-2</c:v>
                </c:pt>
                <c:pt idx="277">
                  <c:v>9.0909090908999998E-2</c:v>
                </c:pt>
                <c:pt idx="278">
                  <c:v>5.4347826086000001E-2</c:v>
                </c:pt>
                <c:pt idx="279">
                  <c:v>0.05</c:v>
                </c:pt>
                <c:pt idx="280">
                  <c:v>3.8961038960999998E-2</c:v>
                </c:pt>
                <c:pt idx="281">
                  <c:v>3.1746031745999999E-2</c:v>
                </c:pt>
                <c:pt idx="282">
                  <c:v>3.3898305083999998E-2</c:v>
                </c:pt>
                <c:pt idx="283">
                  <c:v>0.02</c:v>
                </c:pt>
                <c:pt idx="284">
                  <c:v>4.1666666666000003E-2</c:v>
                </c:pt>
                <c:pt idx="285">
                  <c:v>4.5454545454000003E-2</c:v>
                </c:pt>
                <c:pt idx="286">
                  <c:v>5.2631578946999998E-2</c:v>
                </c:pt>
                <c:pt idx="287">
                  <c:v>6.25E-2</c:v>
                </c:pt>
                <c:pt idx="288">
                  <c:v>7.1428571428000007E-2</c:v>
                </c:pt>
                <c:pt idx="289">
                  <c:v>2.6315789472999999E-2</c:v>
                </c:pt>
                <c:pt idx="290">
                  <c:v>5.7142857142E-2</c:v>
                </c:pt>
                <c:pt idx="291">
                  <c:v>2.7027027027000002E-2</c:v>
                </c:pt>
                <c:pt idx="292">
                  <c:v>5.5555555554999997E-2</c:v>
                </c:pt>
                <c:pt idx="293">
                  <c:v>5.4054054054000003E-2</c:v>
                </c:pt>
                <c:pt idx="294">
                  <c:v>5.2631578946999998E-2</c:v>
                </c:pt>
                <c:pt idx="295">
                  <c:v>5.2631578946999998E-2</c:v>
                </c:pt>
                <c:pt idx="296">
                  <c:v>8.3333333332999998E-2</c:v>
                </c:pt>
                <c:pt idx="297">
                  <c:v>4.3478260869000002E-2</c:v>
                </c:pt>
                <c:pt idx="298">
                  <c:v>5.2631578946999998E-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9">
                  <c:v>0.111111111111</c:v>
                </c:pt>
                <c:pt idx="310">
                  <c:v>0.111111111111</c:v>
                </c:pt>
                <c:pt idx="311">
                  <c:v>0.111111111111</c:v>
                </c:pt>
                <c:pt idx="312">
                  <c:v>0.2</c:v>
                </c:pt>
                <c:pt idx="313">
                  <c:v>0.181818181818</c:v>
                </c:pt>
                <c:pt idx="314">
                  <c:v>0.14285714285699999</c:v>
                </c:pt>
                <c:pt idx="316">
                  <c:v>0.13333333333299999</c:v>
                </c:pt>
                <c:pt idx="317">
                  <c:v>8.3333333332999998E-2</c:v>
                </c:pt>
                <c:pt idx="318">
                  <c:v>0.15384615384600001</c:v>
                </c:pt>
                <c:pt idx="319">
                  <c:v>0.181818181818</c:v>
                </c:pt>
                <c:pt idx="320">
                  <c:v>0.1</c:v>
                </c:pt>
                <c:pt idx="321">
                  <c:v>0.14285714285699999</c:v>
                </c:pt>
                <c:pt idx="322">
                  <c:v>0.15384615384600001</c:v>
                </c:pt>
                <c:pt idx="323">
                  <c:v>0.15384615384600001</c:v>
                </c:pt>
                <c:pt idx="324">
                  <c:v>0.14285714285699999</c:v>
                </c:pt>
                <c:pt idx="325">
                  <c:v>0.166666666666</c:v>
                </c:pt>
                <c:pt idx="326">
                  <c:v>0.14285714285699999</c:v>
                </c:pt>
                <c:pt idx="327">
                  <c:v>0.13333333333299999</c:v>
                </c:pt>
                <c:pt idx="328">
                  <c:v>0.125</c:v>
                </c:pt>
                <c:pt idx="329">
                  <c:v>0.14285714285699999</c:v>
                </c:pt>
                <c:pt idx="330">
                  <c:v>0.176470588235</c:v>
                </c:pt>
                <c:pt idx="331">
                  <c:v>0.2</c:v>
                </c:pt>
                <c:pt idx="332">
                  <c:v>0.210526315789</c:v>
                </c:pt>
                <c:pt idx="333">
                  <c:v>0.23529411764700001</c:v>
                </c:pt>
                <c:pt idx="334">
                  <c:v>0.25</c:v>
                </c:pt>
                <c:pt idx="335">
                  <c:v>0.1875</c:v>
                </c:pt>
                <c:pt idx="336">
                  <c:v>0.1875</c:v>
                </c:pt>
                <c:pt idx="337">
                  <c:v>0.166666666666</c:v>
                </c:pt>
                <c:pt idx="338">
                  <c:v>0.15384615384600001</c:v>
                </c:pt>
                <c:pt idx="339">
                  <c:v>0.117647058823</c:v>
                </c:pt>
                <c:pt idx="340">
                  <c:v>0.1</c:v>
                </c:pt>
                <c:pt idx="341">
                  <c:v>9.5238095238000003E-2</c:v>
                </c:pt>
                <c:pt idx="342">
                  <c:v>0.111111111111</c:v>
                </c:pt>
                <c:pt idx="343">
                  <c:v>9.5238095238000003E-2</c:v>
                </c:pt>
                <c:pt idx="344">
                  <c:v>0.117647058823</c:v>
                </c:pt>
                <c:pt idx="345">
                  <c:v>0.105263157894</c:v>
                </c:pt>
                <c:pt idx="346">
                  <c:v>6.25E-2</c:v>
                </c:pt>
                <c:pt idx="347">
                  <c:v>5.8823529410999997E-2</c:v>
                </c:pt>
                <c:pt idx="348">
                  <c:v>0.111111111111</c:v>
                </c:pt>
                <c:pt idx="349">
                  <c:v>0.105263157894</c:v>
                </c:pt>
                <c:pt idx="350">
                  <c:v>0.1</c:v>
                </c:pt>
                <c:pt idx="351">
                  <c:v>4.7619047619000002E-2</c:v>
                </c:pt>
                <c:pt idx="352">
                  <c:v>0.13043478260800001</c:v>
                </c:pt>
                <c:pt idx="353">
                  <c:v>0.166666666666</c:v>
                </c:pt>
                <c:pt idx="354">
                  <c:v>0.181818181818</c:v>
                </c:pt>
                <c:pt idx="355">
                  <c:v>0.13043478260800001</c:v>
                </c:pt>
                <c:pt idx="356">
                  <c:v>0.16</c:v>
                </c:pt>
                <c:pt idx="357">
                  <c:v>0.18518518518499999</c:v>
                </c:pt>
                <c:pt idx="358">
                  <c:v>0.2</c:v>
                </c:pt>
                <c:pt idx="359">
                  <c:v>0.137931034482</c:v>
                </c:pt>
                <c:pt idx="360">
                  <c:v>0.10344827586200001</c:v>
                </c:pt>
                <c:pt idx="361">
                  <c:v>0.10344827586200001</c:v>
                </c:pt>
                <c:pt idx="362">
                  <c:v>0.10344827586200001</c:v>
                </c:pt>
                <c:pt idx="363">
                  <c:v>8.3333333332999998E-2</c:v>
                </c:pt>
                <c:pt idx="364">
                  <c:v>4.5454545454000003E-2</c:v>
                </c:pt>
                <c:pt idx="365">
                  <c:v>0.04</c:v>
                </c:pt>
                <c:pt idx="366">
                  <c:v>3.8461538460999999E-2</c:v>
                </c:pt>
                <c:pt idx="367">
                  <c:v>0.12121212121200001</c:v>
                </c:pt>
                <c:pt idx="368">
                  <c:v>0.117647058823</c:v>
                </c:pt>
                <c:pt idx="369">
                  <c:v>0.166666666666</c:v>
                </c:pt>
                <c:pt idx="370">
                  <c:v>0.127659574468</c:v>
                </c:pt>
                <c:pt idx="371">
                  <c:v>0.13725490196000001</c:v>
                </c:pt>
                <c:pt idx="372">
                  <c:v>0.127659574468</c:v>
                </c:pt>
                <c:pt idx="373">
                  <c:v>0.11538461538399999</c:v>
                </c:pt>
                <c:pt idx="374">
                  <c:v>8.1632653060999996E-2</c:v>
                </c:pt>
                <c:pt idx="375">
                  <c:v>7.8431372548999997E-2</c:v>
                </c:pt>
                <c:pt idx="376">
                  <c:v>5.7692307691999997E-2</c:v>
                </c:pt>
                <c:pt idx="377">
                  <c:v>0.13207547169799999</c:v>
                </c:pt>
                <c:pt idx="378">
                  <c:v>0.107142857142</c:v>
                </c:pt>
                <c:pt idx="379">
                  <c:v>9.8360655736999994E-2</c:v>
                </c:pt>
                <c:pt idx="380">
                  <c:v>0.101694915254</c:v>
                </c:pt>
                <c:pt idx="381">
                  <c:v>0.08</c:v>
                </c:pt>
                <c:pt idx="382">
                  <c:v>0.08</c:v>
                </c:pt>
                <c:pt idx="383">
                  <c:v>8.2191780820999996E-2</c:v>
                </c:pt>
                <c:pt idx="384">
                  <c:v>2.6666666666E-2</c:v>
                </c:pt>
                <c:pt idx="385">
                  <c:v>2.6666666666E-2</c:v>
                </c:pt>
                <c:pt idx="386">
                  <c:v>2.7027027027000002E-2</c:v>
                </c:pt>
                <c:pt idx="387">
                  <c:v>3.8461538460999999E-2</c:v>
                </c:pt>
                <c:pt idx="388">
                  <c:v>2.9411764704999999E-2</c:v>
                </c:pt>
                <c:pt idx="389">
                  <c:v>5.4794520547E-2</c:v>
                </c:pt>
                <c:pt idx="390">
                  <c:v>5.3333333332999999E-2</c:v>
                </c:pt>
                <c:pt idx="391">
                  <c:v>6.4102564102000006E-2</c:v>
                </c:pt>
                <c:pt idx="392">
                  <c:v>9.3333333332999993E-2</c:v>
                </c:pt>
                <c:pt idx="393">
                  <c:v>9.6385542167999994E-2</c:v>
                </c:pt>
                <c:pt idx="394">
                  <c:v>0.112359550561</c:v>
                </c:pt>
                <c:pt idx="395">
                  <c:v>0.12790697674400001</c:v>
                </c:pt>
                <c:pt idx="396">
                  <c:v>0.117647058823</c:v>
                </c:pt>
                <c:pt idx="397">
                  <c:v>0.13978494623599999</c:v>
                </c:pt>
                <c:pt idx="398">
                  <c:v>0.11428571428500001</c:v>
                </c:pt>
                <c:pt idx="399">
                  <c:v>0.13675213675199999</c:v>
                </c:pt>
                <c:pt idx="400">
                  <c:v>0.16541353383400001</c:v>
                </c:pt>
                <c:pt idx="401">
                  <c:v>0.15942028985500001</c:v>
                </c:pt>
                <c:pt idx="402">
                  <c:v>0.145695364238</c:v>
                </c:pt>
                <c:pt idx="403">
                  <c:v>0.14374999999999999</c:v>
                </c:pt>
                <c:pt idx="404">
                  <c:v>0.12048192771000001</c:v>
                </c:pt>
                <c:pt idx="405">
                  <c:v>0.135135135135</c:v>
                </c:pt>
                <c:pt idx="406">
                  <c:v>0.108374384236</c:v>
                </c:pt>
                <c:pt idx="407">
                  <c:v>9.1346153846000006E-2</c:v>
                </c:pt>
                <c:pt idx="408">
                  <c:v>9.9547511312E-2</c:v>
                </c:pt>
                <c:pt idx="409">
                  <c:v>9.2741935482999999E-2</c:v>
                </c:pt>
                <c:pt idx="410">
                  <c:v>8.1481481480999998E-2</c:v>
                </c:pt>
                <c:pt idx="411">
                  <c:v>7.7490774907000001E-2</c:v>
                </c:pt>
                <c:pt idx="412">
                  <c:v>6.6666666666000005E-2</c:v>
                </c:pt>
                <c:pt idx="413">
                  <c:v>5.3191489361000002E-2</c:v>
                </c:pt>
                <c:pt idx="414">
                  <c:v>4.7381546134000002E-2</c:v>
                </c:pt>
                <c:pt idx="415">
                  <c:v>3.3259423502999999E-2</c:v>
                </c:pt>
                <c:pt idx="416">
                  <c:v>3.3864541832000002E-2</c:v>
                </c:pt>
                <c:pt idx="417">
                  <c:v>3.9923954371999998E-2</c:v>
                </c:pt>
                <c:pt idx="418">
                  <c:v>5.4577464787999998E-2</c:v>
                </c:pt>
                <c:pt idx="419">
                  <c:v>4.9520766772999998E-2</c:v>
                </c:pt>
                <c:pt idx="420">
                  <c:v>4.4755244755E-2</c:v>
                </c:pt>
                <c:pt idx="421">
                  <c:v>4.7500000000000001E-2</c:v>
                </c:pt>
                <c:pt idx="422">
                  <c:v>4.5735475896000001E-2</c:v>
                </c:pt>
                <c:pt idx="423">
                  <c:v>4.2792792792000003E-2</c:v>
                </c:pt>
                <c:pt idx="424">
                  <c:v>4.1577825158999999E-2</c:v>
                </c:pt>
                <c:pt idx="425">
                  <c:v>3.5105315946999997E-2</c:v>
                </c:pt>
                <c:pt idx="426">
                  <c:v>3.8732394365999998E-2</c:v>
                </c:pt>
                <c:pt idx="427">
                  <c:v>4.6128500822999997E-2</c:v>
                </c:pt>
                <c:pt idx="428">
                  <c:v>4.0060468630999997E-2</c:v>
                </c:pt>
                <c:pt idx="429">
                  <c:v>4.1750841750000003E-2</c:v>
                </c:pt>
                <c:pt idx="430">
                  <c:v>4.7120418848000001E-2</c:v>
                </c:pt>
                <c:pt idx="431">
                  <c:v>4.9180327868000001E-2</c:v>
                </c:pt>
                <c:pt idx="432">
                  <c:v>4.9270072992000001E-2</c:v>
                </c:pt>
                <c:pt idx="433">
                  <c:v>4.7785547785E-2</c:v>
                </c:pt>
                <c:pt idx="434">
                  <c:v>4.4833242208000001E-2</c:v>
                </c:pt>
                <c:pt idx="435">
                  <c:v>4.8988285409999999E-2</c:v>
                </c:pt>
                <c:pt idx="436">
                  <c:v>4.8403707518000001E-2</c:v>
                </c:pt>
                <c:pt idx="437">
                  <c:v>4.4089147285999997E-2</c:v>
                </c:pt>
                <c:pt idx="438">
                  <c:v>4.2775665398999997E-2</c:v>
                </c:pt>
                <c:pt idx="439">
                  <c:v>4.2662916080000002E-2</c:v>
                </c:pt>
                <c:pt idx="440">
                  <c:v>3.8817820907999998E-2</c:v>
                </c:pt>
                <c:pt idx="441">
                  <c:v>3.6402569592999999E-2</c:v>
                </c:pt>
                <c:pt idx="442">
                  <c:v>3.9638087030999997E-2</c:v>
                </c:pt>
                <c:pt idx="443">
                  <c:v>4.0066088393E-2</c:v>
                </c:pt>
                <c:pt idx="444">
                  <c:v>4.0125885128999998E-2</c:v>
                </c:pt>
                <c:pt idx="445">
                  <c:v>4.2440318301999999E-2</c:v>
                </c:pt>
                <c:pt idx="446">
                  <c:v>4.5901639344000003E-2</c:v>
                </c:pt>
                <c:pt idx="447">
                  <c:v>5.0660007134999997E-2</c:v>
                </c:pt>
                <c:pt idx="448">
                  <c:v>5.1282051282000002E-2</c:v>
                </c:pt>
                <c:pt idx="449">
                  <c:v>4.5424403182999999E-2</c:v>
                </c:pt>
                <c:pt idx="450">
                  <c:v>4.5080618624E-2</c:v>
                </c:pt>
                <c:pt idx="451">
                  <c:v>4.6366326866E-2</c:v>
                </c:pt>
                <c:pt idx="452">
                  <c:v>4.2636930141E-2</c:v>
                </c:pt>
                <c:pt idx="453">
                  <c:v>3.9209225700000003E-2</c:v>
                </c:pt>
                <c:pt idx="454">
                  <c:v>3.7591483698999999E-2</c:v>
                </c:pt>
                <c:pt idx="455">
                  <c:v>3.8539553752000001E-2</c:v>
                </c:pt>
                <c:pt idx="456">
                  <c:v>4.0149710785000001E-2</c:v>
                </c:pt>
                <c:pt idx="457">
                  <c:v>3.8513513513000003E-2</c:v>
                </c:pt>
                <c:pt idx="458">
                  <c:v>3.8700760192999999E-2</c:v>
                </c:pt>
                <c:pt idx="459">
                  <c:v>3.9422738472E-2</c:v>
                </c:pt>
                <c:pt idx="460">
                  <c:v>3.7889518412999999E-2</c:v>
                </c:pt>
                <c:pt idx="461">
                  <c:v>3.7593984961999997E-2</c:v>
                </c:pt>
                <c:pt idx="462">
                  <c:v>3.6039315617000002E-2</c:v>
                </c:pt>
                <c:pt idx="463">
                  <c:v>3.4660766960999997E-2</c:v>
                </c:pt>
                <c:pt idx="464">
                  <c:v>3.4906022246999999E-2</c:v>
                </c:pt>
                <c:pt idx="465">
                  <c:v>3.1538461538000002E-2</c:v>
                </c:pt>
                <c:pt idx="466">
                  <c:v>3.2774092859000001E-2</c:v>
                </c:pt>
                <c:pt idx="467">
                  <c:v>3.4786085564999999E-2</c:v>
                </c:pt>
                <c:pt idx="468">
                  <c:v>3.4382767191000002E-2</c:v>
                </c:pt>
                <c:pt idx="469">
                  <c:v>3.9608177171999999E-2</c:v>
                </c:pt>
                <c:pt idx="470">
                  <c:v>3.8686459739E-2</c:v>
                </c:pt>
                <c:pt idx="471">
                  <c:v>3.9631336405000002E-2</c:v>
                </c:pt>
                <c:pt idx="472">
                  <c:v>4.1003376748000003E-2</c:v>
                </c:pt>
                <c:pt idx="473">
                  <c:v>4.0378863409000001E-2</c:v>
                </c:pt>
                <c:pt idx="474">
                  <c:v>4.0763673889999998E-2</c:v>
                </c:pt>
                <c:pt idx="475">
                  <c:v>4.3526785714000003E-2</c:v>
                </c:pt>
                <c:pt idx="476">
                  <c:v>4.0445486518E-2</c:v>
                </c:pt>
                <c:pt idx="477">
                  <c:v>4.4188861985000001E-2</c:v>
                </c:pt>
                <c:pt idx="478">
                  <c:v>5.0098879366999999E-2</c:v>
                </c:pt>
                <c:pt idx="479">
                  <c:v>5.4216867469E-2</c:v>
                </c:pt>
                <c:pt idx="480">
                  <c:v>5.3738317756999998E-2</c:v>
                </c:pt>
                <c:pt idx="481">
                  <c:v>5.5292259082999999E-2</c:v>
                </c:pt>
                <c:pt idx="482">
                  <c:v>5.3772070626E-2</c:v>
                </c:pt>
                <c:pt idx="483">
                  <c:v>6.1293031066000002E-2</c:v>
                </c:pt>
                <c:pt idx="484">
                  <c:v>6.5630397236000004E-2</c:v>
                </c:pt>
                <c:pt idx="485">
                  <c:v>6.2062937062000001E-2</c:v>
                </c:pt>
                <c:pt idx="486">
                  <c:v>6.0528559248999997E-2</c:v>
                </c:pt>
                <c:pt idx="487">
                  <c:v>6.7885117492999997E-2</c:v>
                </c:pt>
                <c:pt idx="488">
                  <c:v>6.5777777777000002E-2</c:v>
                </c:pt>
                <c:pt idx="489">
                  <c:v>6.3688212926999999E-2</c:v>
                </c:pt>
                <c:pt idx="490">
                  <c:v>5.2427184465999997E-2</c:v>
                </c:pt>
                <c:pt idx="491">
                  <c:v>4.5592705167000001E-2</c:v>
                </c:pt>
                <c:pt idx="492">
                  <c:v>4.7219307449999998E-2</c:v>
                </c:pt>
                <c:pt idx="493">
                  <c:v>5.2972972972000001E-2</c:v>
                </c:pt>
                <c:pt idx="494">
                  <c:v>4.6637744033999999E-2</c:v>
                </c:pt>
                <c:pt idx="495">
                  <c:v>4.8054919908000003E-2</c:v>
                </c:pt>
                <c:pt idx="496">
                  <c:v>6.1124694376000002E-2</c:v>
                </c:pt>
                <c:pt idx="497">
                  <c:v>6.6319895968000003E-2</c:v>
                </c:pt>
                <c:pt idx="498">
                  <c:v>7.2649572649000002E-2</c:v>
                </c:pt>
                <c:pt idx="499">
                  <c:v>7.2916666665999996E-2</c:v>
                </c:pt>
                <c:pt idx="500">
                  <c:v>7.1202531644999997E-2</c:v>
                </c:pt>
                <c:pt idx="501">
                  <c:v>7.1672354948000006E-2</c:v>
                </c:pt>
                <c:pt idx="502">
                  <c:v>6.8181818180999998E-2</c:v>
                </c:pt>
                <c:pt idx="503">
                  <c:v>5.6798623063000001E-2</c:v>
                </c:pt>
                <c:pt idx="504">
                  <c:v>5.1693404633999997E-2</c:v>
                </c:pt>
                <c:pt idx="505">
                  <c:v>5.4607508531999999E-2</c:v>
                </c:pt>
                <c:pt idx="506">
                  <c:v>5.4098360654999997E-2</c:v>
                </c:pt>
                <c:pt idx="507">
                  <c:v>5.4652880353999997E-2</c:v>
                </c:pt>
                <c:pt idx="508">
                  <c:v>5.6241426610999998E-2</c:v>
                </c:pt>
                <c:pt idx="509">
                  <c:v>6.7003792667000003E-2</c:v>
                </c:pt>
                <c:pt idx="510">
                  <c:v>6.5819861431000007E-2</c:v>
                </c:pt>
                <c:pt idx="511">
                  <c:v>6.0165975103000001E-2</c:v>
                </c:pt>
                <c:pt idx="512">
                  <c:v>5.2728954671E-2</c:v>
                </c:pt>
                <c:pt idx="513">
                  <c:v>4.8400328137000001E-2</c:v>
                </c:pt>
                <c:pt idx="514">
                  <c:v>4.6037735848999999E-2</c:v>
                </c:pt>
                <c:pt idx="515">
                  <c:v>4.6142754144999999E-2</c:v>
                </c:pt>
                <c:pt idx="516">
                  <c:v>4.0410958903999997E-2</c:v>
                </c:pt>
                <c:pt idx="517">
                  <c:v>4.1301627032999999E-2</c:v>
                </c:pt>
                <c:pt idx="518">
                  <c:v>4.3968432919000003E-2</c:v>
                </c:pt>
                <c:pt idx="519">
                  <c:v>4.3613707165000001E-2</c:v>
                </c:pt>
                <c:pt idx="520">
                  <c:v>4.4926804644E-2</c:v>
                </c:pt>
                <c:pt idx="521">
                  <c:v>4.3436293436000001E-2</c:v>
                </c:pt>
                <c:pt idx="522">
                  <c:v>4.5454545454000003E-2</c:v>
                </c:pt>
                <c:pt idx="523">
                  <c:v>4.3558850787000003E-2</c:v>
                </c:pt>
                <c:pt idx="524">
                  <c:v>3.8095238094999997E-2</c:v>
                </c:pt>
                <c:pt idx="525">
                  <c:v>3.5439795045999999E-2</c:v>
                </c:pt>
                <c:pt idx="526">
                  <c:v>3.8993710691000001E-2</c:v>
                </c:pt>
                <c:pt idx="527">
                  <c:v>3.8665038664999998E-2</c:v>
                </c:pt>
                <c:pt idx="528">
                  <c:v>4.0448538244999999E-2</c:v>
                </c:pt>
                <c:pt idx="529">
                  <c:v>3.5945072697000001E-2</c:v>
                </c:pt>
                <c:pt idx="530">
                  <c:v>3.5959595959000001E-2</c:v>
                </c:pt>
                <c:pt idx="531">
                  <c:v>3.9724361572000003E-2</c:v>
                </c:pt>
                <c:pt idx="532">
                  <c:v>4.1017227235000002E-2</c:v>
                </c:pt>
                <c:pt idx="533">
                  <c:v>3.6789297658E-2</c:v>
                </c:pt>
                <c:pt idx="534">
                  <c:v>3.6926994906000002E-2</c:v>
                </c:pt>
                <c:pt idx="535">
                  <c:v>3.5792230467000002E-2</c:v>
                </c:pt>
                <c:pt idx="536">
                  <c:v>3.8834951456000001E-2</c:v>
                </c:pt>
                <c:pt idx="537">
                  <c:v>4.0852575487999997E-2</c:v>
                </c:pt>
                <c:pt idx="538">
                  <c:v>4.1165587418999998E-2</c:v>
                </c:pt>
                <c:pt idx="539">
                  <c:v>4.1247002397999999E-2</c:v>
                </c:pt>
                <c:pt idx="540">
                  <c:v>4.65E-2</c:v>
                </c:pt>
                <c:pt idx="541">
                  <c:v>4.6389035318000003E-2</c:v>
                </c:pt>
                <c:pt idx="542">
                  <c:v>4.5930232558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7A-4746-9CFE-A5D4DF73D9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JIP_v_den_pozitivity65_7dni_z_HOSP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.3214285715100003</c:v>
                </c:pt>
                <c:pt idx="4">
                  <c:v>4.1134020618599996</c:v>
                </c:pt>
                <c:pt idx="5">
                  <c:v>2.4439252336899999</c:v>
                </c:pt>
                <c:pt idx="6">
                  <c:v>0.60040983605999998</c:v>
                </c:pt>
                <c:pt idx="7">
                  <c:v>0.14285714286000001</c:v>
                </c:pt>
                <c:pt idx="8">
                  <c:v>0.37959183673000002</c:v>
                </c:pt>
                <c:pt idx="9">
                  <c:v>-0.11711711711</c:v>
                </c:pt>
                <c:pt idx="10">
                  <c:v>-0.13905325444</c:v>
                </c:pt>
                <c:pt idx="11">
                  <c:v>-8.4491978610000004E-2</c:v>
                </c:pt>
                <c:pt idx="12">
                  <c:v>-0.12768130745</c:v>
                </c:pt>
                <c:pt idx="13">
                  <c:v>0.13936170211000001</c:v>
                </c:pt>
                <c:pt idx="14">
                  <c:v>6.9646569640000003E-2</c:v>
                </c:pt>
                <c:pt idx="15">
                  <c:v>-0.13423645318999999</c:v>
                </c:pt>
                <c:pt idx="16">
                  <c:v>0.18546576880999999</c:v>
                </c:pt>
                <c:pt idx="17">
                  <c:v>-0.18530351437000001</c:v>
                </c:pt>
                <c:pt idx="18">
                  <c:v>-6.2368310150000002E-2</c:v>
                </c:pt>
                <c:pt idx="19">
                  <c:v>-5.4801407730000001E-2</c:v>
                </c:pt>
                <c:pt idx="20">
                  <c:v>-0.14657738095</c:v>
                </c:pt>
                <c:pt idx="21">
                  <c:v>7.3790002640000005E-2</c:v>
                </c:pt>
                <c:pt idx="22">
                  <c:v>9.4930875570000003E-2</c:v>
                </c:pt>
                <c:pt idx="23">
                  <c:v>0.25919540229999999</c:v>
                </c:pt>
                <c:pt idx="24">
                  <c:v>0.40473572939000002</c:v>
                </c:pt>
                <c:pt idx="25">
                  <c:v>0.17</c:v>
                </c:pt>
                <c:pt idx="26">
                  <c:v>0.16055017578</c:v>
                </c:pt>
                <c:pt idx="27">
                  <c:v>0.13714285713999999</c:v>
                </c:pt>
                <c:pt idx="28">
                  <c:v>-8.976510067E-2</c:v>
                </c:pt>
                <c:pt idx="29">
                  <c:v>-0.23280423279000001</c:v>
                </c:pt>
                <c:pt idx="30">
                  <c:v>-0.30050280981999999</c:v>
                </c:pt>
                <c:pt idx="31">
                  <c:v>-0.31034482758999998</c:v>
                </c:pt>
                <c:pt idx="32">
                  <c:v>-0.13382840046</c:v>
                </c:pt>
                <c:pt idx="33">
                  <c:v>-0.12561576355000001</c:v>
                </c:pt>
                <c:pt idx="34">
                  <c:v>-1.4040296920000001E-2</c:v>
                </c:pt>
                <c:pt idx="35">
                  <c:v>0.19234543670000001</c:v>
                </c:pt>
                <c:pt idx="36">
                  <c:v>0.31604278074999997</c:v>
                </c:pt>
                <c:pt idx="37">
                  <c:v>0.24582338902</c:v>
                </c:pt>
                <c:pt idx="38">
                  <c:v>7.1528751759999995E-2</c:v>
                </c:pt>
                <c:pt idx="39">
                  <c:v>-4.2406926230000003E-2</c:v>
                </c:pt>
                <c:pt idx="40">
                  <c:v>-2.6169966239999998E-2</c:v>
                </c:pt>
                <c:pt idx="41">
                  <c:v>-0.14307376506</c:v>
                </c:pt>
                <c:pt idx="42">
                  <c:v>-0.25268258913000002</c:v>
                </c:pt>
                <c:pt idx="43">
                  <c:v>-0.23869120297999999</c:v>
                </c:pt>
                <c:pt idx="44">
                  <c:v>-0.24787818272000001</c:v>
                </c:pt>
                <c:pt idx="45">
                  <c:v>-0.23932903206</c:v>
                </c:pt>
                <c:pt idx="46">
                  <c:v>-0.31118804091000002</c:v>
                </c:pt>
                <c:pt idx="47">
                  <c:v>-0.27805810131999997</c:v>
                </c:pt>
                <c:pt idx="48">
                  <c:v>-0.24613225844</c:v>
                </c:pt>
                <c:pt idx="49">
                  <c:v>-0.17651206716000001</c:v>
                </c:pt>
                <c:pt idx="50">
                  <c:v>-0.20369243599</c:v>
                </c:pt>
                <c:pt idx="51">
                  <c:v>-0.15706995671999999</c:v>
                </c:pt>
                <c:pt idx="52">
                  <c:v>-5.9266680789999998E-2</c:v>
                </c:pt>
                <c:pt idx="53">
                  <c:v>-5.6184811500000001E-3</c:v>
                </c:pt>
                <c:pt idx="54">
                  <c:v>4.5285627260000003E-2</c:v>
                </c:pt>
                <c:pt idx="55">
                  <c:v>6.8264082589999997E-2</c:v>
                </c:pt>
                <c:pt idx="56">
                  <c:v>7.5407054880000005E-2</c:v>
                </c:pt>
                <c:pt idx="57">
                  <c:v>1.9863298200000001E-2</c:v>
                </c:pt>
                <c:pt idx="58">
                  <c:v>4.6716732849999998E-2</c:v>
                </c:pt>
                <c:pt idx="59">
                  <c:v>-1.8509547670000001E-2</c:v>
                </c:pt>
                <c:pt idx="60">
                  <c:v>-2.307667448E-2</c:v>
                </c:pt>
                <c:pt idx="61">
                  <c:v>-5.9712145360000003E-2</c:v>
                </c:pt>
                <c:pt idx="62">
                  <c:v>-6.4491983769999997E-2</c:v>
                </c:pt>
                <c:pt idx="63">
                  <c:v>-7.6930048469999998E-2</c:v>
                </c:pt>
                <c:pt idx="64">
                  <c:v>-7.4385685219999997E-2</c:v>
                </c:pt>
                <c:pt idx="65">
                  <c:v>-4.2045031740000002E-2</c:v>
                </c:pt>
                <c:pt idx="66">
                  <c:v>-6.5702628109999994E-2</c:v>
                </c:pt>
                <c:pt idx="67">
                  <c:v>-9.6481152959999997E-2</c:v>
                </c:pt>
                <c:pt idx="68">
                  <c:v>-0.10169255738000001</c:v>
                </c:pt>
                <c:pt idx="69">
                  <c:v>-7.7522573560000002E-2</c:v>
                </c:pt>
                <c:pt idx="70">
                  <c:v>-7.3835836870000005E-2</c:v>
                </c:pt>
                <c:pt idx="71">
                  <c:v>-9.9122464889999998E-2</c:v>
                </c:pt>
                <c:pt idx="72">
                  <c:v>-0.17028966001000001</c:v>
                </c:pt>
                <c:pt idx="73">
                  <c:v>-0.17412670935999999</c:v>
                </c:pt>
                <c:pt idx="74">
                  <c:v>-0.16109519348000001</c:v>
                </c:pt>
                <c:pt idx="75">
                  <c:v>-0.16620458848</c:v>
                </c:pt>
                <c:pt idx="76">
                  <c:v>-0.20707099906000001</c:v>
                </c:pt>
                <c:pt idx="77">
                  <c:v>-0.17402976132</c:v>
                </c:pt>
                <c:pt idx="78">
                  <c:v>-7.7311111469999999E-2</c:v>
                </c:pt>
                <c:pt idx="79">
                  <c:v>-8.8373960700000004E-2</c:v>
                </c:pt>
                <c:pt idx="80">
                  <c:v>-1.017321381E-2</c:v>
                </c:pt>
                <c:pt idx="81">
                  <c:v>7.0994250549999999E-2</c:v>
                </c:pt>
                <c:pt idx="82">
                  <c:v>9.9707936019999999E-2</c:v>
                </c:pt>
                <c:pt idx="83">
                  <c:v>3.080558538E-2</c:v>
                </c:pt>
                <c:pt idx="84">
                  <c:v>-3.0547226399999999E-2</c:v>
                </c:pt>
                <c:pt idx="85">
                  <c:v>0.10987791342</c:v>
                </c:pt>
                <c:pt idx="86">
                  <c:v>8.8325753359999995E-2</c:v>
                </c:pt>
                <c:pt idx="87">
                  <c:v>6.4576134899999998E-3</c:v>
                </c:pt>
                <c:pt idx="88">
                  <c:v>-1.7087725080000001E-2</c:v>
                </c:pt>
                <c:pt idx="89">
                  <c:v>4.8801369839999997E-2</c:v>
                </c:pt>
                <c:pt idx="90">
                  <c:v>0.23670027264999999</c:v>
                </c:pt>
                <c:pt idx="91">
                  <c:v>0.1324859813</c:v>
                </c:pt>
                <c:pt idx="92">
                  <c:v>9.5047528519999994E-2</c:v>
                </c:pt>
                <c:pt idx="93">
                  <c:v>0.24443835562999999</c:v>
                </c:pt>
                <c:pt idx="94">
                  <c:v>0.30407158836999998</c:v>
                </c:pt>
                <c:pt idx="95">
                  <c:v>0.26702269695000003</c:v>
                </c:pt>
                <c:pt idx="96">
                  <c:v>0.12966115265</c:v>
                </c:pt>
                <c:pt idx="97">
                  <c:v>5.3020051669999999E-2</c:v>
                </c:pt>
                <c:pt idx="98">
                  <c:v>7.7799833509999999E-2</c:v>
                </c:pt>
                <c:pt idx="99">
                  <c:v>-9.1966969849999997E-2</c:v>
                </c:pt>
                <c:pt idx="100">
                  <c:v>-0.18143800523</c:v>
                </c:pt>
                <c:pt idx="101">
                  <c:v>-0.17434289848000001</c:v>
                </c:pt>
                <c:pt idx="102">
                  <c:v>-0.17585956853000001</c:v>
                </c:pt>
                <c:pt idx="103">
                  <c:v>-0.11441856005000001</c:v>
                </c:pt>
                <c:pt idx="104">
                  <c:v>-9.3784488050000003E-2</c:v>
                </c:pt>
                <c:pt idx="105">
                  <c:v>-0.11966377428</c:v>
                </c:pt>
                <c:pt idx="106">
                  <c:v>3.1019714600000001E-2</c:v>
                </c:pt>
                <c:pt idx="107">
                  <c:v>8.3138546500000007E-3</c:v>
                </c:pt>
                <c:pt idx="108">
                  <c:v>-0.13172385281999999</c:v>
                </c:pt>
                <c:pt idx="109">
                  <c:v>-0.13363787375</c:v>
                </c:pt>
                <c:pt idx="110">
                  <c:v>-0.17411931507</c:v>
                </c:pt>
                <c:pt idx="111">
                  <c:v>-0.17580368098999999</c:v>
                </c:pt>
                <c:pt idx="112">
                  <c:v>-0.10652834008000001</c:v>
                </c:pt>
                <c:pt idx="113">
                  <c:v>-0.11512744722</c:v>
                </c:pt>
                <c:pt idx="114">
                  <c:v>4.1221739129999997E-2</c:v>
                </c:pt>
                <c:pt idx="115">
                  <c:v>0.19817401623</c:v>
                </c:pt>
                <c:pt idx="116">
                  <c:v>0.20371086199999999</c:v>
                </c:pt>
                <c:pt idx="117">
                  <c:v>0.33372172183999999</c:v>
                </c:pt>
                <c:pt idx="118">
                  <c:v>0.23471938197</c:v>
                </c:pt>
                <c:pt idx="119">
                  <c:v>0.27089159716</c:v>
                </c:pt>
                <c:pt idx="120">
                  <c:v>0.23794569962000001</c:v>
                </c:pt>
                <c:pt idx="121">
                  <c:v>9.4063329010000002E-2</c:v>
                </c:pt>
                <c:pt idx="122">
                  <c:v>6.764212772E-2</c:v>
                </c:pt>
                <c:pt idx="123">
                  <c:v>3.0642475990000001E-2</c:v>
                </c:pt>
                <c:pt idx="124">
                  <c:v>-3.7318644669999998E-2</c:v>
                </c:pt>
                <c:pt idx="125">
                  <c:v>-7.1849998639999996E-2</c:v>
                </c:pt>
                <c:pt idx="126">
                  <c:v>-0.11507722335999999</c:v>
                </c:pt>
                <c:pt idx="127">
                  <c:v>-0.13565177722999999</c:v>
                </c:pt>
                <c:pt idx="128">
                  <c:v>-0.17255867671</c:v>
                </c:pt>
                <c:pt idx="129">
                  <c:v>-0.16001792918999999</c:v>
                </c:pt>
                <c:pt idx="130">
                  <c:v>-0.15927550347</c:v>
                </c:pt>
                <c:pt idx="131">
                  <c:v>-0.1116911738</c:v>
                </c:pt>
                <c:pt idx="132">
                  <c:v>-0.10838814014000001</c:v>
                </c:pt>
                <c:pt idx="133">
                  <c:v>-0.10576261022</c:v>
                </c:pt>
                <c:pt idx="134">
                  <c:v>-6.044477895E-2</c:v>
                </c:pt>
                <c:pt idx="135">
                  <c:v>1.2165694600000001E-2</c:v>
                </c:pt>
                <c:pt idx="136">
                  <c:v>2.3840638479999999E-2</c:v>
                </c:pt>
                <c:pt idx="137">
                  <c:v>-3.10315431E-3</c:v>
                </c:pt>
                <c:pt idx="138">
                  <c:v>-2.8575552019999999E-2</c:v>
                </c:pt>
                <c:pt idx="139">
                  <c:v>8.3424530339999997E-2</c:v>
                </c:pt>
                <c:pt idx="140">
                  <c:v>0.19167616285</c:v>
                </c:pt>
                <c:pt idx="141">
                  <c:v>0.13390757234</c:v>
                </c:pt>
                <c:pt idx="142">
                  <c:v>8.6478534580000002E-2</c:v>
                </c:pt>
                <c:pt idx="143">
                  <c:v>9.3149624360000002E-2</c:v>
                </c:pt>
                <c:pt idx="144">
                  <c:v>0.17681718354000001</c:v>
                </c:pt>
                <c:pt idx="145">
                  <c:v>0.10484896582</c:v>
                </c:pt>
                <c:pt idx="146">
                  <c:v>-6.1166825600000004E-3</c:v>
                </c:pt>
                <c:pt idx="147">
                  <c:v>-5.9092617510000001E-2</c:v>
                </c:pt>
                <c:pt idx="148">
                  <c:v>-0.12441723305000001</c:v>
                </c:pt>
                <c:pt idx="149">
                  <c:v>-0.10964084215</c:v>
                </c:pt>
                <c:pt idx="150">
                  <c:v>-8.094227977E-2</c:v>
                </c:pt>
                <c:pt idx="151">
                  <c:v>-9.5961638449999997E-2</c:v>
                </c:pt>
                <c:pt idx="152">
                  <c:v>-6.3510089480000004E-2</c:v>
                </c:pt>
                <c:pt idx="153">
                  <c:v>-2.8717924580000002E-2</c:v>
                </c:pt>
                <c:pt idx="154">
                  <c:v>-1.40993266E-2</c:v>
                </c:pt>
                <c:pt idx="155">
                  <c:v>7.1890238839999995E-2</c:v>
                </c:pt>
                <c:pt idx="156">
                  <c:v>7.5578738940000001E-2</c:v>
                </c:pt>
                <c:pt idx="157">
                  <c:v>7.193558672E-2</c:v>
                </c:pt>
                <c:pt idx="158">
                  <c:v>7.847844843E-2</c:v>
                </c:pt>
                <c:pt idx="159">
                  <c:v>3.4200716130000003E-2</c:v>
                </c:pt>
                <c:pt idx="160">
                  <c:v>0.11615908278000001</c:v>
                </c:pt>
                <c:pt idx="161">
                  <c:v>8.9722579529999999E-2</c:v>
                </c:pt>
                <c:pt idx="162">
                  <c:v>0.11741555187</c:v>
                </c:pt>
                <c:pt idx="163">
                  <c:v>4.7105002020000002E-2</c:v>
                </c:pt>
                <c:pt idx="164">
                  <c:v>-6.2069320169999997E-2</c:v>
                </c:pt>
                <c:pt idx="165">
                  <c:v>-7.1751239379999998E-2</c:v>
                </c:pt>
                <c:pt idx="166">
                  <c:v>-5.4893154399999998E-2</c:v>
                </c:pt>
                <c:pt idx="167">
                  <c:v>-0.12157881824</c:v>
                </c:pt>
                <c:pt idx="168">
                  <c:v>-0.15196142887</c:v>
                </c:pt>
                <c:pt idx="169">
                  <c:v>-6.2673691510000004E-2</c:v>
                </c:pt>
                <c:pt idx="170">
                  <c:v>-1.2555086400000001E-3</c:v>
                </c:pt>
                <c:pt idx="171">
                  <c:v>9.3768358800000007E-2</c:v>
                </c:pt>
                <c:pt idx="172">
                  <c:v>0.14618312996999999</c:v>
                </c:pt>
                <c:pt idx="173">
                  <c:v>0.21506534461999999</c:v>
                </c:pt>
                <c:pt idx="174">
                  <c:v>0.12173007677</c:v>
                </c:pt>
                <c:pt idx="175">
                  <c:v>2.8056954330000002E-2</c:v>
                </c:pt>
                <c:pt idx="176">
                  <c:v>-7.0759993899999997E-3</c:v>
                </c:pt>
                <c:pt idx="177">
                  <c:v>-1.428723222E-2</c:v>
                </c:pt>
                <c:pt idx="178">
                  <c:v>-0.10397106946</c:v>
                </c:pt>
                <c:pt idx="179">
                  <c:v>-0.17979649994999999</c:v>
                </c:pt>
                <c:pt idx="180">
                  <c:v>-0.17333261608</c:v>
                </c:pt>
                <c:pt idx="181">
                  <c:v>-9.2824164510000001E-2</c:v>
                </c:pt>
                <c:pt idx="182">
                  <c:v>9.2494810000000002E-4</c:v>
                </c:pt>
                <c:pt idx="183">
                  <c:v>-7.0193365970000005E-2</c:v>
                </c:pt>
                <c:pt idx="184">
                  <c:v>-3.3508543719999999E-2</c:v>
                </c:pt>
                <c:pt idx="185">
                  <c:v>5.624982379E-2</c:v>
                </c:pt>
                <c:pt idx="186">
                  <c:v>6.5247776349999995E-2</c:v>
                </c:pt>
                <c:pt idx="187">
                  <c:v>-8.9920793800000003E-3</c:v>
                </c:pt>
                <c:pt idx="188">
                  <c:v>-6.2415879430000001E-2</c:v>
                </c:pt>
                <c:pt idx="189">
                  <c:v>-0.11946709072</c:v>
                </c:pt>
                <c:pt idx="190">
                  <c:v>-9.4031764820000002E-2</c:v>
                </c:pt>
                <c:pt idx="191">
                  <c:v>-0.13297012549000001</c:v>
                </c:pt>
                <c:pt idx="192">
                  <c:v>-0.17065252780000001</c:v>
                </c:pt>
                <c:pt idx="193">
                  <c:v>-8.3522473750000006E-2</c:v>
                </c:pt>
                <c:pt idx="194">
                  <c:v>-7.4618538679999999E-2</c:v>
                </c:pt>
                <c:pt idx="195">
                  <c:v>-5.4810257590000001E-2</c:v>
                </c:pt>
                <c:pt idx="196">
                  <c:v>-5.8217348400000004E-3</c:v>
                </c:pt>
                <c:pt idx="197">
                  <c:v>-0.10631427976000001</c:v>
                </c:pt>
                <c:pt idx="198">
                  <c:v>-7.3772297269999995E-2</c:v>
                </c:pt>
                <c:pt idx="199">
                  <c:v>-9.7970562689999999E-2</c:v>
                </c:pt>
                <c:pt idx="200">
                  <c:v>-0.16908887307000001</c:v>
                </c:pt>
                <c:pt idx="201">
                  <c:v>-8.480938415E-2</c:v>
                </c:pt>
                <c:pt idx="202">
                  <c:v>-2.438124102E-2</c:v>
                </c:pt>
                <c:pt idx="203">
                  <c:v>3.7662521189999999E-2</c:v>
                </c:pt>
                <c:pt idx="204">
                  <c:v>0.17952322903000001</c:v>
                </c:pt>
                <c:pt idx="205">
                  <c:v>0.10823244552</c:v>
                </c:pt>
                <c:pt idx="206">
                  <c:v>0.17700895253000001</c:v>
                </c:pt>
                <c:pt idx="207">
                  <c:v>0.18576289709999999</c:v>
                </c:pt>
                <c:pt idx="208">
                  <c:v>4.6073717960000003E-2</c:v>
                </c:pt>
                <c:pt idx="209">
                  <c:v>-2.5904529999999999E-3</c:v>
                </c:pt>
                <c:pt idx="210">
                  <c:v>-0.10330547573</c:v>
                </c:pt>
                <c:pt idx="211">
                  <c:v>-0.10334695375</c:v>
                </c:pt>
                <c:pt idx="212">
                  <c:v>-6.2341418510000003E-2</c:v>
                </c:pt>
                <c:pt idx="213">
                  <c:v>-6.8749658290000001E-2</c:v>
                </c:pt>
                <c:pt idx="214">
                  <c:v>-0.10335902773</c:v>
                </c:pt>
                <c:pt idx="215">
                  <c:v>-0.10399635607</c:v>
                </c:pt>
                <c:pt idx="216">
                  <c:v>-5.443502653E-2</c:v>
                </c:pt>
                <c:pt idx="217">
                  <c:v>-4.0651818409999999E-2</c:v>
                </c:pt>
                <c:pt idx="218">
                  <c:v>-1.2868096920000001E-2</c:v>
                </c:pt>
                <c:pt idx="219">
                  <c:v>0.12851678180000001</c:v>
                </c:pt>
                <c:pt idx="220">
                  <c:v>0.16606823332000001</c:v>
                </c:pt>
                <c:pt idx="221">
                  <c:v>0.37808444901999999</c:v>
                </c:pt>
                <c:pt idx="222">
                  <c:v>0.47335948916999998</c:v>
                </c:pt>
                <c:pt idx="223">
                  <c:v>0.55248694072000004</c:v>
                </c:pt>
                <c:pt idx="224">
                  <c:v>0.65681216934999997</c:v>
                </c:pt>
                <c:pt idx="225">
                  <c:v>0.35416229494000001</c:v>
                </c:pt>
                <c:pt idx="226">
                  <c:v>0.15689279662</c:v>
                </c:pt>
                <c:pt idx="227">
                  <c:v>0.10340013474</c:v>
                </c:pt>
                <c:pt idx="228">
                  <c:v>-1.9164367349999999E-2</c:v>
                </c:pt>
                <c:pt idx="229">
                  <c:v>-0.15477185857</c:v>
                </c:pt>
                <c:pt idx="230">
                  <c:v>-0.19615648593000001</c:v>
                </c:pt>
                <c:pt idx="231">
                  <c:v>-0.23034205860000001</c:v>
                </c:pt>
                <c:pt idx="232">
                  <c:v>-5.3703985879999999E-2</c:v>
                </c:pt>
                <c:pt idx="233">
                  <c:v>5.3081006219999997E-2</c:v>
                </c:pt>
                <c:pt idx="234">
                  <c:v>0.17437789881999999</c:v>
                </c:pt>
                <c:pt idx="235">
                  <c:v>0.33718759410999999</c:v>
                </c:pt>
                <c:pt idx="236">
                  <c:v>0.40365949937000001</c:v>
                </c:pt>
                <c:pt idx="237">
                  <c:v>0.41232352553000001</c:v>
                </c:pt>
                <c:pt idx="238">
                  <c:v>0.31771894094000003</c:v>
                </c:pt>
                <c:pt idx="239">
                  <c:v>0.18608098338000001</c:v>
                </c:pt>
                <c:pt idx="240">
                  <c:v>-3.73583995E-3</c:v>
                </c:pt>
                <c:pt idx="241">
                  <c:v>-0.15256357594</c:v>
                </c:pt>
                <c:pt idx="242">
                  <c:v>-0.33576095478000001</c:v>
                </c:pt>
                <c:pt idx="243">
                  <c:v>-0.38362068966000001</c:v>
                </c:pt>
                <c:pt idx="244">
                  <c:v>-0.33988203660999999</c:v>
                </c:pt>
                <c:pt idx="245">
                  <c:v>-0.23796254753000001</c:v>
                </c:pt>
                <c:pt idx="246">
                  <c:v>-0.20248682253</c:v>
                </c:pt>
                <c:pt idx="247">
                  <c:v>-5.5684696239999998E-2</c:v>
                </c:pt>
                <c:pt idx="248">
                  <c:v>0.19647696475000001</c:v>
                </c:pt>
                <c:pt idx="249">
                  <c:v>0.58421851290000004</c:v>
                </c:pt>
                <c:pt idx="250">
                  <c:v>0.61280114335000002</c:v>
                </c:pt>
                <c:pt idx="251">
                  <c:v>0.37890699905000003</c:v>
                </c:pt>
                <c:pt idx="252">
                  <c:v>0.42231826240999998</c:v>
                </c:pt>
                <c:pt idx="253">
                  <c:v>0.38841342986999999</c:v>
                </c:pt>
                <c:pt idx="254">
                  <c:v>0.17258382644</c:v>
                </c:pt>
                <c:pt idx="255">
                  <c:v>-1.157907367E-2</c:v>
                </c:pt>
                <c:pt idx="256">
                  <c:v>-0.15172960770999999</c:v>
                </c:pt>
                <c:pt idx="257">
                  <c:v>-0.24747474747000001</c:v>
                </c:pt>
                <c:pt idx="258">
                  <c:v>-0.33111954458999998</c:v>
                </c:pt>
                <c:pt idx="259">
                  <c:v>-0.43188405797000001</c:v>
                </c:pt>
                <c:pt idx="260">
                  <c:v>-0.43785342054999998</c:v>
                </c:pt>
                <c:pt idx="261">
                  <c:v>-0.41923344947000002</c:v>
                </c:pt>
                <c:pt idx="262">
                  <c:v>-0.2542087542</c:v>
                </c:pt>
                <c:pt idx="263">
                  <c:v>-0.17602996255</c:v>
                </c:pt>
                <c:pt idx="264">
                  <c:v>8.1300812999999996E-3</c:v>
                </c:pt>
                <c:pt idx="265">
                  <c:v>3.6036036049999998E-2</c:v>
                </c:pt>
                <c:pt idx="266">
                  <c:v>0.15720930229999999</c:v>
                </c:pt>
                <c:pt idx="267">
                  <c:v>0.34741784036000001</c:v>
                </c:pt>
                <c:pt idx="268">
                  <c:v>0.24615384612999999</c:v>
                </c:pt>
                <c:pt idx="269">
                  <c:v>-0.11978021976</c:v>
                </c:pt>
                <c:pt idx="270">
                  <c:v>-0.12142857143000001</c:v>
                </c:pt>
                <c:pt idx="271">
                  <c:v>0.47781065086000002</c:v>
                </c:pt>
                <c:pt idx="272">
                  <c:v>0.63871951221000001</c:v>
                </c:pt>
                <c:pt idx="273">
                  <c:v>0.67848699764999998</c:v>
                </c:pt>
                <c:pt idx="274">
                  <c:v>0.38666666668999999</c:v>
                </c:pt>
                <c:pt idx="275">
                  <c:v>1.41592920353</c:v>
                </c:pt>
                <c:pt idx="276">
                  <c:v>1.6923076923</c:v>
                </c:pt>
                <c:pt idx="277">
                  <c:v>0.70707070708999997</c:v>
                </c:pt>
                <c:pt idx="278">
                  <c:v>-0.10869565218</c:v>
                </c:pt>
                <c:pt idx="279">
                  <c:v>-0.29499999998999998</c:v>
                </c:pt>
                <c:pt idx="280">
                  <c:v>-0.39123376623</c:v>
                </c:pt>
                <c:pt idx="281">
                  <c:v>-0.60141093473999996</c:v>
                </c:pt>
                <c:pt idx="282">
                  <c:v>-0.64745762711999999</c:v>
                </c:pt>
                <c:pt idx="283">
                  <c:v>-0.77999999999000003</c:v>
                </c:pt>
                <c:pt idx="284">
                  <c:v>-0.23333333333</c:v>
                </c:pt>
                <c:pt idx="285">
                  <c:v>-9.0909090920000005E-2</c:v>
                </c:pt>
                <c:pt idx="286">
                  <c:v>0.35087719296999997</c:v>
                </c:pt>
                <c:pt idx="287">
                  <c:v>0.96875</c:v>
                </c:pt>
                <c:pt idx="288">
                  <c:v>1.1071428571699999</c:v>
                </c:pt>
                <c:pt idx="289">
                  <c:v>0.31578947364999999</c:v>
                </c:pt>
                <c:pt idx="290">
                  <c:v>0.37142857142000002</c:v>
                </c:pt>
                <c:pt idx="291">
                  <c:v>-0.40540540538999997</c:v>
                </c:pt>
                <c:pt idx="292">
                  <c:v>5.5555555550000003E-2</c:v>
                </c:pt>
                <c:pt idx="293">
                  <c:v>-0.13513513513</c:v>
                </c:pt>
                <c:pt idx="294">
                  <c:v>-0.26315789473000001</c:v>
                </c:pt>
                <c:pt idx="295">
                  <c:v>1.00000000003</c:v>
                </c:pt>
                <c:pt idx="296">
                  <c:v>0.45833333333999998</c:v>
                </c:pt>
                <c:pt idx="297">
                  <c:v>0.60869565214999999</c:v>
                </c:pt>
                <c:pt idx="298">
                  <c:v>-5.263157894E-2</c:v>
                </c:pt>
                <c:pt idx="299">
                  <c:v>-1</c:v>
                </c:pt>
                <c:pt idx="300">
                  <c:v>-1</c:v>
                </c:pt>
                <c:pt idx="301">
                  <c:v>-1</c:v>
                </c:pt>
                <c:pt idx="302">
                  <c:v>-1</c:v>
                </c:pt>
                <c:pt idx="303">
                  <c:v>-1</c:v>
                </c:pt>
                <c:pt idx="304">
                  <c:v>-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6">
                  <c:v>0.19999999999000001</c:v>
                </c:pt>
                <c:pt idx="317">
                  <c:v>-0.25</c:v>
                </c:pt>
                <c:pt idx="318">
                  <c:v>-0.23076923077</c:v>
                </c:pt>
                <c:pt idx="319">
                  <c:v>0</c:v>
                </c:pt>
                <c:pt idx="320">
                  <c:v>-0.29999999998999999</c:v>
                </c:pt>
                <c:pt idx="322">
                  <c:v>0.15384615384</c:v>
                </c:pt>
                <c:pt idx="323">
                  <c:v>0.84615384615</c:v>
                </c:pt>
                <c:pt idx="324">
                  <c:v>-7.1428571420000003E-2</c:v>
                </c:pt>
                <c:pt idx="325">
                  <c:v>-8.3333333329999995E-2</c:v>
                </c:pt>
                <c:pt idx="326">
                  <c:v>0.42857142857000002</c:v>
                </c:pt>
                <c:pt idx="327">
                  <c:v>-6.6666666659999999E-2</c:v>
                </c:pt>
                <c:pt idx="328">
                  <c:v>-0.18749999999</c:v>
                </c:pt>
                <c:pt idx="329">
                  <c:v>-7.1428571420000003E-2</c:v>
                </c:pt>
                <c:pt idx="330">
                  <c:v>0.23529411763999999</c:v>
                </c:pt>
                <c:pt idx="331">
                  <c:v>0.2</c:v>
                </c:pt>
                <c:pt idx="332">
                  <c:v>0.47368421051999998</c:v>
                </c:pt>
                <c:pt idx="333">
                  <c:v>0.76470588235000003</c:v>
                </c:pt>
                <c:pt idx="334">
                  <c:v>1</c:v>
                </c:pt>
                <c:pt idx="335">
                  <c:v>0.3125</c:v>
                </c:pt>
                <c:pt idx="336">
                  <c:v>6.25E-2</c:v>
                </c:pt>
                <c:pt idx="337">
                  <c:v>-0.16666666666999999</c:v>
                </c:pt>
                <c:pt idx="338">
                  <c:v>-0.26923076922</c:v>
                </c:pt>
                <c:pt idx="339">
                  <c:v>-0.5</c:v>
                </c:pt>
                <c:pt idx="340">
                  <c:v>-0.6</c:v>
                </c:pt>
                <c:pt idx="341">
                  <c:v>-0.49206349206</c:v>
                </c:pt>
                <c:pt idx="342">
                  <c:v>-0.40740740739999998</c:v>
                </c:pt>
                <c:pt idx="343">
                  <c:v>-0.42857142856000002</c:v>
                </c:pt>
                <c:pt idx="344">
                  <c:v>-0.23529411763999999</c:v>
                </c:pt>
                <c:pt idx="345">
                  <c:v>-0.10526315789</c:v>
                </c:pt>
                <c:pt idx="346">
                  <c:v>-0.375</c:v>
                </c:pt>
                <c:pt idx="347">
                  <c:v>-0.38235294118000002</c:v>
                </c:pt>
                <c:pt idx="348">
                  <c:v>0</c:v>
                </c:pt>
                <c:pt idx="349">
                  <c:v>0.10526315788</c:v>
                </c:pt>
                <c:pt idx="350">
                  <c:v>-0.14999999998999999</c:v>
                </c:pt>
                <c:pt idx="351">
                  <c:v>-0.54761904761000002</c:v>
                </c:pt>
                <c:pt idx="352">
                  <c:v>1.0869565217199999</c:v>
                </c:pt>
                <c:pt idx="353">
                  <c:v>1.8333333333499999</c:v>
                </c:pt>
                <c:pt idx="354">
                  <c:v>0.63636363636000004</c:v>
                </c:pt>
                <c:pt idx="355">
                  <c:v>0.23913043478000001</c:v>
                </c:pt>
                <c:pt idx="356">
                  <c:v>0.6</c:v>
                </c:pt>
                <c:pt idx="357">
                  <c:v>2.8888888888799999</c:v>
                </c:pt>
                <c:pt idx="358">
                  <c:v>0.53333333333999999</c:v>
                </c:pt>
                <c:pt idx="359">
                  <c:v>-0.17241379309999999</c:v>
                </c:pt>
                <c:pt idx="360">
                  <c:v>-0.43103448275</c:v>
                </c:pt>
                <c:pt idx="361">
                  <c:v>-0.20689655171999999</c:v>
                </c:pt>
                <c:pt idx="362">
                  <c:v>-0.35344827585999999</c:v>
                </c:pt>
                <c:pt idx="363">
                  <c:v>-0.55000000000000004</c:v>
                </c:pt>
                <c:pt idx="364">
                  <c:v>-0.77272727272999997</c:v>
                </c:pt>
                <c:pt idx="365">
                  <c:v>-0.70999999998999996</c:v>
                </c:pt>
                <c:pt idx="366">
                  <c:v>-0.62820512820999996</c:v>
                </c:pt>
                <c:pt idx="367">
                  <c:v>0.17171717171000001</c:v>
                </c:pt>
                <c:pt idx="368">
                  <c:v>0.13725490195000001</c:v>
                </c:pt>
                <c:pt idx="369">
                  <c:v>1</c:v>
                </c:pt>
                <c:pt idx="370">
                  <c:v>1.80851063832</c:v>
                </c:pt>
                <c:pt idx="371">
                  <c:v>2.4313725490000002</c:v>
                </c:pt>
                <c:pt idx="372">
                  <c:v>2.31914893621</c:v>
                </c:pt>
                <c:pt idx="373">
                  <c:v>-4.807692308E-2</c:v>
                </c:pt>
                <c:pt idx="374">
                  <c:v>-0.30612244897000002</c:v>
                </c:pt>
                <c:pt idx="375">
                  <c:v>-0.52941176469999995</c:v>
                </c:pt>
                <c:pt idx="376">
                  <c:v>-0.54807692307</c:v>
                </c:pt>
                <c:pt idx="377">
                  <c:v>-3.7735849049999999E-2</c:v>
                </c:pt>
                <c:pt idx="378">
                  <c:v>-0.16071428571999999</c:v>
                </c:pt>
                <c:pt idx="379">
                  <c:v>-0.14754098360000001</c:v>
                </c:pt>
                <c:pt idx="380">
                  <c:v>0.24576271186000001</c:v>
                </c:pt>
                <c:pt idx="381">
                  <c:v>0.02</c:v>
                </c:pt>
                <c:pt idx="382">
                  <c:v>0.38666666666999999</c:v>
                </c:pt>
                <c:pt idx="383">
                  <c:v>-0.37769080235000002</c:v>
                </c:pt>
                <c:pt idx="384">
                  <c:v>-0.75111111110999995</c:v>
                </c:pt>
                <c:pt idx="385">
                  <c:v>-0.72888888889000003</c:v>
                </c:pt>
                <c:pt idx="386">
                  <c:v>-0.73423423423</c:v>
                </c:pt>
                <c:pt idx="387">
                  <c:v>-0.51923076923</c:v>
                </c:pt>
                <c:pt idx="388">
                  <c:v>-0.63235294117999996</c:v>
                </c:pt>
                <c:pt idx="389">
                  <c:v>-0.33333333332999998</c:v>
                </c:pt>
                <c:pt idx="390">
                  <c:v>1.00000000003</c:v>
                </c:pt>
                <c:pt idx="391">
                  <c:v>1.40384615388</c:v>
                </c:pt>
                <c:pt idx="392">
                  <c:v>2.4533333333199998</c:v>
                </c:pt>
                <c:pt idx="393">
                  <c:v>1.5060240964</c:v>
                </c:pt>
                <c:pt idx="394">
                  <c:v>2.8202247191800001</c:v>
                </c:pt>
                <c:pt idx="395">
                  <c:v>1.33430232561</c:v>
                </c:pt>
                <c:pt idx="396">
                  <c:v>1.20588235294</c:v>
                </c:pt>
                <c:pt idx="397">
                  <c:v>1.1806451613</c:v>
                </c:pt>
                <c:pt idx="398">
                  <c:v>0.22448979591000001</c:v>
                </c:pt>
                <c:pt idx="399">
                  <c:v>0.41880341880999999</c:v>
                </c:pt>
                <c:pt idx="400">
                  <c:v>0.47218045113000001</c:v>
                </c:pt>
                <c:pt idx="401">
                  <c:v>0.24637681158999999</c:v>
                </c:pt>
                <c:pt idx="402">
                  <c:v>0.23841059602</c:v>
                </c:pt>
                <c:pt idx="403">
                  <c:v>2.8365384609999999E-2</c:v>
                </c:pt>
                <c:pt idx="404">
                  <c:v>5.4216867459999998E-2</c:v>
                </c:pt>
                <c:pt idx="405">
                  <c:v>-1.1824324319999999E-2</c:v>
                </c:pt>
                <c:pt idx="406">
                  <c:v>-0.34482758619999998</c:v>
                </c:pt>
                <c:pt idx="407">
                  <c:v>-0.42701048950999998</c:v>
                </c:pt>
                <c:pt idx="408">
                  <c:v>-0.31674208143999999</c:v>
                </c:pt>
                <c:pt idx="409">
                  <c:v>-0.35483870967999998</c:v>
                </c:pt>
                <c:pt idx="410">
                  <c:v>-0.32370370370000001</c:v>
                </c:pt>
                <c:pt idx="411">
                  <c:v>-0.42656826568</c:v>
                </c:pt>
                <c:pt idx="412">
                  <c:v>-0.38484848485000001</c:v>
                </c:pt>
                <c:pt idx="413">
                  <c:v>-0.41769316908999998</c:v>
                </c:pt>
                <c:pt idx="414">
                  <c:v>-0.52403083201</c:v>
                </c:pt>
                <c:pt idx="415">
                  <c:v>-0.64137665091999996</c:v>
                </c:pt>
                <c:pt idx="416">
                  <c:v>-0.58438971387000005</c:v>
                </c:pt>
                <c:pt idx="417">
                  <c:v>-0.48479087452000003</c:v>
                </c:pt>
                <c:pt idx="418">
                  <c:v>-0.18133802817</c:v>
                </c:pt>
                <c:pt idx="419">
                  <c:v>-6.9009584649999997E-2</c:v>
                </c:pt>
                <c:pt idx="420">
                  <c:v>-5.5428781730000001E-2</c:v>
                </c:pt>
                <c:pt idx="421">
                  <c:v>0.42816666667999997</c:v>
                </c:pt>
                <c:pt idx="422">
                  <c:v>0.35054170001000001</c:v>
                </c:pt>
                <c:pt idx="423">
                  <c:v>7.1857571849999996E-2</c:v>
                </c:pt>
                <c:pt idx="424">
                  <c:v>-0.23818694545999999</c:v>
                </c:pt>
                <c:pt idx="425">
                  <c:v>-0.29109910376999998</c:v>
                </c:pt>
                <c:pt idx="426">
                  <c:v>-0.13457306337</c:v>
                </c:pt>
                <c:pt idx="427">
                  <c:v>-2.8873666879999999E-2</c:v>
                </c:pt>
                <c:pt idx="428">
                  <c:v>-0.12408326695000001</c:v>
                </c:pt>
                <c:pt idx="429">
                  <c:v>-2.4348750660000001E-2</c:v>
                </c:pt>
                <c:pt idx="430">
                  <c:v>0.13330648411000001</c:v>
                </c:pt>
                <c:pt idx="431">
                  <c:v>0.40093676815000001</c:v>
                </c:pt>
                <c:pt idx="432">
                  <c:v>0.27206370270000002</c:v>
                </c:pt>
                <c:pt idx="433">
                  <c:v>3.5922410920000002E-2</c:v>
                </c:pt>
                <c:pt idx="434">
                  <c:v>0.11913923476</c:v>
                </c:pt>
                <c:pt idx="435">
                  <c:v>0.17334844895000001</c:v>
                </c:pt>
                <c:pt idx="436">
                  <c:v>2.7234237330000001E-2</c:v>
                </c:pt>
                <c:pt idx="437">
                  <c:v>-0.10352067182999999</c:v>
                </c:pt>
                <c:pt idx="438">
                  <c:v>-0.13181242076999999</c:v>
                </c:pt>
                <c:pt idx="439">
                  <c:v>-0.10720043909</c:v>
                </c:pt>
                <c:pt idx="440">
                  <c:v>-0.13417323850999999</c:v>
                </c:pt>
                <c:pt idx="441">
                  <c:v>-0.25691276416999997</c:v>
                </c:pt>
                <c:pt idx="442">
                  <c:v>-0.18109398921</c:v>
                </c:pt>
                <c:pt idx="443">
                  <c:v>-9.124828082E-2</c:v>
                </c:pt>
                <c:pt idx="444">
                  <c:v>-6.1945974309999999E-2</c:v>
                </c:pt>
                <c:pt idx="445">
                  <c:v>-5.2175940699999996E-3</c:v>
                </c:pt>
                <c:pt idx="446">
                  <c:v>0.18248882265999999</c:v>
                </c:pt>
                <c:pt idx="447">
                  <c:v>0.39166019600000002</c:v>
                </c:pt>
                <c:pt idx="448">
                  <c:v>0.29375696767999998</c:v>
                </c:pt>
                <c:pt idx="449">
                  <c:v>0.13373690831000001</c:v>
                </c:pt>
                <c:pt idx="450">
                  <c:v>0.12347973081999999</c:v>
                </c:pt>
                <c:pt idx="451">
                  <c:v>9.2506576790000003E-2</c:v>
                </c:pt>
                <c:pt idx="452">
                  <c:v>-7.1124021920000002E-2</c:v>
                </c:pt>
                <c:pt idx="453">
                  <c:v>-0.22603197438</c:v>
                </c:pt>
                <c:pt idx="454">
                  <c:v>-0.26696606785999999</c:v>
                </c:pt>
                <c:pt idx="455">
                  <c:v>-0.15156719623000001</c:v>
                </c:pt>
                <c:pt idx="456">
                  <c:v>-0.10937977315</c:v>
                </c:pt>
                <c:pt idx="457">
                  <c:v>-0.16936457734999999</c:v>
                </c:pt>
                <c:pt idx="458">
                  <c:v>-9.2318324389999998E-2</c:v>
                </c:pt>
                <c:pt idx="459">
                  <c:v>5.4454727900000001E-3</c:v>
                </c:pt>
                <c:pt idx="460">
                  <c:v>7.9282508799999995E-3</c:v>
                </c:pt>
                <c:pt idx="461">
                  <c:v>-2.4535021760000001E-2</c:v>
                </c:pt>
                <c:pt idx="462">
                  <c:v>-0.10237670677000001</c:v>
                </c:pt>
                <c:pt idx="463">
                  <c:v>-0.10003622626</c:v>
                </c:pt>
                <c:pt idx="464">
                  <c:v>-9.805331799E-2</c:v>
                </c:pt>
                <c:pt idx="465">
                  <c:v>-0.19999313187000001</c:v>
                </c:pt>
                <c:pt idx="466">
                  <c:v>-0.13500898845000001</c:v>
                </c:pt>
                <c:pt idx="467">
                  <c:v>-7.4690123959999993E-2</c:v>
                </c:pt>
                <c:pt idx="468">
                  <c:v>-4.5965035610000003E-2</c:v>
                </c:pt>
                <c:pt idx="469">
                  <c:v>0.14273804778999999</c:v>
                </c:pt>
                <c:pt idx="470">
                  <c:v>0.10830330265</c:v>
                </c:pt>
                <c:pt idx="471">
                  <c:v>0.25660334944000002</c:v>
                </c:pt>
                <c:pt idx="472">
                  <c:v>0.25109112628000002</c:v>
                </c:pt>
                <c:pt idx="473">
                  <c:v>0.16077629181</c:v>
                </c:pt>
                <c:pt idx="474">
                  <c:v>0.18558444302999999</c:v>
                </c:pt>
                <c:pt idx="475">
                  <c:v>9.8934331789999996E-2</c:v>
                </c:pt>
                <c:pt idx="476">
                  <c:v>4.546879685E-2</c:v>
                </c:pt>
                <c:pt idx="477">
                  <c:v>0.11499802917</c:v>
                </c:pt>
                <c:pt idx="478">
                  <c:v>0.22182325798999999</c:v>
                </c:pt>
                <c:pt idx="479">
                  <c:v>0.34270414992999998</c:v>
                </c:pt>
                <c:pt idx="480">
                  <c:v>0.31828936474000002</c:v>
                </c:pt>
                <c:pt idx="481">
                  <c:v>0.27030420867999999</c:v>
                </c:pt>
                <c:pt idx="482">
                  <c:v>0.32949496359000002</c:v>
                </c:pt>
                <c:pt idx="483">
                  <c:v>0.38706968934000002</c:v>
                </c:pt>
                <c:pt idx="484">
                  <c:v>0.31001727113999999</c:v>
                </c:pt>
                <c:pt idx="485">
                  <c:v>0.14471639471</c:v>
                </c:pt>
                <c:pt idx="486">
                  <c:v>0.12635753731999999</c:v>
                </c:pt>
                <c:pt idx="487">
                  <c:v>0.22775083924</c:v>
                </c:pt>
                <c:pt idx="488">
                  <c:v>0.22327031507</c:v>
                </c:pt>
                <c:pt idx="489">
                  <c:v>3.9077556110000002E-2</c:v>
                </c:pt>
                <c:pt idx="490">
                  <c:v>-0.20117526826000001</c:v>
                </c:pt>
                <c:pt idx="491">
                  <c:v>-0.26537951110000002</c:v>
                </c:pt>
                <c:pt idx="492">
                  <c:v>-0.21988383606</c:v>
                </c:pt>
                <c:pt idx="493">
                  <c:v>-0.21966735967000001</c:v>
                </c:pt>
                <c:pt idx="494">
                  <c:v>-0.29098024271</c:v>
                </c:pt>
                <c:pt idx="495">
                  <c:v>-0.24546603367</c:v>
                </c:pt>
                <c:pt idx="496">
                  <c:v>0.16589694828000001</c:v>
                </c:pt>
                <c:pt idx="497">
                  <c:v>0.4546163849</c:v>
                </c:pt>
                <c:pt idx="498">
                  <c:v>0.53855650520999998</c:v>
                </c:pt>
                <c:pt idx="499">
                  <c:v>0.37648809524999999</c:v>
                </c:pt>
                <c:pt idx="500">
                  <c:v>0.52671474830999998</c:v>
                </c:pt>
                <c:pt idx="501">
                  <c:v>0.49146757678000003</c:v>
                </c:pt>
                <c:pt idx="502">
                  <c:v>0.11545454545</c:v>
                </c:pt>
                <c:pt idx="503">
                  <c:v>-0.14356586007</c:v>
                </c:pt>
                <c:pt idx="504">
                  <c:v>-0.28845548914000002</c:v>
                </c:pt>
                <c:pt idx="505">
                  <c:v>-0.25109702583999999</c:v>
                </c:pt>
                <c:pt idx="506">
                  <c:v>-0.24021857923000001</c:v>
                </c:pt>
                <c:pt idx="507">
                  <c:v>-0.23746219314</c:v>
                </c:pt>
                <c:pt idx="508">
                  <c:v>-0.17512574302</c:v>
                </c:pt>
                <c:pt idx="509">
                  <c:v>0.17967283453999999</c:v>
                </c:pt>
                <c:pt idx="510">
                  <c:v>0.27327387114000001</c:v>
                </c:pt>
                <c:pt idx="511">
                  <c:v>0.10178941908</c:v>
                </c:pt>
                <c:pt idx="512">
                  <c:v>-2.5313262119999999E-2</c:v>
                </c:pt>
                <c:pt idx="513">
                  <c:v>-0.11440480678000001</c:v>
                </c:pt>
                <c:pt idx="514">
                  <c:v>-0.18142659916000001</c:v>
                </c:pt>
                <c:pt idx="515">
                  <c:v>-0.31134115982999999</c:v>
                </c:pt>
                <c:pt idx="516">
                  <c:v>-0.38603701031999998</c:v>
                </c:pt>
                <c:pt idx="517">
                  <c:v>-0.31353847482000002</c:v>
                </c:pt>
                <c:pt idx="518">
                  <c:v>-0.16614252656</c:v>
                </c:pt>
                <c:pt idx="519">
                  <c:v>-9.8896457029999996E-2</c:v>
                </c:pt>
                <c:pt idx="520">
                  <c:v>-2.4130882730000001E-2</c:v>
                </c:pt>
                <c:pt idx="521">
                  <c:v>-5.8654078169999999E-2</c:v>
                </c:pt>
                <c:pt idx="522">
                  <c:v>0.12480739598</c:v>
                </c:pt>
                <c:pt idx="523">
                  <c:v>5.4652175130000001E-2</c:v>
                </c:pt>
                <c:pt idx="524">
                  <c:v>-0.13357753355999999</c:v>
                </c:pt>
                <c:pt idx="525">
                  <c:v>-0.18741612787</c:v>
                </c:pt>
                <c:pt idx="526">
                  <c:v>-0.13206133843000001</c:v>
                </c:pt>
                <c:pt idx="527">
                  <c:v>-0.10984488761</c:v>
                </c:pt>
                <c:pt idx="528">
                  <c:v>-0.11013215859</c:v>
                </c:pt>
                <c:pt idx="529">
                  <c:v>-0.17479290551000001</c:v>
                </c:pt>
                <c:pt idx="530">
                  <c:v>-5.6060606069999998E-2</c:v>
                </c:pt>
                <c:pt idx="531">
                  <c:v>0.12089704582999999</c:v>
                </c:pt>
                <c:pt idx="532">
                  <c:v>5.189340814E-2</c:v>
                </c:pt>
                <c:pt idx="533">
                  <c:v>-4.8512585830000003E-2</c:v>
                </c:pt>
                <c:pt idx="534">
                  <c:v>-8.7062314030000004E-2</c:v>
                </c:pt>
                <c:pt idx="535">
                  <c:v>-4.2521051800000001E-3</c:v>
                </c:pt>
                <c:pt idx="536">
                  <c:v>7.9960728709999998E-2</c:v>
                </c:pt>
                <c:pt idx="537">
                  <c:v>2.8401058470000001E-2</c:v>
                </c:pt>
                <c:pt idx="538">
                  <c:v>3.61702128E-3</c:v>
                </c:pt>
                <c:pt idx="539">
                  <c:v>0.12116851974999999</c:v>
                </c:pt>
                <c:pt idx="540">
                  <c:v>0.25924137933000002</c:v>
                </c:pt>
                <c:pt idx="541">
                  <c:v>0.29606438919</c:v>
                </c:pt>
                <c:pt idx="542">
                  <c:v>0.182703488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A5-4E48-8001-05252BA01D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CR_testu_65_100_000_7dni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364.54245474030199</c:v>
                </c:pt>
                <c:pt idx="1">
                  <c:v>372.511608555164</c:v>
                </c:pt>
                <c:pt idx="2">
                  <c:v>379.32245512949402</c:v>
                </c:pt>
                <c:pt idx="3">
                  <c:v>388.54258076412998</c:v>
                </c:pt>
                <c:pt idx="4">
                  <c:v>389.654555715041</c:v>
                </c:pt>
                <c:pt idx="5">
                  <c:v>393.03681285739498</c:v>
                </c:pt>
                <c:pt idx="6">
                  <c:v>387.47693810284102</c:v>
                </c:pt>
                <c:pt idx="7">
                  <c:v>403.09091970521501</c:v>
                </c:pt>
                <c:pt idx="8">
                  <c:v>407.770480956965</c:v>
                </c:pt>
                <c:pt idx="9">
                  <c:v>424.86709582175928</c:v>
                </c:pt>
                <c:pt idx="10">
                  <c:v>441.77838153899103</c:v>
                </c:pt>
                <c:pt idx="11">
                  <c:v>464.62020032228702</c:v>
                </c:pt>
                <c:pt idx="12">
                  <c:v>478.42722262943101</c:v>
                </c:pt>
                <c:pt idx="13">
                  <c:v>491.35393143377098</c:v>
                </c:pt>
                <c:pt idx="14">
                  <c:v>500.01806959295197</c:v>
                </c:pt>
                <c:pt idx="15">
                  <c:v>525.63982575352497</c:v>
                </c:pt>
                <c:pt idx="16">
                  <c:v>552.69788289235805</c:v>
                </c:pt>
                <c:pt idx="17">
                  <c:v>551.86390167917398</c:v>
                </c:pt>
                <c:pt idx="18">
                  <c:v>550.05694238394403</c:v>
                </c:pt>
                <c:pt idx="19">
                  <c:v>560.15738152138499</c:v>
                </c:pt>
                <c:pt idx="20">
                  <c:v>576.18835373035097</c:v>
                </c:pt>
                <c:pt idx="21">
                  <c:v>593.51663004871295</c:v>
                </c:pt>
                <c:pt idx="22">
                  <c:v>601.62478073243904</c:v>
                </c:pt>
                <c:pt idx="23">
                  <c:v>607.69431067282801</c:v>
                </c:pt>
                <c:pt idx="24">
                  <c:v>624.65192867422002</c:v>
                </c:pt>
                <c:pt idx="25">
                  <c:v>633.6403928587963</c:v>
                </c:pt>
                <c:pt idx="26">
                  <c:v>631.18478151082104</c:v>
                </c:pt>
                <c:pt idx="27">
                  <c:v>597.36221008728</c:v>
                </c:pt>
                <c:pt idx="28">
                  <c:v>588.04941987340101</c:v>
                </c:pt>
                <c:pt idx="29">
                  <c:v>609.686599126543</c:v>
                </c:pt>
                <c:pt idx="30">
                  <c:v>625.20791614967504</c:v>
                </c:pt>
                <c:pt idx="31">
                  <c:v>649.81036193857994</c:v>
                </c:pt>
                <c:pt idx="32">
                  <c:v>668.38961007671696</c:v>
                </c:pt>
                <c:pt idx="33">
                  <c:v>677.74873258021705</c:v>
                </c:pt>
                <c:pt idx="34">
                  <c:v>738.53669656334796</c:v>
                </c:pt>
                <c:pt idx="35">
                  <c:v>784.49832786766694</c:v>
                </c:pt>
                <c:pt idx="36">
                  <c:v>805.06986445951895</c:v>
                </c:pt>
                <c:pt idx="37">
                  <c:v>812.01970790271298</c:v>
                </c:pt>
                <c:pt idx="38">
                  <c:v>834.21287463131</c:v>
                </c:pt>
                <c:pt idx="39">
                  <c:v>841.30171494336798</c:v>
                </c:pt>
                <c:pt idx="40">
                  <c:v>860.57594743055552</c:v>
                </c:pt>
                <c:pt idx="41">
                  <c:v>886.29036816563905</c:v>
                </c:pt>
                <c:pt idx="42">
                  <c:v>946.47601238369396</c:v>
                </c:pt>
                <c:pt idx="43">
                  <c:v>1012.91651570062</c:v>
                </c:pt>
                <c:pt idx="44">
                  <c:v>1066.8936331094201</c:v>
                </c:pt>
                <c:pt idx="45">
                  <c:v>1134.2144499291501</c:v>
                </c:pt>
                <c:pt idx="46">
                  <c:v>1198.6626647923699</c:v>
                </c:pt>
                <c:pt idx="47">
                  <c:v>1225.5353927727101</c:v>
                </c:pt>
                <c:pt idx="48">
                  <c:v>1269.6900647817999</c:v>
                </c:pt>
                <c:pt idx="49">
                  <c:v>1312.91809099847</c:v>
                </c:pt>
                <c:pt idx="50">
                  <c:v>1372.0844248495371</c:v>
                </c:pt>
                <c:pt idx="51">
                  <c:v>1450.4323265944499</c:v>
                </c:pt>
                <c:pt idx="52">
                  <c:v>1491.99239038475</c:v>
                </c:pt>
                <c:pt idx="53">
                  <c:v>1538.4173445833333</c:v>
                </c:pt>
                <c:pt idx="54">
                  <c:v>1568.7649942872199</c:v>
                </c:pt>
                <c:pt idx="55">
                  <c:v>1629.5992905599801</c:v>
                </c:pt>
                <c:pt idx="56">
                  <c:v>1690.24825767424</c:v>
                </c:pt>
                <c:pt idx="57">
                  <c:v>1664.1168463310185</c:v>
                </c:pt>
                <c:pt idx="58">
                  <c:v>1665.36781814761</c:v>
                </c:pt>
                <c:pt idx="59">
                  <c:v>1709.7078193151899</c:v>
                </c:pt>
                <c:pt idx="60">
                  <c:v>1733.56894847015</c:v>
                </c:pt>
                <c:pt idx="61">
                  <c:v>1738.1095128530401</c:v>
                </c:pt>
                <c:pt idx="62">
                  <c:v>1712.67308585095</c:v>
                </c:pt>
                <c:pt idx="63">
                  <c:v>1711.32944945193</c:v>
                </c:pt>
                <c:pt idx="64">
                  <c:v>1770.2177895605901</c:v>
                </c:pt>
                <c:pt idx="65">
                  <c:v>1820.25666235158</c:v>
                </c:pt>
                <c:pt idx="66">
                  <c:v>1815.80876254794</c:v>
                </c:pt>
                <c:pt idx="67">
                  <c:v>1775.9629934736299</c:v>
                </c:pt>
                <c:pt idx="68">
                  <c:v>1736.3025535578099</c:v>
                </c:pt>
                <c:pt idx="69">
                  <c:v>1736.4415504266699</c:v>
                </c:pt>
                <c:pt idx="70">
                  <c:v>1729.58437156272</c:v>
                </c:pt>
                <c:pt idx="71">
                  <c:v>1700.99734886638</c:v>
                </c:pt>
                <c:pt idx="72">
                  <c:v>1620.8424878215501</c:v>
                </c:pt>
                <c:pt idx="73">
                  <c:v>1560.51784673463</c:v>
                </c:pt>
                <c:pt idx="74">
                  <c:v>1491.6217320677799</c:v>
                </c:pt>
                <c:pt idx="75">
                  <c:v>1465.3049915628901</c:v>
                </c:pt>
                <c:pt idx="76">
                  <c:v>1438.2469344240501</c:v>
                </c:pt>
                <c:pt idx="77">
                  <c:v>1272.00667926287</c:v>
                </c:pt>
                <c:pt idx="78">
                  <c:v>1202.9715677271499</c:v>
                </c:pt>
                <c:pt idx="79">
                  <c:v>1155.71263231343</c:v>
                </c:pt>
                <c:pt idx="80">
                  <c:v>1094.18335169636</c:v>
                </c:pt>
                <c:pt idx="81">
                  <c:v>1082.6002792910399</c:v>
                </c:pt>
                <c:pt idx="82">
                  <c:v>1075.32610982049</c:v>
                </c:pt>
                <c:pt idx="83">
                  <c:v>1084.17557713816</c:v>
                </c:pt>
                <c:pt idx="84">
                  <c:v>1152.5620366191799</c:v>
                </c:pt>
                <c:pt idx="85">
                  <c:v>1123.6970201851852</c:v>
                </c:pt>
                <c:pt idx="86">
                  <c:v>1093.3957027728</c:v>
                </c:pt>
                <c:pt idx="87">
                  <c:v>1075.00178379315</c:v>
                </c:pt>
                <c:pt idx="88">
                  <c:v>1062.81639162275</c:v>
                </c:pt>
                <c:pt idx="89">
                  <c:v>1056.2835387861401</c:v>
                </c:pt>
                <c:pt idx="90">
                  <c:v>1025.19457245026</c:v>
                </c:pt>
                <c:pt idx="91">
                  <c:v>998.97049652461396</c:v>
                </c:pt>
                <c:pt idx="92">
                  <c:v>999.34115484158497</c:v>
                </c:pt>
                <c:pt idx="93">
                  <c:v>979.18660885632403</c:v>
                </c:pt>
                <c:pt idx="94">
                  <c:v>976.08234545169796</c:v>
                </c:pt>
                <c:pt idx="95">
                  <c:v>973.99739241873999</c:v>
                </c:pt>
                <c:pt idx="96">
                  <c:v>974.50704760457404</c:v>
                </c:pt>
                <c:pt idx="97">
                  <c:v>973.81206326025404</c:v>
                </c:pt>
                <c:pt idx="98">
                  <c:v>989.24071570414401</c:v>
                </c:pt>
                <c:pt idx="99">
                  <c:v>994.19827069362202</c:v>
                </c:pt>
                <c:pt idx="100">
                  <c:v>1012.12886677706</c:v>
                </c:pt>
                <c:pt idx="101">
                  <c:v>1046.69275483454</c:v>
                </c:pt>
                <c:pt idx="102">
                  <c:v>1060.1754511143299</c:v>
                </c:pt>
                <c:pt idx="103">
                  <c:v>1071.3415329130601</c:v>
                </c:pt>
                <c:pt idx="104">
                  <c:v>1086.1678655918799</c:v>
                </c:pt>
                <c:pt idx="105">
                  <c:v>1097.61194112833</c:v>
                </c:pt>
                <c:pt idx="106">
                  <c:v>1122.3533837861</c:v>
                </c:pt>
                <c:pt idx="107">
                  <c:v>1137.0407195960499</c:v>
                </c:pt>
                <c:pt idx="108">
                  <c:v>1135.8360800659</c:v>
                </c:pt>
                <c:pt idx="109">
                  <c:v>1154.5543250728999</c:v>
                </c:pt>
                <c:pt idx="110">
                  <c:v>1161.3188393576099</c:v>
                </c:pt>
                <c:pt idx="111">
                  <c:v>1166.41539121595</c:v>
                </c:pt>
                <c:pt idx="112">
                  <c:v>1184.11432585128</c:v>
                </c:pt>
                <c:pt idx="113">
                  <c:v>1211.03338612125</c:v>
                </c:pt>
                <c:pt idx="114">
                  <c:v>1097.7509379972</c:v>
                </c:pt>
                <c:pt idx="115">
                  <c:v>970.93946130373502</c:v>
                </c:pt>
                <c:pt idx="116">
                  <c:v>918.027986556222</c:v>
                </c:pt>
                <c:pt idx="117">
                  <c:v>923.58786131077704</c:v>
                </c:pt>
                <c:pt idx="118">
                  <c:v>934.93927226799303</c:v>
                </c:pt>
                <c:pt idx="119">
                  <c:v>971.68077793767497</c:v>
                </c:pt>
                <c:pt idx="120">
                  <c:v>1005.96667225742</c:v>
                </c:pt>
                <c:pt idx="121">
                  <c:v>1149.1797794768299</c:v>
                </c:pt>
                <c:pt idx="122">
                  <c:v>1148.9017857391</c:v>
                </c:pt>
                <c:pt idx="123">
                  <c:v>1192.9174608793301</c:v>
                </c:pt>
                <c:pt idx="124">
                  <c:v>1227.8520072537799</c:v>
                </c:pt>
                <c:pt idx="125">
                  <c:v>1280.5781528428099</c:v>
                </c:pt>
                <c:pt idx="126">
                  <c:v>1341.4587814051799</c:v>
                </c:pt>
                <c:pt idx="127">
                  <c:v>1361.5206628112001</c:v>
                </c:pt>
                <c:pt idx="128">
                  <c:v>1455.4825461631699</c:v>
                </c:pt>
                <c:pt idx="129">
                  <c:v>1676.90455826331</c:v>
                </c:pt>
                <c:pt idx="130">
                  <c:v>1707.9935245992001</c:v>
                </c:pt>
                <c:pt idx="131">
                  <c:v>1686.4490099253001</c:v>
                </c:pt>
                <c:pt idx="132">
                  <c:v>1670.5570345852</c:v>
                </c:pt>
                <c:pt idx="133">
                  <c:v>1610.5567195256299</c:v>
                </c:pt>
                <c:pt idx="134">
                  <c:v>1555.0969688489399</c:v>
                </c:pt>
                <c:pt idx="135">
                  <c:v>1468.5482518363799</c:v>
                </c:pt>
                <c:pt idx="136">
                  <c:v>1386.26210546897</c:v>
                </c:pt>
                <c:pt idx="137">
                  <c:v>1358.74072543392</c:v>
                </c:pt>
                <c:pt idx="138">
                  <c:v>1336.3622295468399</c:v>
                </c:pt>
                <c:pt idx="139">
                  <c:v>1296.3774636036601</c:v>
                </c:pt>
                <c:pt idx="140">
                  <c:v>1264.7325097923199</c:v>
                </c:pt>
                <c:pt idx="141">
                  <c:v>1233.8288726149201</c:v>
                </c:pt>
                <c:pt idx="142">
                  <c:v>1190.3228526605301</c:v>
                </c:pt>
                <c:pt idx="143">
                  <c:v>1179.66642604764</c:v>
                </c:pt>
                <c:pt idx="144">
                  <c:v>1161.7358299642001</c:v>
                </c:pt>
                <c:pt idx="145">
                  <c:v>1158.58523426995</c:v>
                </c:pt>
                <c:pt idx="146">
                  <c:v>1148.5311274221301</c:v>
                </c:pt>
                <c:pt idx="147">
                  <c:v>1126.94028045861</c:v>
                </c:pt>
                <c:pt idx="148">
                  <c:v>1133.2878041367301</c:v>
                </c:pt>
                <c:pt idx="149">
                  <c:v>1136.0677415140001</c:v>
                </c:pt>
                <c:pt idx="150">
                  <c:v>1134.90943427347</c:v>
                </c:pt>
                <c:pt idx="151">
                  <c:v>1127.0329450378499</c:v>
                </c:pt>
                <c:pt idx="152">
                  <c:v>1118.97112664375</c:v>
                </c:pt>
                <c:pt idx="153">
                  <c:v>1119.11012351261</c:v>
                </c:pt>
                <c:pt idx="154">
                  <c:v>1128.2375845680101</c:v>
                </c:pt>
                <c:pt idx="155">
                  <c:v>1116.0985246872301</c:v>
                </c:pt>
                <c:pt idx="156">
                  <c:v>1127.9132585406601</c:v>
                </c:pt>
                <c:pt idx="157">
                  <c:v>1123.1410327096601</c:v>
                </c:pt>
                <c:pt idx="158">
                  <c:v>1128.7009074642201</c:v>
                </c:pt>
                <c:pt idx="159">
                  <c:v>1132.7318166612699</c:v>
                </c:pt>
                <c:pt idx="160">
                  <c:v>1113.5039164684399</c:v>
                </c:pt>
                <c:pt idx="161">
                  <c:v>1113.73557791654</c:v>
                </c:pt>
                <c:pt idx="162">
                  <c:v>1101.2258597187999</c:v>
                </c:pt>
                <c:pt idx="163">
                  <c:v>1076.7160785091301</c:v>
                </c:pt>
                <c:pt idx="164">
                  <c:v>1068.9322538541667</c:v>
                </c:pt>
                <c:pt idx="165">
                  <c:v>1068.19093721882</c:v>
                </c:pt>
                <c:pt idx="166">
                  <c:v>1065.5036644207801</c:v>
                </c:pt>
                <c:pt idx="167">
                  <c:v>1082.6002792910399</c:v>
                </c:pt>
                <c:pt idx="168">
                  <c:v>1078.98636070058</c:v>
                </c:pt>
                <c:pt idx="169">
                  <c:v>1084.5925677447501</c:v>
                </c:pt>
                <c:pt idx="170">
                  <c:v>1108.31470003085</c:v>
                </c:pt>
                <c:pt idx="171">
                  <c:v>1129.4422240981601</c:v>
                </c:pt>
                <c:pt idx="172">
                  <c:v>1138.2453591262099</c:v>
                </c:pt>
                <c:pt idx="173">
                  <c:v>1145.10253799016</c:v>
                </c:pt>
                <c:pt idx="174">
                  <c:v>1166.3690589263299</c:v>
                </c:pt>
                <c:pt idx="175">
                  <c:v>1197.4116929725899</c:v>
                </c:pt>
                <c:pt idx="176">
                  <c:v>1225.62805735196</c:v>
                </c:pt>
                <c:pt idx="177">
                  <c:v>1247.0799074466099</c:v>
                </c:pt>
                <c:pt idx="178">
                  <c:v>1276.17658532878</c:v>
                </c:pt>
                <c:pt idx="179">
                  <c:v>1284.93338806721</c:v>
                </c:pt>
                <c:pt idx="180">
                  <c:v>1285.2113818049299</c:v>
                </c:pt>
                <c:pt idx="181">
                  <c:v>1287.6206608652401</c:v>
                </c:pt>
                <c:pt idx="182">
                  <c:v>1314.4007242663499</c:v>
                </c:pt>
                <c:pt idx="183">
                  <c:v>1331.1266808196301</c:v>
                </c:pt>
                <c:pt idx="184">
                  <c:v>1336.2232326779699</c:v>
                </c:pt>
                <c:pt idx="185">
                  <c:v>1338.9568377656301</c:v>
                </c:pt>
                <c:pt idx="186">
                  <c:v>1339.2348315033601</c:v>
                </c:pt>
                <c:pt idx="187">
                  <c:v>1343.9143927551099</c:v>
                </c:pt>
                <c:pt idx="188">
                  <c:v>1331.82166516395</c:v>
                </c:pt>
                <c:pt idx="189">
                  <c:v>1295.21915636313</c:v>
                </c:pt>
                <c:pt idx="190">
                  <c:v>1293.69019080563</c:v>
                </c:pt>
                <c:pt idx="191">
                  <c:v>1283.12642877198</c:v>
                </c:pt>
                <c:pt idx="192">
                  <c:v>1266.67846595642</c:v>
                </c:pt>
                <c:pt idx="193">
                  <c:v>1257.6436694802701</c:v>
                </c:pt>
                <c:pt idx="194">
                  <c:v>1246.7555814192599</c:v>
                </c:pt>
                <c:pt idx="195">
                  <c:v>1251.8521332776099</c:v>
                </c:pt>
                <c:pt idx="196">
                  <c:v>1254.49307378602</c:v>
                </c:pt>
                <c:pt idx="197">
                  <c:v>1236.8868037299301</c:v>
                </c:pt>
                <c:pt idx="198">
                  <c:v>1220.4851732039899</c:v>
                </c:pt>
                <c:pt idx="199">
                  <c:v>1193.2881191962999</c:v>
                </c:pt>
                <c:pt idx="200">
                  <c:v>1190.55451410864</c:v>
                </c:pt>
                <c:pt idx="201">
                  <c:v>1196.6703763386499</c:v>
                </c:pt>
                <c:pt idx="202">
                  <c:v>1171.6972722327801</c:v>
                </c:pt>
                <c:pt idx="203">
                  <c:v>1153.7203438597201</c:v>
                </c:pt>
                <c:pt idx="204">
                  <c:v>1110.8629759600201</c:v>
                </c:pt>
                <c:pt idx="205">
                  <c:v>1097.61194112833</c:v>
                </c:pt>
                <c:pt idx="206">
                  <c:v>1072.4535078639699</c:v>
                </c:pt>
                <c:pt idx="207">
                  <c:v>1054.6619086493999</c:v>
                </c:pt>
                <c:pt idx="208">
                  <c:v>1039.6502468121</c:v>
                </c:pt>
                <c:pt idx="209">
                  <c:v>1044.4688049327201</c:v>
                </c:pt>
                <c:pt idx="210">
                  <c:v>1017.64240924199</c:v>
                </c:pt>
                <c:pt idx="211">
                  <c:v>1006.75432118099</c:v>
                </c:pt>
                <c:pt idx="212">
                  <c:v>975.34102881775698</c:v>
                </c:pt>
                <c:pt idx="213">
                  <c:v>894.90817403519895</c:v>
                </c:pt>
                <c:pt idx="214">
                  <c:v>864.51419204363299</c:v>
                </c:pt>
                <c:pt idx="215">
                  <c:v>870.07406679818803</c:v>
                </c:pt>
                <c:pt idx="216">
                  <c:v>746.83017640555897</c:v>
                </c:pt>
                <c:pt idx="217">
                  <c:v>731.447856251291</c:v>
                </c:pt>
                <c:pt idx="218">
                  <c:v>745.39387542729901</c:v>
                </c:pt>
                <c:pt idx="219">
                  <c:v>739.97299754160804</c:v>
                </c:pt>
                <c:pt idx="220">
                  <c:v>789.78020888449396</c:v>
                </c:pt>
                <c:pt idx="221">
                  <c:v>806.50616543777903</c:v>
                </c:pt>
                <c:pt idx="222">
                  <c:v>796.26672943147503</c:v>
                </c:pt>
                <c:pt idx="223">
                  <c:v>889.02397325329503</c:v>
                </c:pt>
                <c:pt idx="224">
                  <c:v>878.18221748191399</c:v>
                </c:pt>
                <c:pt idx="225">
                  <c:v>836.85381513972402</c:v>
                </c:pt>
                <c:pt idx="226">
                  <c:v>816.93093060256899</c:v>
                </c:pt>
                <c:pt idx="227">
                  <c:v>802.24359479262102</c:v>
                </c:pt>
                <c:pt idx="228">
                  <c:v>786.90760692797403</c:v>
                </c:pt>
                <c:pt idx="229">
                  <c:v>787.78792043077897</c:v>
                </c:pt>
                <c:pt idx="230">
                  <c:v>770.41331182279498</c:v>
                </c:pt>
                <c:pt idx="231">
                  <c:v>749.47111691397197</c:v>
                </c:pt>
                <c:pt idx="232">
                  <c:v>733.90346760121895</c:v>
                </c:pt>
                <c:pt idx="233">
                  <c:v>723.33970556756503</c:v>
                </c:pt>
                <c:pt idx="234">
                  <c:v>706.61374901427996</c:v>
                </c:pt>
                <c:pt idx="235">
                  <c:v>704.62146056056497</c:v>
                </c:pt>
                <c:pt idx="236">
                  <c:v>696.46697758721803</c:v>
                </c:pt>
                <c:pt idx="237">
                  <c:v>688.26616232424999</c:v>
                </c:pt>
                <c:pt idx="238">
                  <c:v>672.69851301149595</c:v>
                </c:pt>
                <c:pt idx="239">
                  <c:v>665.74866956830294</c:v>
                </c:pt>
                <c:pt idx="240">
                  <c:v>660.79111457882505</c:v>
                </c:pt>
                <c:pt idx="241">
                  <c:v>663.84904569383002</c:v>
                </c:pt>
                <c:pt idx="242">
                  <c:v>662.55174158443401</c:v>
                </c:pt>
                <c:pt idx="243">
                  <c:v>662.96873219102599</c:v>
                </c:pt>
                <c:pt idx="244">
                  <c:v>656.48221164404504</c:v>
                </c:pt>
                <c:pt idx="245">
                  <c:v>653.56327739790402</c:v>
                </c:pt>
                <c:pt idx="246">
                  <c:v>644.85280694910205</c:v>
                </c:pt>
                <c:pt idx="247">
                  <c:v>629.09982847786296</c:v>
                </c:pt>
                <c:pt idx="248">
                  <c:v>612.23487505571404</c:v>
                </c:pt>
                <c:pt idx="249">
                  <c:v>605.93368366721904</c:v>
                </c:pt>
                <c:pt idx="250">
                  <c:v>601.57844844281794</c:v>
                </c:pt>
                <c:pt idx="251">
                  <c:v>596.11123826750497</c:v>
                </c:pt>
                <c:pt idx="252">
                  <c:v>578.69029736990103</c:v>
                </c:pt>
                <c:pt idx="253">
                  <c:v>568.31186449473205</c:v>
                </c:pt>
                <c:pt idx="254">
                  <c:v>567.01456038533604</c:v>
                </c:pt>
                <c:pt idx="255">
                  <c:v>562.93731889866206</c:v>
                </c:pt>
                <c:pt idx="256">
                  <c:v>560.06471694214304</c:v>
                </c:pt>
                <c:pt idx="257">
                  <c:v>558.30408993653396</c:v>
                </c:pt>
                <c:pt idx="258">
                  <c:v>547.41600187553104</c:v>
                </c:pt>
                <c:pt idx="259">
                  <c:v>537.68622105505995</c:v>
                </c:pt>
                <c:pt idx="260">
                  <c:v>528.83675373739402</c:v>
                </c:pt>
                <c:pt idx="261">
                  <c:v>521.23825823950199</c:v>
                </c:pt>
                <c:pt idx="262">
                  <c:v>511.27681597092499</c:v>
                </c:pt>
                <c:pt idx="263">
                  <c:v>511.60114199827399</c:v>
                </c:pt>
                <c:pt idx="264">
                  <c:v>509.33085980683097</c:v>
                </c:pt>
                <c:pt idx="265">
                  <c:v>493.90220736294202</c:v>
                </c:pt>
                <c:pt idx="266">
                  <c:v>488.34233260838698</c:v>
                </c:pt>
                <c:pt idx="267">
                  <c:v>469.99474591835599</c:v>
                </c:pt>
                <c:pt idx="268">
                  <c:v>456.37305276969698</c:v>
                </c:pt>
                <c:pt idx="269">
                  <c:v>445.80929073604398</c:v>
                </c:pt>
                <c:pt idx="270">
                  <c:v>435.43085786087499</c:v>
                </c:pt>
                <c:pt idx="271">
                  <c:v>430.380638292154</c:v>
                </c:pt>
                <c:pt idx="272">
                  <c:v>422.13349073956499</c:v>
                </c:pt>
                <c:pt idx="273">
                  <c:v>408.37280072204197</c:v>
                </c:pt>
                <c:pt idx="274">
                  <c:v>408.04847469469303</c:v>
                </c:pt>
                <c:pt idx="275">
                  <c:v>414.53499524167302</c:v>
                </c:pt>
                <c:pt idx="276">
                  <c:v>419.12189191418099</c:v>
                </c:pt>
                <c:pt idx="277">
                  <c:v>416.29562224728198</c:v>
                </c:pt>
                <c:pt idx="278">
                  <c:v>415.600637902963</c:v>
                </c:pt>
                <c:pt idx="279">
                  <c:v>414.76665668978001</c:v>
                </c:pt>
                <c:pt idx="280">
                  <c:v>414.395998372809</c:v>
                </c:pt>
                <c:pt idx="281">
                  <c:v>418.38057528024001</c:v>
                </c:pt>
                <c:pt idx="282">
                  <c:v>408.41913301166301</c:v>
                </c:pt>
                <c:pt idx="283">
                  <c:v>407.35349035037399</c:v>
                </c:pt>
                <c:pt idx="284">
                  <c:v>406.797502874918</c:v>
                </c:pt>
                <c:pt idx="285">
                  <c:v>404.66621755233899</c:v>
                </c:pt>
                <c:pt idx="286">
                  <c:v>398.41135845346503</c:v>
                </c:pt>
                <c:pt idx="287">
                  <c:v>396.14107626202201</c:v>
                </c:pt>
                <c:pt idx="288">
                  <c:v>390.95185982443701</c:v>
                </c:pt>
                <c:pt idx="289">
                  <c:v>394.51944612527598</c:v>
                </c:pt>
                <c:pt idx="290">
                  <c:v>391.41518272065002</c:v>
                </c:pt>
                <c:pt idx="291">
                  <c:v>394.19512009792697</c:v>
                </c:pt>
                <c:pt idx="292">
                  <c:v>391.87850561686298</c:v>
                </c:pt>
                <c:pt idx="293">
                  <c:v>389.09856823958597</c:v>
                </c:pt>
                <c:pt idx="294">
                  <c:v>386.689289179279</c:v>
                </c:pt>
                <c:pt idx="295">
                  <c:v>380.341765501162</c:v>
                </c:pt>
                <c:pt idx="296">
                  <c:v>378.164147888961</c:v>
                </c:pt>
                <c:pt idx="297">
                  <c:v>372.97493145137702</c:v>
                </c:pt>
                <c:pt idx="298">
                  <c:v>369.222015992053</c:v>
                </c:pt>
                <c:pt idx="299">
                  <c:v>368.94402225432498</c:v>
                </c:pt>
                <c:pt idx="300">
                  <c:v>360.55787783287201</c:v>
                </c:pt>
                <c:pt idx="301">
                  <c:v>358.14859877256401</c:v>
                </c:pt>
                <c:pt idx="302">
                  <c:v>353.79336354816297</c:v>
                </c:pt>
                <c:pt idx="303">
                  <c:v>345.68521286443797</c:v>
                </c:pt>
                <c:pt idx="304">
                  <c:v>341.23731306079401</c:v>
                </c:pt>
                <c:pt idx="305">
                  <c:v>339.15236002783598</c:v>
                </c:pt>
                <c:pt idx="306">
                  <c:v>337.29906844298398</c:v>
                </c:pt>
                <c:pt idx="307">
                  <c:v>298.10195142337398</c:v>
                </c:pt>
                <c:pt idx="308">
                  <c:v>254.87392520671099</c:v>
                </c:pt>
                <c:pt idx="309">
                  <c:v>261.916433229147</c:v>
                </c:pt>
                <c:pt idx="310">
                  <c:v>272.20220152507301</c:v>
                </c:pt>
                <c:pt idx="311">
                  <c:v>272.80452129014998</c:v>
                </c:pt>
                <c:pt idx="312">
                  <c:v>278.50339291356801</c:v>
                </c:pt>
                <c:pt idx="313">
                  <c:v>280.44934907766299</c:v>
                </c:pt>
                <c:pt idx="314">
                  <c:v>314.36458508044598</c:v>
                </c:pt>
                <c:pt idx="315">
                  <c:v>349.252799165277</c:v>
                </c:pt>
                <c:pt idx="316">
                  <c:v>337.66972675995498</c:v>
                </c:pt>
                <c:pt idx="317">
                  <c:v>321.96308057833801</c:v>
                </c:pt>
                <c:pt idx="318">
                  <c:v>319.73913067651603</c:v>
                </c:pt>
                <c:pt idx="319">
                  <c:v>318.25649740863503</c:v>
                </c:pt>
                <c:pt idx="320">
                  <c:v>315.24489858325097</c:v>
                </c:pt>
                <c:pt idx="321">
                  <c:v>308.38771971929998</c:v>
                </c:pt>
                <c:pt idx="322">
                  <c:v>304.86646570808199</c:v>
                </c:pt>
                <c:pt idx="323">
                  <c:v>306.85875416179698</c:v>
                </c:pt>
                <c:pt idx="324">
                  <c:v>310.24101130415198</c:v>
                </c:pt>
                <c:pt idx="325">
                  <c:v>306.95141874104002</c:v>
                </c:pt>
                <c:pt idx="326">
                  <c:v>303.01317412322999</c:v>
                </c:pt>
                <c:pt idx="327">
                  <c:v>304.12514907414101</c:v>
                </c:pt>
                <c:pt idx="328">
                  <c:v>301.85486688269799</c:v>
                </c:pt>
                <c:pt idx="329">
                  <c:v>298.93593263655703</c:v>
                </c:pt>
                <c:pt idx="330">
                  <c:v>296.57298586587098</c:v>
                </c:pt>
                <c:pt idx="331">
                  <c:v>290.503455925482</c:v>
                </c:pt>
                <c:pt idx="332">
                  <c:v>290.04013302926899</c:v>
                </c:pt>
                <c:pt idx="333">
                  <c:v>292.44941208957601</c:v>
                </c:pt>
                <c:pt idx="334">
                  <c:v>290.41079134623999</c:v>
                </c:pt>
                <c:pt idx="335">
                  <c:v>287.35286023123501</c:v>
                </c:pt>
                <c:pt idx="336">
                  <c:v>285.12891032941297</c:v>
                </c:pt>
                <c:pt idx="337">
                  <c:v>285.26790719827699</c:v>
                </c:pt>
                <c:pt idx="338">
                  <c:v>285.684897804868</c:v>
                </c:pt>
                <c:pt idx="339">
                  <c:v>288.74282891987298</c:v>
                </c:pt>
                <c:pt idx="340">
                  <c:v>292.31041522071303</c:v>
                </c:pt>
                <c:pt idx="341">
                  <c:v>293.515054750866</c:v>
                </c:pt>
                <c:pt idx="342">
                  <c:v>297.96295455451002</c:v>
                </c:pt>
                <c:pt idx="343">
                  <c:v>304.58847197035402</c:v>
                </c:pt>
                <c:pt idx="344">
                  <c:v>302.41085435815398</c:v>
                </c:pt>
                <c:pt idx="345">
                  <c:v>305.42245318353702</c:v>
                </c:pt>
                <c:pt idx="346">
                  <c:v>310.61166962112202</c:v>
                </c:pt>
                <c:pt idx="347">
                  <c:v>308.341387429679</c:v>
                </c:pt>
                <c:pt idx="348">
                  <c:v>307.78539995422301</c:v>
                </c:pt>
                <c:pt idx="349">
                  <c:v>308.71204574664898</c:v>
                </c:pt>
                <c:pt idx="350">
                  <c:v>309.175368642862</c:v>
                </c:pt>
                <c:pt idx="351">
                  <c:v>318.48815885674099</c:v>
                </c:pt>
                <c:pt idx="352">
                  <c:v>320.52677960007799</c:v>
                </c:pt>
                <c:pt idx="353">
                  <c:v>318.53449114636197</c:v>
                </c:pt>
                <c:pt idx="354">
                  <c:v>317.42251619545101</c:v>
                </c:pt>
                <c:pt idx="355">
                  <c:v>318.44182656712002</c:v>
                </c:pt>
                <c:pt idx="356">
                  <c:v>322.00941286795899</c:v>
                </c:pt>
                <c:pt idx="357">
                  <c:v>320.01712441424399</c:v>
                </c:pt>
                <c:pt idx="358">
                  <c:v>315.75455376908502</c:v>
                </c:pt>
                <c:pt idx="359">
                  <c:v>320.01712441424399</c:v>
                </c:pt>
                <c:pt idx="360">
                  <c:v>327.52295533289202</c:v>
                </c:pt>
                <c:pt idx="361">
                  <c:v>330.21022813092702</c:v>
                </c:pt>
                <c:pt idx="362">
                  <c:v>334.287469617601</c:v>
                </c:pt>
                <c:pt idx="363">
                  <c:v>345.77787744367998</c:v>
                </c:pt>
                <c:pt idx="364">
                  <c:v>367.92471188265603</c:v>
                </c:pt>
                <c:pt idx="365">
                  <c:v>382.61204769260502</c:v>
                </c:pt>
                <c:pt idx="366">
                  <c:v>382.61204769260502</c:v>
                </c:pt>
                <c:pt idx="367">
                  <c:v>381.40740816245199</c:v>
                </c:pt>
                <c:pt idx="368">
                  <c:v>381.26841129629628</c:v>
                </c:pt>
                <c:pt idx="369">
                  <c:v>378.58113849555298</c:v>
                </c:pt>
                <c:pt idx="370">
                  <c:v>366.720072352503</c:v>
                </c:pt>
                <c:pt idx="371">
                  <c:v>347.399507580425</c:v>
                </c:pt>
                <c:pt idx="372">
                  <c:v>340.21800268912602</c:v>
                </c:pt>
                <c:pt idx="373">
                  <c:v>345.45355141633098</c:v>
                </c:pt>
                <c:pt idx="374">
                  <c:v>350.225777247324</c:v>
                </c:pt>
                <c:pt idx="375">
                  <c:v>354.48834789248298</c:v>
                </c:pt>
                <c:pt idx="376">
                  <c:v>353.83969583778497</c:v>
                </c:pt>
                <c:pt idx="377">
                  <c:v>371.07530757690398</c:v>
                </c:pt>
                <c:pt idx="378">
                  <c:v>375.33787822206301</c:v>
                </c:pt>
                <c:pt idx="379">
                  <c:v>369.63900659864402</c:v>
                </c:pt>
                <c:pt idx="380">
                  <c:v>366.67374006288202</c:v>
                </c:pt>
                <c:pt idx="381">
                  <c:v>370.380323232585</c:v>
                </c:pt>
                <c:pt idx="382">
                  <c:v>366.30308174591102</c:v>
                </c:pt>
                <c:pt idx="383">
                  <c:v>365.515432822349</c:v>
                </c:pt>
                <c:pt idx="384">
                  <c:v>362.27217254885898</c:v>
                </c:pt>
                <c:pt idx="385">
                  <c:v>363.66214123749802</c:v>
                </c:pt>
                <c:pt idx="386">
                  <c:v>375.523207380548</c:v>
                </c:pt>
                <c:pt idx="387">
                  <c:v>382.61204769260502</c:v>
                </c:pt>
                <c:pt idx="388">
                  <c:v>388.58891305375101</c:v>
                </c:pt>
                <c:pt idx="389">
                  <c:v>391.36885043102899</c:v>
                </c:pt>
                <c:pt idx="390">
                  <c:v>393.82446178095699</c:v>
                </c:pt>
                <c:pt idx="391">
                  <c:v>399.38433653551198</c:v>
                </c:pt>
                <c:pt idx="392">
                  <c:v>374.318567850394</c:v>
                </c:pt>
                <c:pt idx="393">
                  <c:v>371.63129505235997</c:v>
                </c:pt>
                <c:pt idx="394">
                  <c:v>379.97110718419202</c:v>
                </c:pt>
                <c:pt idx="395">
                  <c:v>376.12552714562503</c:v>
                </c:pt>
                <c:pt idx="396">
                  <c:v>376.44985317297397</c:v>
                </c:pt>
                <c:pt idx="397">
                  <c:v>375.80120111827603</c:v>
                </c:pt>
                <c:pt idx="398">
                  <c:v>366.34941403553302</c:v>
                </c:pt>
                <c:pt idx="399">
                  <c:v>397.94803555725201</c:v>
                </c:pt>
                <c:pt idx="400">
                  <c:v>399.43066882513301</c:v>
                </c:pt>
                <c:pt idx="401">
                  <c:v>392.48082538194001</c:v>
                </c:pt>
                <c:pt idx="402">
                  <c:v>390.07154632163298</c:v>
                </c:pt>
                <c:pt idx="403">
                  <c:v>387.24527665473403</c:v>
                </c:pt>
                <c:pt idx="404">
                  <c:v>387.80126413019002</c:v>
                </c:pt>
                <c:pt idx="405">
                  <c:v>392.110167064969</c:v>
                </c:pt>
                <c:pt idx="406">
                  <c:v>389.79355258390501</c:v>
                </c:pt>
                <c:pt idx="407">
                  <c:v>414.21066921432401</c:v>
                </c:pt>
                <c:pt idx="408">
                  <c:v>420.23386686509201</c:v>
                </c:pt>
                <c:pt idx="409">
                  <c:v>433.76289543450798</c:v>
                </c:pt>
                <c:pt idx="410">
                  <c:v>444.78998036437503</c:v>
                </c:pt>
                <c:pt idx="411">
                  <c:v>451.46183006984103</c:v>
                </c:pt>
                <c:pt idx="412">
                  <c:v>464.75919719115097</c:v>
                </c:pt>
                <c:pt idx="413">
                  <c:v>499.415749827875</c:v>
                </c:pt>
                <c:pt idx="414">
                  <c:v>499.23042066939001</c:v>
                </c:pt>
                <c:pt idx="415">
                  <c:v>536.66691068339196</c:v>
                </c:pt>
                <c:pt idx="416">
                  <c:v>566.64390206836595</c:v>
                </c:pt>
                <c:pt idx="417">
                  <c:v>587.12277408097498</c:v>
                </c:pt>
                <c:pt idx="418">
                  <c:v>601.43945157395399</c:v>
                </c:pt>
                <c:pt idx="419">
                  <c:v>628.17318268543795</c:v>
                </c:pt>
                <c:pt idx="420">
                  <c:v>671.77186721907105</c:v>
                </c:pt>
                <c:pt idx="421">
                  <c:v>713.74892161595903</c:v>
                </c:pt>
                <c:pt idx="422">
                  <c:v>687.33951653182396</c:v>
                </c:pt>
                <c:pt idx="423">
                  <c:v>714.44390596027802</c:v>
                </c:pt>
                <c:pt idx="424">
                  <c:v>750.16610125829197</c:v>
                </c:pt>
                <c:pt idx="425">
                  <c:v>781.99638422811699</c:v>
                </c:pt>
                <c:pt idx="426">
                  <c:v>835.83450476805501</c:v>
                </c:pt>
                <c:pt idx="427">
                  <c:v>848.66854899315297</c:v>
                </c:pt>
                <c:pt idx="428">
                  <c:v>862.93889419650998</c:v>
                </c:pt>
                <c:pt idx="429">
                  <c:v>931.37168596715401</c:v>
                </c:pt>
                <c:pt idx="430">
                  <c:v>949.48761120907795</c:v>
                </c:pt>
                <c:pt idx="431">
                  <c:v>939.29450749239402</c:v>
                </c:pt>
                <c:pt idx="432">
                  <c:v>924.69983626168801</c:v>
                </c:pt>
                <c:pt idx="433">
                  <c:v>910.61482021681604</c:v>
                </c:pt>
                <c:pt idx="434">
                  <c:v>948.09764252043897</c:v>
                </c:pt>
                <c:pt idx="435">
                  <c:v>992.02065308142096</c:v>
                </c:pt>
                <c:pt idx="436">
                  <c:v>1015.88178223638</c:v>
                </c:pt>
                <c:pt idx="437">
                  <c:v>1050.9089931900801</c:v>
                </c:pt>
                <c:pt idx="438">
                  <c:v>1074.6311254761799</c:v>
                </c:pt>
                <c:pt idx="439">
                  <c:v>1086.7238530673301</c:v>
                </c:pt>
                <c:pt idx="440">
                  <c:v>1133.6584624536999</c:v>
                </c:pt>
                <c:pt idx="441">
                  <c:v>1174.4772096100501</c:v>
                </c:pt>
                <c:pt idx="442">
                  <c:v>1141.99827458553</c:v>
                </c:pt>
                <c:pt idx="443">
                  <c:v>1162.8014726254901</c:v>
                </c:pt>
                <c:pt idx="444">
                  <c:v>1226.7400323028701</c:v>
                </c:pt>
                <c:pt idx="445">
                  <c:v>1280.8561465805301</c:v>
                </c:pt>
                <c:pt idx="446">
                  <c:v>1306.5705673203499</c:v>
                </c:pt>
                <c:pt idx="447">
                  <c:v>1334.0919473553899</c:v>
                </c:pt>
                <c:pt idx="448">
                  <c:v>1377.78329646827</c:v>
                </c:pt>
                <c:pt idx="449">
                  <c:v>1522.71069840366</c:v>
                </c:pt>
                <c:pt idx="450">
                  <c:v>1599.0663116995499</c:v>
                </c:pt>
                <c:pt idx="451">
                  <c:v>1611.7613590557801</c:v>
                </c:pt>
                <c:pt idx="452">
                  <c:v>1636.13214339658</c:v>
                </c:pt>
                <c:pt idx="453">
                  <c:v>1667.9160940767799</c:v>
                </c:pt>
                <c:pt idx="454">
                  <c:v>1707.2522079652599</c:v>
                </c:pt>
                <c:pt idx="455">
                  <c:v>1745.56901148206</c:v>
                </c:pt>
                <c:pt idx="456">
                  <c:v>1745.8470052197899</c:v>
                </c:pt>
                <c:pt idx="457">
                  <c:v>1759.23703692034</c:v>
                </c:pt>
                <c:pt idx="458">
                  <c:v>1778.32594024431</c:v>
                </c:pt>
                <c:pt idx="459">
                  <c:v>1780.64255472538</c:v>
                </c:pt>
                <c:pt idx="460">
                  <c:v>1756.82775786004</c:v>
                </c:pt>
                <c:pt idx="461">
                  <c:v>1752.8431809526101</c:v>
                </c:pt>
                <c:pt idx="462">
                  <c:v>1743.76205218683</c:v>
                </c:pt>
                <c:pt idx="463">
                  <c:v>1706.3255621728299</c:v>
                </c:pt>
                <c:pt idx="464">
                  <c:v>1678.5261884000599</c:v>
                </c:pt>
                <c:pt idx="465">
                  <c:v>1636.31747255506</c:v>
                </c:pt>
                <c:pt idx="466">
                  <c:v>1605.5991645361501</c:v>
                </c:pt>
                <c:pt idx="467">
                  <c:v>1589.9851829337699</c:v>
                </c:pt>
                <c:pt idx="468">
                  <c:v>1572.5642420361701</c:v>
                </c:pt>
                <c:pt idx="469">
                  <c:v>1537.62969566172</c:v>
                </c:pt>
                <c:pt idx="470">
                  <c:v>1507.1430490909099</c:v>
                </c:pt>
                <c:pt idx="471">
                  <c:v>1462.5250541856101</c:v>
                </c:pt>
                <c:pt idx="472">
                  <c:v>1434.16969293738</c:v>
                </c:pt>
                <c:pt idx="473">
                  <c:v>1401.0884381477799</c:v>
                </c:pt>
                <c:pt idx="474">
                  <c:v>1396.6405383441299</c:v>
                </c:pt>
                <c:pt idx="475">
                  <c:v>1381.1192213209999</c:v>
                </c:pt>
                <c:pt idx="476">
                  <c:v>1365.2735782705199</c:v>
                </c:pt>
                <c:pt idx="477">
                  <c:v>1379.3585943153901</c:v>
                </c:pt>
                <c:pt idx="478">
                  <c:v>1404.5633598693801</c:v>
                </c:pt>
                <c:pt idx="479">
                  <c:v>1242.49301077411</c:v>
                </c:pt>
                <c:pt idx="480">
                  <c:v>1158.72423113881</c:v>
                </c:pt>
                <c:pt idx="481">
                  <c:v>1136.4847321206</c:v>
                </c:pt>
                <c:pt idx="482">
                  <c:v>1100.34554621599</c:v>
                </c:pt>
                <c:pt idx="483">
                  <c:v>1052.2989618787101</c:v>
                </c:pt>
                <c:pt idx="484">
                  <c:v>980.99356815155397</c:v>
                </c:pt>
                <c:pt idx="485">
                  <c:v>913.53375446295695</c:v>
                </c:pt>
                <c:pt idx="486">
                  <c:v>1017.50341237313</c:v>
                </c:pt>
                <c:pt idx="487">
                  <c:v>1014.63081041661</c:v>
                </c:pt>
                <c:pt idx="488">
                  <c:v>1030.3374565982199</c:v>
                </c:pt>
                <c:pt idx="489">
                  <c:v>1078.1060471977701</c:v>
                </c:pt>
                <c:pt idx="490">
                  <c:v>1124.34567223982</c:v>
                </c:pt>
                <c:pt idx="491">
                  <c:v>1167.7126953253401</c:v>
                </c:pt>
                <c:pt idx="492">
                  <c:v>1188.3305642068201</c:v>
                </c:pt>
                <c:pt idx="493">
                  <c:v>1221.9678064718701</c:v>
                </c:pt>
                <c:pt idx="494">
                  <c:v>1284.65539432948</c:v>
                </c:pt>
                <c:pt idx="495">
                  <c:v>1285.07238493607</c:v>
                </c:pt>
                <c:pt idx="496">
                  <c:v>1238.09144326008</c:v>
                </c:pt>
                <c:pt idx="497">
                  <c:v>1208.71677164019</c:v>
                </c:pt>
                <c:pt idx="498">
                  <c:v>1173.50423152801</c:v>
                </c:pt>
                <c:pt idx="499">
                  <c:v>1143.4809078534099</c:v>
                </c:pt>
                <c:pt idx="500">
                  <c:v>1131.24918339339</c:v>
                </c:pt>
                <c:pt idx="501">
                  <c:v>1153.4886824116099</c:v>
                </c:pt>
                <c:pt idx="502">
                  <c:v>1160.57752272367</c:v>
                </c:pt>
                <c:pt idx="503">
                  <c:v>1172.2069274186099</c:v>
                </c:pt>
                <c:pt idx="504">
                  <c:v>1179.7590906268799</c:v>
                </c:pt>
                <c:pt idx="505">
                  <c:v>1254.49307378602</c:v>
                </c:pt>
                <c:pt idx="506">
                  <c:v>1349.7059289577701</c:v>
                </c:pt>
                <c:pt idx="507">
                  <c:v>1423.1889402971301</c:v>
                </c:pt>
                <c:pt idx="508">
                  <c:v>1464.33201348084</c:v>
                </c:pt>
                <c:pt idx="509">
                  <c:v>1493.98467883846</c:v>
                </c:pt>
                <c:pt idx="510">
                  <c:v>1556.5332698272</c:v>
                </c:pt>
                <c:pt idx="511">
                  <c:v>1631.68424359293</c:v>
                </c:pt>
                <c:pt idx="512">
                  <c:v>1687.60731716583</c:v>
                </c:pt>
                <c:pt idx="513">
                  <c:v>1743.6693876075899</c:v>
                </c:pt>
                <c:pt idx="514">
                  <c:v>1852.27227447989</c:v>
                </c:pt>
                <c:pt idx="515">
                  <c:v>1895.0369778003401</c:v>
                </c:pt>
                <c:pt idx="516">
                  <c:v>1927.1915867975199</c:v>
                </c:pt>
                <c:pt idx="517">
                  <c:v>1953.83265332976</c:v>
                </c:pt>
                <c:pt idx="518">
                  <c:v>2037.13811006884</c:v>
                </c:pt>
                <c:pt idx="519">
                  <c:v>2073.74061886965</c:v>
                </c:pt>
                <c:pt idx="520">
                  <c:v>2136.47453901688</c:v>
                </c:pt>
                <c:pt idx="521">
                  <c:v>2116.4126576108602</c:v>
                </c:pt>
                <c:pt idx="522">
                  <c:v>2099.7793656368199</c:v>
                </c:pt>
                <c:pt idx="523">
                  <c:v>2072.6286439187402</c:v>
                </c:pt>
                <c:pt idx="524">
                  <c:v>2085.3236912749799</c:v>
                </c:pt>
                <c:pt idx="525">
                  <c:v>2034.26550811232</c:v>
                </c:pt>
                <c:pt idx="526">
                  <c:v>1987.7015570429201</c:v>
                </c:pt>
                <c:pt idx="527">
                  <c:v>1941.27660284239</c:v>
                </c:pt>
                <c:pt idx="528">
                  <c:v>1901.4771660577001</c:v>
                </c:pt>
                <c:pt idx="529">
                  <c:v>1863.9943437540801</c:v>
                </c:pt>
                <c:pt idx="530">
                  <c:v>1848.6120235998101</c:v>
                </c:pt>
                <c:pt idx="531">
                  <c:v>1829.47678798622</c:v>
                </c:pt>
                <c:pt idx="532">
                  <c:v>1797.83183417488</c:v>
                </c:pt>
                <c:pt idx="533">
                  <c:v>1760.16368271277</c:v>
                </c:pt>
                <c:pt idx="534">
                  <c:v>1720.9202334035399</c:v>
                </c:pt>
                <c:pt idx="535">
                  <c:v>1660.27126628927</c:v>
                </c:pt>
                <c:pt idx="536">
                  <c:v>1642.8503253916699</c:v>
                </c:pt>
                <c:pt idx="537">
                  <c:v>1626.2633657072399</c:v>
                </c:pt>
                <c:pt idx="538">
                  <c:v>1585.2129571027799</c:v>
                </c:pt>
                <c:pt idx="539">
                  <c:v>1511.9152749218999</c:v>
                </c:pt>
                <c:pt idx="540">
                  <c:v>1451.5906338349801</c:v>
                </c:pt>
                <c:pt idx="541">
                  <c:v>1384.0381555671399</c:v>
                </c:pt>
                <c:pt idx="542">
                  <c:v>1344.14605420321</c:v>
                </c:pt>
                <c:pt idx="543">
                  <c:v>1202.5082448309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CR_testu_65_100_000_7dni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-7.0635000000000003E-2</c:v>
                </c:pt>
                <c:pt idx="1">
                  <c:v>-6.3264000000000001E-2</c:v>
                </c:pt>
                <c:pt idx="2">
                  <c:v>-7.9283999999999993E-2</c:v>
                </c:pt>
                <c:pt idx="3">
                  <c:v>2.8452000000000002E-2</c:v>
                </c:pt>
                <c:pt idx="4">
                  <c:v>5.0068000000000001E-2</c:v>
                </c:pt>
                <c:pt idx="5">
                  <c:v>-6.0470999999999997E-2</c:v>
                </c:pt>
                <c:pt idx="6">
                  <c:v>-8.3405999999999994E-2</c:v>
                </c:pt>
                <c:pt idx="7">
                  <c:v>-6.3710000000000003E-2</c:v>
                </c:pt>
                <c:pt idx="8">
                  <c:v>-7.4552999999999994E-2</c:v>
                </c:pt>
                <c:pt idx="9">
                  <c:v>-5.7166000000000002E-2</c:v>
                </c:pt>
                <c:pt idx="10">
                  <c:v>4.2304000000000001E-2</c:v>
                </c:pt>
                <c:pt idx="11">
                  <c:v>0.125856</c:v>
                </c:pt>
                <c:pt idx="12">
                  <c:v>5.1847999999999998E-2</c:v>
                </c:pt>
                <c:pt idx="13">
                  <c:v>5.6590000000000001E-2</c:v>
                </c:pt>
                <c:pt idx="14">
                  <c:v>5.5452000000000001E-2</c:v>
                </c:pt>
                <c:pt idx="15">
                  <c:v>6.6258999999999998E-2</c:v>
                </c:pt>
                <c:pt idx="16">
                  <c:v>7.7206999999999998E-2</c:v>
                </c:pt>
                <c:pt idx="17">
                  <c:v>0.103892</c:v>
                </c:pt>
                <c:pt idx="18">
                  <c:v>9.6922999999999995E-2</c:v>
                </c:pt>
                <c:pt idx="19">
                  <c:v>1.2647E-2</c:v>
                </c:pt>
                <c:pt idx="20">
                  <c:v>-2.4060000000000002E-3</c:v>
                </c:pt>
                <c:pt idx="21">
                  <c:v>-4.6620000000000003E-3</c:v>
                </c:pt>
                <c:pt idx="22">
                  <c:v>-5.6870999999999998E-2</c:v>
                </c:pt>
                <c:pt idx="23">
                  <c:v>-5.0597000000000003E-2</c:v>
                </c:pt>
                <c:pt idx="24">
                  <c:v>2.7043000000000001E-2</c:v>
                </c:pt>
                <c:pt idx="25">
                  <c:v>6.1388999999999999E-2</c:v>
                </c:pt>
                <c:pt idx="26">
                  <c:v>-3.0322000000000002E-2</c:v>
                </c:pt>
                <c:pt idx="27">
                  <c:v>-0.12119099999999999</c:v>
                </c:pt>
                <c:pt idx="28">
                  <c:v>-0.15740499999999999</c:v>
                </c:pt>
                <c:pt idx="29">
                  <c:v>-0.15316299999999999</c:v>
                </c:pt>
                <c:pt idx="30">
                  <c:v>-0.12194099999999999</c:v>
                </c:pt>
                <c:pt idx="31">
                  <c:v>-5.8219E-2</c:v>
                </c:pt>
                <c:pt idx="32">
                  <c:v>-1.4348E-2</c:v>
                </c:pt>
                <c:pt idx="33">
                  <c:v>-1.5082E-2</c:v>
                </c:pt>
                <c:pt idx="34">
                  <c:v>6.7863000000000007E-2</c:v>
                </c:pt>
                <c:pt idx="35">
                  <c:v>9.8624000000000003E-2</c:v>
                </c:pt>
                <c:pt idx="36">
                  <c:v>8.2751000000000005E-2</c:v>
                </c:pt>
                <c:pt idx="37">
                  <c:v>7.6733999999999997E-2</c:v>
                </c:pt>
                <c:pt idx="38">
                  <c:v>0.136966</c:v>
                </c:pt>
                <c:pt idx="39">
                  <c:v>0.16486999999999999</c:v>
                </c:pt>
                <c:pt idx="40">
                  <c:v>8.1833000000000003E-2</c:v>
                </c:pt>
                <c:pt idx="41">
                  <c:v>8.5939999999999992E-3</c:v>
                </c:pt>
                <c:pt idx="42">
                  <c:v>1.652E-2</c:v>
                </c:pt>
                <c:pt idx="43">
                  <c:v>7.0878999999999998E-2</c:v>
                </c:pt>
                <c:pt idx="44">
                  <c:v>0.107706</c:v>
                </c:pt>
                <c:pt idx="45">
                  <c:v>0.22589999999999999</c:v>
                </c:pt>
                <c:pt idx="46">
                  <c:v>0.31085299999999999</c:v>
                </c:pt>
                <c:pt idx="47">
                  <c:v>0.22062699999999999</c:v>
                </c:pt>
                <c:pt idx="48">
                  <c:v>0.16841400000000001</c:v>
                </c:pt>
                <c:pt idx="49">
                  <c:v>0.132302</c:v>
                </c:pt>
                <c:pt idx="50">
                  <c:v>0.13611599999999999</c:v>
                </c:pt>
                <c:pt idx="51">
                  <c:v>0.12843299999999999</c:v>
                </c:pt>
                <c:pt idx="52">
                  <c:v>0.156888</c:v>
                </c:pt>
                <c:pt idx="53">
                  <c:v>0.18462999999999999</c:v>
                </c:pt>
                <c:pt idx="54">
                  <c:v>0.11013100000000001</c:v>
                </c:pt>
                <c:pt idx="55">
                  <c:v>7.6846999999999999E-2</c:v>
                </c:pt>
                <c:pt idx="56">
                  <c:v>6.6321000000000005E-2</c:v>
                </c:pt>
                <c:pt idx="57">
                  <c:v>1.149E-2</c:v>
                </c:pt>
                <c:pt idx="58">
                  <c:v>-2.6356000000000001E-2</c:v>
                </c:pt>
                <c:pt idx="59">
                  <c:v>9.3539999999999995E-3</c:v>
                </c:pt>
                <c:pt idx="60">
                  <c:v>3.8842000000000002E-2</c:v>
                </c:pt>
                <c:pt idx="61">
                  <c:v>-4.3521999999999998E-2</c:v>
                </c:pt>
                <c:pt idx="62">
                  <c:v>-0.11437700000000001</c:v>
                </c:pt>
                <c:pt idx="63">
                  <c:v>-0.11619400000000001</c:v>
                </c:pt>
                <c:pt idx="64">
                  <c:v>-8.6807999999999996E-2</c:v>
                </c:pt>
                <c:pt idx="65">
                  <c:v>-7.5882000000000005E-2</c:v>
                </c:pt>
                <c:pt idx="66">
                  <c:v>-6.1809999999999997E-2</c:v>
                </c:pt>
                <c:pt idx="67">
                  <c:v>-4.9494999999999997E-2</c:v>
                </c:pt>
                <c:pt idx="68">
                  <c:v>-0.114631</c:v>
                </c:pt>
                <c:pt idx="69">
                  <c:v>-0.13849600000000001</c:v>
                </c:pt>
                <c:pt idx="70">
                  <c:v>-0.14219399999999999</c:v>
                </c:pt>
                <c:pt idx="71">
                  <c:v>-0.18792700000000001</c:v>
                </c:pt>
                <c:pt idx="72">
                  <c:v>-0.235511</c:v>
                </c:pt>
                <c:pt idx="73">
                  <c:v>-0.22040100000000001</c:v>
                </c:pt>
                <c:pt idx="74">
                  <c:v>-0.20284199999999999</c:v>
                </c:pt>
                <c:pt idx="75">
                  <c:v>-0.25218099999999999</c:v>
                </c:pt>
                <c:pt idx="76">
                  <c:v>-0.292377</c:v>
                </c:pt>
                <c:pt idx="77">
                  <c:v>-0.36588500000000002</c:v>
                </c:pt>
                <c:pt idx="78">
                  <c:v>-0.38158799999999998</c:v>
                </c:pt>
                <c:pt idx="79">
                  <c:v>-0.37879099999999999</c:v>
                </c:pt>
                <c:pt idx="80">
                  <c:v>-0.34773199999999999</c:v>
                </c:pt>
                <c:pt idx="81">
                  <c:v>-0.306255</c:v>
                </c:pt>
                <c:pt idx="82">
                  <c:v>-0.35275200000000001</c:v>
                </c:pt>
                <c:pt idx="83">
                  <c:v>-0.30859199999999998</c:v>
                </c:pt>
                <c:pt idx="84">
                  <c:v>-0.22089600000000001</c:v>
                </c:pt>
                <c:pt idx="85">
                  <c:v>-0.19734499999999999</c:v>
                </c:pt>
                <c:pt idx="86">
                  <c:v>-0.18021999999999999</c:v>
                </c:pt>
                <c:pt idx="87">
                  <c:v>-0.10385800000000001</c:v>
                </c:pt>
                <c:pt idx="88">
                  <c:v>-7.1145E-2</c:v>
                </c:pt>
                <c:pt idx="89">
                  <c:v>-0.17494199999999999</c:v>
                </c:pt>
                <c:pt idx="90">
                  <c:v>-0.20055600000000001</c:v>
                </c:pt>
                <c:pt idx="91">
                  <c:v>-0.249477</c:v>
                </c:pt>
                <c:pt idx="92">
                  <c:v>-0.22555700000000001</c:v>
                </c:pt>
                <c:pt idx="93">
                  <c:v>-0.21856100000000001</c:v>
                </c:pt>
                <c:pt idx="94">
                  <c:v>-0.16447200000000001</c:v>
                </c:pt>
                <c:pt idx="95">
                  <c:v>-0.12873000000000001</c:v>
                </c:pt>
                <c:pt idx="96">
                  <c:v>-0.20779600000000001</c:v>
                </c:pt>
                <c:pt idx="97">
                  <c:v>-0.18657799999999999</c:v>
                </c:pt>
                <c:pt idx="98">
                  <c:v>-0.160103</c:v>
                </c:pt>
                <c:pt idx="99">
                  <c:v>-0.132379</c:v>
                </c:pt>
                <c:pt idx="100">
                  <c:v>-0.10884000000000001</c:v>
                </c:pt>
                <c:pt idx="101">
                  <c:v>-1.9231999999999999E-2</c:v>
                </c:pt>
                <c:pt idx="102">
                  <c:v>2.9700000000000001E-2</c:v>
                </c:pt>
                <c:pt idx="103">
                  <c:v>-6.6490999999999995E-2</c:v>
                </c:pt>
                <c:pt idx="104">
                  <c:v>-6.4637E-2</c:v>
                </c:pt>
                <c:pt idx="105">
                  <c:v>-6.4301999999999998E-2</c:v>
                </c:pt>
                <c:pt idx="106">
                  <c:v>-3.1349000000000002E-2</c:v>
                </c:pt>
                <c:pt idx="107">
                  <c:v>-5.5024999999999998E-2</c:v>
                </c:pt>
                <c:pt idx="108">
                  <c:v>-1.3441E-2</c:v>
                </c:pt>
                <c:pt idx="109">
                  <c:v>2.4503E-2</c:v>
                </c:pt>
                <c:pt idx="110">
                  <c:v>-7.7813999999999994E-2</c:v>
                </c:pt>
                <c:pt idx="111">
                  <c:v>-9.2301999999999995E-2</c:v>
                </c:pt>
                <c:pt idx="112">
                  <c:v>-9.3434000000000003E-2</c:v>
                </c:pt>
                <c:pt idx="113">
                  <c:v>-6.9524000000000002E-2</c:v>
                </c:pt>
                <c:pt idx="114">
                  <c:v>-0.17272999999999999</c:v>
                </c:pt>
                <c:pt idx="115">
                  <c:v>-0.228906</c:v>
                </c:pt>
                <c:pt idx="116">
                  <c:v>-0.252471</c:v>
                </c:pt>
                <c:pt idx="117">
                  <c:v>-0.31807600000000003</c:v>
                </c:pt>
                <c:pt idx="118">
                  <c:v>-0.323963</c:v>
                </c:pt>
                <c:pt idx="119">
                  <c:v>-0.31551200000000001</c:v>
                </c:pt>
                <c:pt idx="120">
                  <c:v>-0.21219099999999999</c:v>
                </c:pt>
                <c:pt idx="121">
                  <c:v>-1.0057E-2</c:v>
                </c:pt>
                <c:pt idx="122">
                  <c:v>0.103265</c:v>
                </c:pt>
                <c:pt idx="123">
                  <c:v>0.19636600000000001</c:v>
                </c:pt>
                <c:pt idx="124">
                  <c:v>8.8514999999999996E-2</c:v>
                </c:pt>
                <c:pt idx="125">
                  <c:v>7.7711000000000002E-2</c:v>
                </c:pt>
                <c:pt idx="126">
                  <c:v>8.0576999999999996E-2</c:v>
                </c:pt>
                <c:pt idx="127">
                  <c:v>0.120533</c:v>
                </c:pt>
                <c:pt idx="128">
                  <c:v>0.20088600000000001</c:v>
                </c:pt>
                <c:pt idx="129">
                  <c:v>0.32735500000000001</c:v>
                </c:pt>
                <c:pt idx="130">
                  <c:v>0.306863</c:v>
                </c:pt>
                <c:pt idx="131">
                  <c:v>0.135658</c:v>
                </c:pt>
                <c:pt idx="132">
                  <c:v>4.7530000000000003E-2</c:v>
                </c:pt>
                <c:pt idx="133">
                  <c:v>-1.2695E-2</c:v>
                </c:pt>
                <c:pt idx="134">
                  <c:v>-6.5771999999999997E-2</c:v>
                </c:pt>
                <c:pt idx="135">
                  <c:v>-0.15587599999999999</c:v>
                </c:pt>
                <c:pt idx="136">
                  <c:v>-0.23933399999999999</c:v>
                </c:pt>
                <c:pt idx="137">
                  <c:v>-0.245342</c:v>
                </c:pt>
                <c:pt idx="138">
                  <c:v>-0.30675799999999998</c:v>
                </c:pt>
                <c:pt idx="139">
                  <c:v>-0.32646399999999998</c:v>
                </c:pt>
                <c:pt idx="140">
                  <c:v>-0.31447199999999997</c:v>
                </c:pt>
                <c:pt idx="141">
                  <c:v>-0.30355399999999999</c:v>
                </c:pt>
                <c:pt idx="142">
                  <c:v>-0.28744900000000001</c:v>
                </c:pt>
                <c:pt idx="143">
                  <c:v>-0.21578800000000001</c:v>
                </c:pt>
                <c:pt idx="144">
                  <c:v>-0.18693799999999999</c:v>
                </c:pt>
                <c:pt idx="145">
                  <c:v>-0.24651200000000001</c:v>
                </c:pt>
                <c:pt idx="146">
                  <c:v>-0.24384500000000001</c:v>
                </c:pt>
                <c:pt idx="147">
                  <c:v>-0.23242199999999999</c:v>
                </c:pt>
                <c:pt idx="148">
                  <c:v>-0.19444</c:v>
                </c:pt>
                <c:pt idx="149">
                  <c:v>-0.177733</c:v>
                </c:pt>
                <c:pt idx="150">
                  <c:v>-0.113174</c:v>
                </c:pt>
                <c:pt idx="151">
                  <c:v>-8.2733000000000001E-2</c:v>
                </c:pt>
                <c:pt idx="152">
                  <c:v>-0.17100799999999999</c:v>
                </c:pt>
                <c:pt idx="153">
                  <c:v>-0.170706</c:v>
                </c:pt>
                <c:pt idx="154">
                  <c:v>-0.155973</c:v>
                </c:pt>
                <c:pt idx="155">
                  <c:v>-0.14741199999999999</c:v>
                </c:pt>
                <c:pt idx="156">
                  <c:v>-0.14952399999999999</c:v>
                </c:pt>
                <c:pt idx="157">
                  <c:v>-8.4726999999999997E-2</c:v>
                </c:pt>
                <c:pt idx="158">
                  <c:v>-4.8249E-2</c:v>
                </c:pt>
                <c:pt idx="159">
                  <c:v>-0.13553200000000001</c:v>
                </c:pt>
                <c:pt idx="160">
                  <c:v>-0.16226199999999999</c:v>
                </c:pt>
                <c:pt idx="161">
                  <c:v>-0.16000900000000001</c:v>
                </c:pt>
                <c:pt idx="162">
                  <c:v>-0.155305</c:v>
                </c:pt>
                <c:pt idx="163">
                  <c:v>-0.18013699999999999</c:v>
                </c:pt>
                <c:pt idx="164">
                  <c:v>-0.124473</c:v>
                </c:pt>
                <c:pt idx="165">
                  <c:v>-0.10358100000000001</c:v>
                </c:pt>
                <c:pt idx="166">
                  <c:v>-0.18343200000000001</c:v>
                </c:pt>
                <c:pt idx="167">
                  <c:v>-0.18220600000000001</c:v>
                </c:pt>
                <c:pt idx="168">
                  <c:v>-0.169294</c:v>
                </c:pt>
                <c:pt idx="169">
                  <c:v>-0.14215</c:v>
                </c:pt>
                <c:pt idx="170">
                  <c:v>-0.116393</c:v>
                </c:pt>
                <c:pt idx="171">
                  <c:v>-3.1313000000000001E-2</c:v>
                </c:pt>
                <c:pt idx="172">
                  <c:v>8.7039999999999999E-3</c:v>
                </c:pt>
                <c:pt idx="173">
                  <c:v>-8.7367E-2</c:v>
                </c:pt>
                <c:pt idx="174">
                  <c:v>-9.5338999999999993E-2</c:v>
                </c:pt>
                <c:pt idx="175">
                  <c:v>-5.6959999999999997E-2</c:v>
                </c:pt>
                <c:pt idx="176">
                  <c:v>-3.6004000000000001E-2</c:v>
                </c:pt>
                <c:pt idx="177">
                  <c:v>-4.5870000000000001E-2</c:v>
                </c:pt>
                <c:pt idx="178">
                  <c:v>3.3119000000000003E-2</c:v>
                </c:pt>
                <c:pt idx="179">
                  <c:v>6.6037999999999999E-2</c:v>
                </c:pt>
                <c:pt idx="180">
                  <c:v>-5.1916999999999998E-2</c:v>
                </c:pt>
                <c:pt idx="181">
                  <c:v>-8.2956000000000002E-2</c:v>
                </c:pt>
                <c:pt idx="182">
                  <c:v>-7.1998000000000006E-2</c:v>
                </c:pt>
                <c:pt idx="183">
                  <c:v>-7.1667999999999996E-2</c:v>
                </c:pt>
                <c:pt idx="184">
                  <c:v>-9.4020999999999993E-2</c:v>
                </c:pt>
                <c:pt idx="185">
                  <c:v>-3.7245E-2</c:v>
                </c:pt>
                <c:pt idx="186">
                  <c:v>-9.6609999999999994E-3</c:v>
                </c:pt>
                <c:pt idx="187">
                  <c:v>-0.102925</c:v>
                </c:pt>
                <c:pt idx="188">
                  <c:v>-0.14194000000000001</c:v>
                </c:pt>
                <c:pt idx="189">
                  <c:v>-0.16442399999999999</c:v>
                </c:pt>
                <c:pt idx="190">
                  <c:v>-0.162381</c:v>
                </c:pt>
                <c:pt idx="191">
                  <c:v>-0.181038</c:v>
                </c:pt>
                <c:pt idx="192">
                  <c:v>-0.12872</c:v>
                </c:pt>
                <c:pt idx="193">
                  <c:v>-0.108864</c:v>
                </c:pt>
                <c:pt idx="194">
                  <c:v>-0.19289100000000001</c:v>
                </c:pt>
                <c:pt idx="195">
                  <c:v>-0.19739100000000001</c:v>
                </c:pt>
                <c:pt idx="196">
                  <c:v>-0.17973800000000001</c:v>
                </c:pt>
                <c:pt idx="197">
                  <c:v>-0.17347199999999999</c:v>
                </c:pt>
                <c:pt idx="198">
                  <c:v>-0.184836</c:v>
                </c:pt>
                <c:pt idx="199">
                  <c:v>-0.130574</c:v>
                </c:pt>
                <c:pt idx="200">
                  <c:v>-9.7244999999999998E-2</c:v>
                </c:pt>
                <c:pt idx="201">
                  <c:v>-0.17621899999999999</c:v>
                </c:pt>
                <c:pt idx="202">
                  <c:v>-0.209595</c:v>
                </c:pt>
                <c:pt idx="203">
                  <c:v>-0.21571599999999999</c:v>
                </c:pt>
                <c:pt idx="204">
                  <c:v>-0.21950500000000001</c:v>
                </c:pt>
                <c:pt idx="205">
                  <c:v>-0.220107</c:v>
                </c:pt>
                <c:pt idx="206">
                  <c:v>-0.17272999999999999</c:v>
                </c:pt>
                <c:pt idx="207">
                  <c:v>-0.161522</c:v>
                </c:pt>
                <c:pt idx="208">
                  <c:v>-0.24531600000000001</c:v>
                </c:pt>
                <c:pt idx="209">
                  <c:v>-0.245473</c:v>
                </c:pt>
                <c:pt idx="210">
                  <c:v>-0.23336799999999999</c:v>
                </c:pt>
                <c:pt idx="211">
                  <c:v>-0.21592700000000001</c:v>
                </c:pt>
                <c:pt idx="212">
                  <c:v>-0.225525</c:v>
                </c:pt>
                <c:pt idx="213">
                  <c:v>-0.22702800000000001</c:v>
                </c:pt>
                <c:pt idx="214">
                  <c:v>-0.21899399999999999</c:v>
                </c:pt>
                <c:pt idx="215">
                  <c:v>-0.28996499999999997</c:v>
                </c:pt>
                <c:pt idx="216">
                  <c:v>-0.39292700000000003</c:v>
                </c:pt>
                <c:pt idx="217">
                  <c:v>-0.38036700000000001</c:v>
                </c:pt>
                <c:pt idx="218">
                  <c:v>-0.35097600000000001</c:v>
                </c:pt>
                <c:pt idx="219">
                  <c:v>-0.299701</c:v>
                </c:pt>
                <c:pt idx="220">
                  <c:v>-0.168487</c:v>
                </c:pt>
                <c:pt idx="221">
                  <c:v>-0.125583</c:v>
                </c:pt>
                <c:pt idx="222">
                  <c:v>-0.14616399999999999</c:v>
                </c:pt>
                <c:pt idx="223">
                  <c:v>-3.0713000000000001E-2</c:v>
                </c:pt>
                <c:pt idx="224">
                  <c:v>-3.3057000000000003E-2</c:v>
                </c:pt>
                <c:pt idx="225">
                  <c:v>-5.0867000000000002E-2</c:v>
                </c:pt>
                <c:pt idx="226">
                  <c:v>-6.2177000000000003E-2</c:v>
                </c:pt>
                <c:pt idx="227">
                  <c:v>-6.8684999999999996E-2</c:v>
                </c:pt>
                <c:pt idx="228">
                  <c:v>-7.8658000000000006E-2</c:v>
                </c:pt>
                <c:pt idx="229">
                  <c:v>-0.17207900000000001</c:v>
                </c:pt>
                <c:pt idx="230">
                  <c:v>-0.26525500000000002</c:v>
                </c:pt>
                <c:pt idx="231">
                  <c:v>-0.26059300000000002</c:v>
                </c:pt>
                <c:pt idx="232">
                  <c:v>-0.23009599999999999</c:v>
                </c:pt>
                <c:pt idx="233">
                  <c:v>-0.225018</c:v>
                </c:pt>
                <c:pt idx="234">
                  <c:v>-0.176956</c:v>
                </c:pt>
                <c:pt idx="235">
                  <c:v>-0.15651599999999999</c:v>
                </c:pt>
                <c:pt idx="236">
                  <c:v>-0.247609</c:v>
                </c:pt>
                <c:pt idx="237">
                  <c:v>-0.24282500000000001</c:v>
                </c:pt>
                <c:pt idx="238">
                  <c:v>-0.226189</c:v>
                </c:pt>
                <c:pt idx="239">
                  <c:v>-0.20718300000000001</c:v>
                </c:pt>
                <c:pt idx="240">
                  <c:v>-0.19714000000000001</c:v>
                </c:pt>
                <c:pt idx="241">
                  <c:v>-0.12756500000000001</c:v>
                </c:pt>
                <c:pt idx="242">
                  <c:v>-0.110585</c:v>
                </c:pt>
                <c:pt idx="243">
                  <c:v>-0.197521</c:v>
                </c:pt>
                <c:pt idx="244">
                  <c:v>-0.190805</c:v>
                </c:pt>
                <c:pt idx="245">
                  <c:v>-0.16808200000000001</c:v>
                </c:pt>
                <c:pt idx="246">
                  <c:v>-0.158829</c:v>
                </c:pt>
                <c:pt idx="247">
                  <c:v>-0.176092</c:v>
                </c:pt>
                <c:pt idx="248">
                  <c:v>-0.14594099999999999</c:v>
                </c:pt>
                <c:pt idx="249">
                  <c:v>-0.13841400000000001</c:v>
                </c:pt>
                <c:pt idx="250">
                  <c:v>-0.234794</c:v>
                </c:pt>
                <c:pt idx="251">
                  <c:v>-0.23238400000000001</c:v>
                </c:pt>
                <c:pt idx="252">
                  <c:v>-0.236319</c:v>
                </c:pt>
                <c:pt idx="253">
                  <c:v>-0.22145300000000001</c:v>
                </c:pt>
                <c:pt idx="254">
                  <c:v>-0.20697199999999999</c:v>
                </c:pt>
                <c:pt idx="255">
                  <c:v>-0.14568900000000001</c:v>
                </c:pt>
                <c:pt idx="256">
                  <c:v>-0.12803800000000001</c:v>
                </c:pt>
                <c:pt idx="257">
                  <c:v>-0.223832</c:v>
                </c:pt>
                <c:pt idx="258">
                  <c:v>-0.216615</c:v>
                </c:pt>
                <c:pt idx="259">
                  <c:v>-0.20048199999999999</c:v>
                </c:pt>
                <c:pt idx="260">
                  <c:v>-0.189058</c:v>
                </c:pt>
                <c:pt idx="261">
                  <c:v>-0.196658</c:v>
                </c:pt>
                <c:pt idx="262">
                  <c:v>-0.15737599999999999</c:v>
                </c:pt>
                <c:pt idx="263">
                  <c:v>-0.13969599999999999</c:v>
                </c:pt>
                <c:pt idx="264">
                  <c:v>-0.23425699999999999</c:v>
                </c:pt>
                <c:pt idx="265">
                  <c:v>-0.228709</c:v>
                </c:pt>
                <c:pt idx="266">
                  <c:v>-0.21571499999999999</c:v>
                </c:pt>
                <c:pt idx="267">
                  <c:v>-0.223217</c:v>
                </c:pt>
                <c:pt idx="268">
                  <c:v>-0.23052800000000001</c:v>
                </c:pt>
                <c:pt idx="269">
                  <c:v>-0.19736400000000001</c:v>
                </c:pt>
                <c:pt idx="270">
                  <c:v>-0.199488</c:v>
                </c:pt>
                <c:pt idx="271">
                  <c:v>-0.28358699999999998</c:v>
                </c:pt>
                <c:pt idx="272">
                  <c:v>-0.27379199999999998</c:v>
                </c:pt>
                <c:pt idx="273">
                  <c:v>-0.26415</c:v>
                </c:pt>
                <c:pt idx="274">
                  <c:v>-0.23383999999999999</c:v>
                </c:pt>
                <c:pt idx="275">
                  <c:v>-0.19922999999999999</c:v>
                </c:pt>
                <c:pt idx="276">
                  <c:v>-0.12607399999999999</c:v>
                </c:pt>
                <c:pt idx="277">
                  <c:v>-0.10033</c:v>
                </c:pt>
                <c:pt idx="278">
                  <c:v>-0.19072500000000001</c:v>
                </c:pt>
                <c:pt idx="279">
                  <c:v>-0.16336400000000001</c:v>
                </c:pt>
                <c:pt idx="280">
                  <c:v>-0.12698799999999999</c:v>
                </c:pt>
                <c:pt idx="281">
                  <c:v>-0.12313</c:v>
                </c:pt>
                <c:pt idx="282">
                  <c:v>-0.149869</c:v>
                </c:pt>
                <c:pt idx="283">
                  <c:v>-9.4913999999999998E-2</c:v>
                </c:pt>
                <c:pt idx="284">
                  <c:v>-8.1492999999999996E-2</c:v>
                </c:pt>
                <c:pt idx="285">
                  <c:v>-0.187308</c:v>
                </c:pt>
                <c:pt idx="286">
                  <c:v>-0.183613</c:v>
                </c:pt>
                <c:pt idx="287">
                  <c:v>-0.18267800000000001</c:v>
                </c:pt>
                <c:pt idx="288">
                  <c:v>-0.181253</c:v>
                </c:pt>
                <c:pt idx="289">
                  <c:v>-0.16633999999999999</c:v>
                </c:pt>
                <c:pt idx="290">
                  <c:v>-0.10584200000000001</c:v>
                </c:pt>
                <c:pt idx="291">
                  <c:v>-8.5946999999999996E-2</c:v>
                </c:pt>
                <c:pt idx="292">
                  <c:v>-0.18484900000000001</c:v>
                </c:pt>
                <c:pt idx="293">
                  <c:v>-0.17105899999999999</c:v>
                </c:pt>
                <c:pt idx="294">
                  <c:v>-0.16162699999999999</c:v>
                </c:pt>
                <c:pt idx="295">
                  <c:v>-0.161576</c:v>
                </c:pt>
                <c:pt idx="296">
                  <c:v>-0.17111799999999999</c:v>
                </c:pt>
                <c:pt idx="297">
                  <c:v>-0.121562</c:v>
                </c:pt>
                <c:pt idx="298">
                  <c:v>-0.113176</c:v>
                </c:pt>
                <c:pt idx="299">
                  <c:v>-0.206872</c:v>
                </c:pt>
                <c:pt idx="300">
                  <c:v>-0.21218799999999999</c:v>
                </c:pt>
                <c:pt idx="301">
                  <c:v>-0.195964</c:v>
                </c:pt>
                <c:pt idx="302">
                  <c:v>-0.19747700000000001</c:v>
                </c:pt>
                <c:pt idx="303">
                  <c:v>-0.20475299999999999</c:v>
                </c:pt>
                <c:pt idx="304">
                  <c:v>-0.15198600000000001</c:v>
                </c:pt>
                <c:pt idx="305">
                  <c:v>-0.13280400000000001</c:v>
                </c:pt>
                <c:pt idx="306">
                  <c:v>-0.222554</c:v>
                </c:pt>
                <c:pt idx="307">
                  <c:v>-0.30141099999999998</c:v>
                </c:pt>
                <c:pt idx="308">
                  <c:v>-0.382187</c:v>
                </c:pt>
                <c:pt idx="309">
                  <c:v>-0.35519499999999998</c:v>
                </c:pt>
                <c:pt idx="310">
                  <c:v>-0.315666</c:v>
                </c:pt>
                <c:pt idx="311">
                  <c:v>-0.25983600000000001</c:v>
                </c:pt>
                <c:pt idx="312">
                  <c:v>-0.22458700000000001</c:v>
                </c:pt>
                <c:pt idx="313">
                  <c:v>-0.22744</c:v>
                </c:pt>
                <c:pt idx="314">
                  <c:v>-2.0781999999999998E-2</c:v>
                </c:pt>
                <c:pt idx="315">
                  <c:v>0.104145</c:v>
                </c:pt>
                <c:pt idx="316">
                  <c:v>4.0251000000000002E-2</c:v>
                </c:pt>
                <c:pt idx="317">
                  <c:v>-8.9840000000000007E-3</c:v>
                </c:pt>
                <c:pt idx="318">
                  <c:v>4.5447000000000001E-2</c:v>
                </c:pt>
                <c:pt idx="319">
                  <c:v>5.9213000000000002E-2</c:v>
                </c:pt>
                <c:pt idx="320">
                  <c:v>-7.3024000000000006E-2</c:v>
                </c:pt>
                <c:pt idx="321">
                  <c:v>-0.17141700000000001</c:v>
                </c:pt>
                <c:pt idx="322">
                  <c:v>-0.236127</c:v>
                </c:pt>
                <c:pt idx="323">
                  <c:v>-0.20224</c:v>
                </c:pt>
                <c:pt idx="324">
                  <c:v>-0.16695599999999999</c:v>
                </c:pt>
                <c:pt idx="325">
                  <c:v>-0.126219</c:v>
                </c:pt>
                <c:pt idx="326">
                  <c:v>-0.10140100000000001</c:v>
                </c:pt>
                <c:pt idx="327">
                  <c:v>-0.17361099999999999</c:v>
                </c:pt>
                <c:pt idx="328">
                  <c:v>-0.16773099999999999</c:v>
                </c:pt>
                <c:pt idx="329">
                  <c:v>-0.161969</c:v>
                </c:pt>
                <c:pt idx="330">
                  <c:v>-0.16977900000000001</c:v>
                </c:pt>
                <c:pt idx="331">
                  <c:v>-0.187192</c:v>
                </c:pt>
                <c:pt idx="332">
                  <c:v>-0.13308400000000001</c:v>
                </c:pt>
                <c:pt idx="333">
                  <c:v>-9.4794000000000003E-2</c:v>
                </c:pt>
                <c:pt idx="334">
                  <c:v>-0.18108099999999999</c:v>
                </c:pt>
                <c:pt idx="335">
                  <c:v>-0.18651599999999999</c:v>
                </c:pt>
                <c:pt idx="336">
                  <c:v>-0.181648</c:v>
                </c:pt>
                <c:pt idx="337">
                  <c:v>-0.163109</c:v>
                </c:pt>
                <c:pt idx="338">
                  <c:v>-0.15278900000000001</c:v>
                </c:pt>
                <c:pt idx="339">
                  <c:v>-9.7857E-2</c:v>
                </c:pt>
                <c:pt idx="340">
                  <c:v>-5.8498000000000001E-2</c:v>
                </c:pt>
                <c:pt idx="341">
                  <c:v>-0.13123899999999999</c:v>
                </c:pt>
                <c:pt idx="342">
                  <c:v>-0.114553</c:v>
                </c:pt>
                <c:pt idx="343">
                  <c:v>-9.0103000000000003E-2</c:v>
                </c:pt>
                <c:pt idx="344">
                  <c:v>-8.3543000000000006E-2</c:v>
                </c:pt>
                <c:pt idx="345">
                  <c:v>-8.9501999999999998E-2</c:v>
                </c:pt>
                <c:pt idx="346">
                  <c:v>-3.6366000000000002E-2</c:v>
                </c:pt>
                <c:pt idx="347">
                  <c:v>-1.0260999999999999E-2</c:v>
                </c:pt>
                <c:pt idx="348">
                  <c:v>-0.10892</c:v>
                </c:pt>
                <c:pt idx="349">
                  <c:v>-0.127308</c:v>
                </c:pt>
                <c:pt idx="350">
                  <c:v>-0.121742</c:v>
                </c:pt>
                <c:pt idx="351">
                  <c:v>-9.0379000000000001E-2</c:v>
                </c:pt>
                <c:pt idx="352">
                  <c:v>-0.110568</c:v>
                </c:pt>
                <c:pt idx="353">
                  <c:v>-6.8428000000000003E-2</c:v>
                </c:pt>
                <c:pt idx="354">
                  <c:v>-2.9328E-2</c:v>
                </c:pt>
                <c:pt idx="355">
                  <c:v>-0.116921</c:v>
                </c:pt>
                <c:pt idx="356">
                  <c:v>-0.117684</c:v>
                </c:pt>
                <c:pt idx="357">
                  <c:v>-0.125474</c:v>
                </c:pt>
                <c:pt idx="358">
                  <c:v>-0.14255100000000001</c:v>
                </c:pt>
                <c:pt idx="359">
                  <c:v>-0.14315800000000001</c:v>
                </c:pt>
                <c:pt idx="360">
                  <c:v>-6.0846999999999998E-2</c:v>
                </c:pt>
                <c:pt idx="361">
                  <c:v>-2.0478E-2</c:v>
                </c:pt>
                <c:pt idx="362">
                  <c:v>-0.108158</c:v>
                </c:pt>
                <c:pt idx="363">
                  <c:v>-8.1023999999999999E-2</c:v>
                </c:pt>
                <c:pt idx="364">
                  <c:v>-1.2312999999999999E-2</c:v>
                </c:pt>
                <c:pt idx="365">
                  <c:v>3.4707000000000002E-2</c:v>
                </c:pt>
                <c:pt idx="366">
                  <c:v>5.6010000000000001E-3</c:v>
                </c:pt>
                <c:pt idx="367">
                  <c:v>5.8233E-2</c:v>
                </c:pt>
                <c:pt idx="368">
                  <c:v>7.7093999999999996E-2</c:v>
                </c:pt>
                <c:pt idx="369">
                  <c:v>-5.8639999999999998E-2</c:v>
                </c:pt>
                <c:pt idx="370">
                  <c:v>-0.13136500000000001</c:v>
                </c:pt>
                <c:pt idx="371">
                  <c:v>-0.201575</c:v>
                </c:pt>
                <c:pt idx="372">
                  <c:v>-0.22081899999999999</c:v>
                </c:pt>
                <c:pt idx="373">
                  <c:v>-0.21820200000000001</c:v>
                </c:pt>
                <c:pt idx="374">
                  <c:v>-0.15437899999999999</c:v>
                </c:pt>
                <c:pt idx="375">
                  <c:v>-0.118954</c:v>
                </c:pt>
                <c:pt idx="376">
                  <c:v>-0.18582000000000001</c:v>
                </c:pt>
                <c:pt idx="377">
                  <c:v>-0.12441199999999999</c:v>
                </c:pt>
                <c:pt idx="378">
                  <c:v>-7.8698000000000004E-2</c:v>
                </c:pt>
                <c:pt idx="379">
                  <c:v>-7.4691999999999995E-2</c:v>
                </c:pt>
                <c:pt idx="380">
                  <c:v>-0.104548</c:v>
                </c:pt>
                <c:pt idx="381">
                  <c:v>-4.3550999999999999E-2</c:v>
                </c:pt>
                <c:pt idx="382">
                  <c:v>-2.2984999999999998E-2</c:v>
                </c:pt>
                <c:pt idx="383">
                  <c:v>-0.144174</c:v>
                </c:pt>
                <c:pt idx="384">
                  <c:v>-0.16222</c:v>
                </c:pt>
                <c:pt idx="385">
                  <c:v>-0.15356400000000001</c:v>
                </c:pt>
                <c:pt idx="386">
                  <c:v>-0.11835</c:v>
                </c:pt>
                <c:pt idx="387">
                  <c:v>-0.11924</c:v>
                </c:pt>
                <c:pt idx="388">
                  <c:v>-3.653E-2</c:v>
                </c:pt>
                <c:pt idx="389">
                  <c:v>1.4045E-2</c:v>
                </c:pt>
                <c:pt idx="390">
                  <c:v>-9.5743999999999996E-2</c:v>
                </c:pt>
                <c:pt idx="391">
                  <c:v>-6.0284999999999998E-2</c:v>
                </c:pt>
                <c:pt idx="392">
                  <c:v>-0.129136</c:v>
                </c:pt>
                <c:pt idx="393">
                  <c:v>-0.153277</c:v>
                </c:pt>
                <c:pt idx="394">
                  <c:v>-0.167326</c:v>
                </c:pt>
                <c:pt idx="395">
                  <c:v>-0.113561</c:v>
                </c:pt>
                <c:pt idx="396">
                  <c:v>-8.9533000000000001E-2</c:v>
                </c:pt>
                <c:pt idx="397">
                  <c:v>-0.19938800000000001</c:v>
                </c:pt>
                <c:pt idx="398">
                  <c:v>-0.161772</c:v>
                </c:pt>
                <c:pt idx="399">
                  <c:v>-9.1013999999999998E-2</c:v>
                </c:pt>
                <c:pt idx="400">
                  <c:v>-9.9069000000000004E-2</c:v>
                </c:pt>
                <c:pt idx="401">
                  <c:v>-0.12751000000000001</c:v>
                </c:pt>
                <c:pt idx="402">
                  <c:v>-5.3619E-2</c:v>
                </c:pt>
                <c:pt idx="403">
                  <c:v>-2.6780999999999999E-2</c:v>
                </c:pt>
                <c:pt idx="404">
                  <c:v>-0.122457</c:v>
                </c:pt>
                <c:pt idx="405">
                  <c:v>-9.9872000000000002E-2</c:v>
                </c:pt>
                <c:pt idx="406">
                  <c:v>-0.157942</c:v>
                </c:pt>
                <c:pt idx="407">
                  <c:v>-0.107695</c:v>
                </c:pt>
                <c:pt idx="408">
                  <c:v>-8.6330000000000004E-2</c:v>
                </c:pt>
                <c:pt idx="409">
                  <c:v>2.4736999999999999E-2</c:v>
                </c:pt>
                <c:pt idx="410">
                  <c:v>8.6832999999999994E-2</c:v>
                </c:pt>
                <c:pt idx="411">
                  <c:v>-1.4762000000000001E-2</c:v>
                </c:pt>
                <c:pt idx="412">
                  <c:v>1.2414E-2</c:v>
                </c:pt>
                <c:pt idx="413">
                  <c:v>4.2254E-2</c:v>
                </c:pt>
                <c:pt idx="414">
                  <c:v>2.9326999999999999E-2</c:v>
                </c:pt>
                <c:pt idx="415">
                  <c:v>7.0715E-2</c:v>
                </c:pt>
                <c:pt idx="416">
                  <c:v>0.185422</c:v>
                </c:pt>
                <c:pt idx="417">
                  <c:v>0.24004300000000001</c:v>
                </c:pt>
                <c:pt idx="418">
                  <c:v>0.12379800000000001</c:v>
                </c:pt>
                <c:pt idx="419">
                  <c:v>0.109129</c:v>
                </c:pt>
                <c:pt idx="420">
                  <c:v>0.141294</c:v>
                </c:pt>
                <c:pt idx="421">
                  <c:v>0.17496700000000001</c:v>
                </c:pt>
                <c:pt idx="422">
                  <c:v>6.1310000000000003E-2</c:v>
                </c:pt>
                <c:pt idx="423">
                  <c:v>0.131577</c:v>
                </c:pt>
                <c:pt idx="424">
                  <c:v>0.19051399999999999</c:v>
                </c:pt>
                <c:pt idx="425">
                  <c:v>9.8470000000000002E-2</c:v>
                </c:pt>
                <c:pt idx="426">
                  <c:v>8.0756999999999995E-2</c:v>
                </c:pt>
                <c:pt idx="427">
                  <c:v>5.6952999999999997E-2</c:v>
                </c:pt>
                <c:pt idx="428">
                  <c:v>8.4677000000000002E-2</c:v>
                </c:pt>
                <c:pt idx="429">
                  <c:v>0.12837399999999999</c:v>
                </c:pt>
                <c:pt idx="430">
                  <c:v>0.16516900000000001</c:v>
                </c:pt>
                <c:pt idx="431">
                  <c:v>0.138548</c:v>
                </c:pt>
                <c:pt idx="432">
                  <c:v>-2.2815999999999999E-2</c:v>
                </c:pt>
                <c:pt idx="433">
                  <c:v>-8.3771999999999999E-2</c:v>
                </c:pt>
                <c:pt idx="434">
                  <c:v>-4.6280000000000002E-2</c:v>
                </c:pt>
                <c:pt idx="435">
                  <c:v>-2.0898E-2</c:v>
                </c:pt>
                <c:pt idx="436">
                  <c:v>-6.5905000000000005E-2</c:v>
                </c:pt>
                <c:pt idx="437">
                  <c:v>1.0739E-2</c:v>
                </c:pt>
                <c:pt idx="438">
                  <c:v>7.5139999999999998E-2</c:v>
                </c:pt>
                <c:pt idx="439">
                  <c:v>1.0991000000000001E-2</c:v>
                </c:pt>
                <c:pt idx="440">
                  <c:v>2.4879999999999999E-2</c:v>
                </c:pt>
                <c:pt idx="441">
                  <c:v>3.2544999999999998E-2</c:v>
                </c:pt>
                <c:pt idx="442">
                  <c:v>-2.07E-2</c:v>
                </c:pt>
                <c:pt idx="443">
                  <c:v>-3.6693999999999997E-2</c:v>
                </c:pt>
                <c:pt idx="444">
                  <c:v>5.3097999999999999E-2</c:v>
                </c:pt>
                <c:pt idx="445">
                  <c:v>0.116744</c:v>
                </c:pt>
                <c:pt idx="446">
                  <c:v>1.7683000000000001E-2</c:v>
                </c:pt>
                <c:pt idx="447">
                  <c:v>-2.6209E-2</c:v>
                </c:pt>
                <c:pt idx="448">
                  <c:v>3.4869999999999998E-2</c:v>
                </c:pt>
                <c:pt idx="449">
                  <c:v>0.13897000000000001</c:v>
                </c:pt>
                <c:pt idx="450">
                  <c:v>0.12772800000000001</c:v>
                </c:pt>
                <c:pt idx="451">
                  <c:v>0.15552199999999999</c:v>
                </c:pt>
                <c:pt idx="452">
                  <c:v>0.186552</c:v>
                </c:pt>
                <c:pt idx="453">
                  <c:v>8.9260999999999993E-2</c:v>
                </c:pt>
                <c:pt idx="454">
                  <c:v>5.7695000000000003E-2</c:v>
                </c:pt>
                <c:pt idx="455">
                  <c:v>3.9281000000000003E-2</c:v>
                </c:pt>
                <c:pt idx="456">
                  <c:v>-2.6832999999999999E-2</c:v>
                </c:pt>
                <c:pt idx="457">
                  <c:v>-5.7675999999999998E-2</c:v>
                </c:pt>
                <c:pt idx="458">
                  <c:v>-1.4355E-2</c:v>
                </c:pt>
                <c:pt idx="459">
                  <c:v>8.3160000000000005E-3</c:v>
                </c:pt>
                <c:pt idx="460">
                  <c:v>-9.0630000000000002E-2</c:v>
                </c:pt>
                <c:pt idx="461">
                  <c:v>-0.134655</c:v>
                </c:pt>
                <c:pt idx="462">
                  <c:v>-0.14840999999999999</c:v>
                </c:pt>
                <c:pt idx="463">
                  <c:v>-0.15965699999999999</c:v>
                </c:pt>
                <c:pt idx="464">
                  <c:v>-0.179675</c:v>
                </c:pt>
                <c:pt idx="465">
                  <c:v>-0.17068900000000001</c:v>
                </c:pt>
                <c:pt idx="466">
                  <c:v>-0.14896799999999999</c:v>
                </c:pt>
                <c:pt idx="467">
                  <c:v>-0.211647</c:v>
                </c:pt>
                <c:pt idx="468">
                  <c:v>-0.2374</c:v>
                </c:pt>
                <c:pt idx="469">
                  <c:v>-0.234405</c:v>
                </c:pt>
                <c:pt idx="470">
                  <c:v>-0.23229900000000001</c:v>
                </c:pt>
                <c:pt idx="471">
                  <c:v>-0.23955599999999999</c:v>
                </c:pt>
                <c:pt idx="472">
                  <c:v>-0.203407</c:v>
                </c:pt>
                <c:pt idx="473">
                  <c:v>-0.17388300000000001</c:v>
                </c:pt>
                <c:pt idx="474">
                  <c:v>-0.23788300000000001</c:v>
                </c:pt>
                <c:pt idx="475">
                  <c:v>-0.252195</c:v>
                </c:pt>
                <c:pt idx="476">
                  <c:v>-0.229439</c:v>
                </c:pt>
                <c:pt idx="477">
                  <c:v>-0.19776299999999999</c:v>
                </c:pt>
                <c:pt idx="478">
                  <c:v>-0.16340099999999999</c:v>
                </c:pt>
                <c:pt idx="479">
                  <c:v>-0.206151</c:v>
                </c:pt>
                <c:pt idx="480">
                  <c:v>-0.22078200000000001</c:v>
                </c:pt>
                <c:pt idx="481">
                  <c:v>-0.30007099999999998</c:v>
                </c:pt>
                <c:pt idx="482">
                  <c:v>-0.32889600000000002</c:v>
                </c:pt>
                <c:pt idx="483">
                  <c:v>-0.34782400000000002</c:v>
                </c:pt>
                <c:pt idx="484">
                  <c:v>-0.39325399999999999</c:v>
                </c:pt>
                <c:pt idx="485">
                  <c:v>-0.373805</c:v>
                </c:pt>
                <c:pt idx="486">
                  <c:v>-0.21105699999999999</c:v>
                </c:pt>
                <c:pt idx="487">
                  <c:v>-0.169989</c:v>
                </c:pt>
                <c:pt idx="488">
                  <c:v>-0.223804</c:v>
                </c:pt>
                <c:pt idx="489">
                  <c:v>-0.177512</c:v>
                </c:pt>
                <c:pt idx="490">
                  <c:v>-8.5333999999999993E-2</c:v>
                </c:pt>
                <c:pt idx="491">
                  <c:v>1.4531000000000001E-2</c:v>
                </c:pt>
                <c:pt idx="492">
                  <c:v>0.108719</c:v>
                </c:pt>
                <c:pt idx="493">
                  <c:v>0.15079799999999999</c:v>
                </c:pt>
                <c:pt idx="494">
                  <c:v>0.17422599999999999</c:v>
                </c:pt>
                <c:pt idx="495">
                  <c:v>1.2632000000000001E-2</c:v>
                </c:pt>
                <c:pt idx="496">
                  <c:v>-7.2442000000000006E-2</c:v>
                </c:pt>
                <c:pt idx="497">
                  <c:v>-0.101095</c:v>
                </c:pt>
                <c:pt idx="498">
                  <c:v>-0.13606399999999999</c:v>
                </c:pt>
                <c:pt idx="499">
                  <c:v>-0.17153399999999999</c:v>
                </c:pt>
                <c:pt idx="500">
                  <c:v>-0.14879300000000001</c:v>
                </c:pt>
                <c:pt idx="501">
                  <c:v>-0.15463399999999999</c:v>
                </c:pt>
                <c:pt idx="502">
                  <c:v>-0.21412400000000001</c:v>
                </c:pt>
                <c:pt idx="503">
                  <c:v>-0.200075</c:v>
                </c:pt>
                <c:pt idx="504">
                  <c:v>-0.15357499999999999</c:v>
                </c:pt>
                <c:pt idx="505">
                  <c:v>-5.9665000000000003E-2</c:v>
                </c:pt>
                <c:pt idx="506">
                  <c:v>2.0063999999999999E-2</c:v>
                </c:pt>
                <c:pt idx="507">
                  <c:v>0.129052</c:v>
                </c:pt>
                <c:pt idx="508">
                  <c:v>0.18052399999999999</c:v>
                </c:pt>
                <c:pt idx="509">
                  <c:v>9.5352000000000006E-2</c:v>
                </c:pt>
                <c:pt idx="510">
                  <c:v>0.106226</c:v>
                </c:pt>
                <c:pt idx="511">
                  <c:v>0.133436</c:v>
                </c:pt>
                <c:pt idx="512">
                  <c:v>0.11740299999999999</c:v>
                </c:pt>
                <c:pt idx="513">
                  <c:v>8.7845000000000006E-2</c:v>
                </c:pt>
                <c:pt idx="514">
                  <c:v>0.16231999999999999</c:v>
                </c:pt>
                <c:pt idx="515">
                  <c:v>0.19870399999999999</c:v>
                </c:pt>
                <c:pt idx="516">
                  <c:v>9.5065999999999998E-2</c:v>
                </c:pt>
                <c:pt idx="517">
                  <c:v>4.6765000000000001E-2</c:v>
                </c:pt>
                <c:pt idx="518">
                  <c:v>4.6059999999999997E-2</c:v>
                </c:pt>
                <c:pt idx="519">
                  <c:v>3.7144999999999997E-2</c:v>
                </c:pt>
                <c:pt idx="520">
                  <c:v>1.4744E-2</c:v>
                </c:pt>
                <c:pt idx="521">
                  <c:v>2.4674999999999999E-2</c:v>
                </c:pt>
                <c:pt idx="522">
                  <c:v>2.7407999999999998E-2</c:v>
                </c:pt>
                <c:pt idx="523">
                  <c:v>-6.6270999999999997E-2</c:v>
                </c:pt>
                <c:pt idx="524">
                  <c:v>-0.111549</c:v>
                </c:pt>
                <c:pt idx="525">
                  <c:v>-0.14866299999999999</c:v>
                </c:pt>
                <c:pt idx="526">
                  <c:v>-0.188142</c:v>
                </c:pt>
                <c:pt idx="527">
                  <c:v>-0.21665000000000001</c:v>
                </c:pt>
                <c:pt idx="528">
                  <c:v>-0.177901</c:v>
                </c:pt>
                <c:pt idx="529">
                  <c:v>-0.16087499999999999</c:v>
                </c:pt>
                <c:pt idx="530">
                  <c:v>-0.222575</c:v>
                </c:pt>
                <c:pt idx="531">
                  <c:v>-0.24637800000000001</c:v>
                </c:pt>
                <c:pt idx="532">
                  <c:v>-0.231715</c:v>
                </c:pt>
                <c:pt idx="533">
                  <c:v>-0.239956</c:v>
                </c:pt>
                <c:pt idx="534">
                  <c:v>-0.23282</c:v>
                </c:pt>
                <c:pt idx="535">
                  <c:v>-0.19425200000000001</c:v>
                </c:pt>
                <c:pt idx="536">
                  <c:v>-0.16614499999999999</c:v>
                </c:pt>
                <c:pt idx="537">
                  <c:v>-0.238182</c:v>
                </c:pt>
                <c:pt idx="538">
                  <c:v>-0.25927600000000001</c:v>
                </c:pt>
                <c:pt idx="539">
                  <c:v>-0.26817600000000003</c:v>
                </c:pt>
                <c:pt idx="540">
                  <c:v>-0.29159299999999999</c:v>
                </c:pt>
                <c:pt idx="541">
                  <c:v>-0.29463899999999998</c:v>
                </c:pt>
                <c:pt idx="542">
                  <c:v>-0.25404300000000002</c:v>
                </c:pt>
                <c:pt idx="543">
                  <c:v>-0.305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ripadu_7dni_100_000_65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12.417053618504999</c:v>
                </c:pt>
                <c:pt idx="1">
                  <c:v>13.297367121309</c:v>
                </c:pt>
                <c:pt idx="2">
                  <c:v>14.270345203357</c:v>
                </c:pt>
                <c:pt idx="3">
                  <c:v>15.243323285403999</c:v>
                </c:pt>
                <c:pt idx="4">
                  <c:v>15.984639919344</c:v>
                </c:pt>
                <c:pt idx="5">
                  <c:v>17.003950291012998</c:v>
                </c:pt>
                <c:pt idx="6">
                  <c:v>18.254922110787</c:v>
                </c:pt>
                <c:pt idx="7">
                  <c:v>21.081191777686001</c:v>
                </c:pt>
                <c:pt idx="8">
                  <c:v>23.675799996477998</c:v>
                </c:pt>
                <c:pt idx="9">
                  <c:v>26.085079056784998</c:v>
                </c:pt>
                <c:pt idx="10">
                  <c:v>28.633354985956</c:v>
                </c:pt>
                <c:pt idx="11">
                  <c:v>34.424891188617003</c:v>
                </c:pt>
                <c:pt idx="12">
                  <c:v>36.370847352711003</c:v>
                </c:pt>
                <c:pt idx="13">
                  <c:v>37.668151462108</c:v>
                </c:pt>
                <c:pt idx="14">
                  <c:v>39.799436784687003</c:v>
                </c:pt>
                <c:pt idx="15">
                  <c:v>43.181693927041003</c:v>
                </c:pt>
                <c:pt idx="16">
                  <c:v>50.594860266447</c:v>
                </c:pt>
                <c:pt idx="17">
                  <c:v>52.911474747512003</c:v>
                </c:pt>
                <c:pt idx="18">
                  <c:v>51.336176900387997</c:v>
                </c:pt>
                <c:pt idx="19">
                  <c:v>52.309154982434997</c:v>
                </c:pt>
                <c:pt idx="20">
                  <c:v>54.579437173877999</c:v>
                </c:pt>
                <c:pt idx="21">
                  <c:v>58.610346370930003</c:v>
                </c:pt>
                <c:pt idx="22">
                  <c:v>60.602634824646003</c:v>
                </c:pt>
                <c:pt idx="23">
                  <c:v>63.336239912301998</c:v>
                </c:pt>
                <c:pt idx="24">
                  <c:v>69.915425038525001</c:v>
                </c:pt>
                <c:pt idx="25">
                  <c:v>71.815048912997995</c:v>
                </c:pt>
                <c:pt idx="26">
                  <c:v>73.112353022394004</c:v>
                </c:pt>
                <c:pt idx="27">
                  <c:v>74.826647738380998</c:v>
                </c:pt>
                <c:pt idx="28">
                  <c:v>75.660628951565002</c:v>
                </c:pt>
                <c:pt idx="29">
                  <c:v>82.656804684378997</c:v>
                </c:pt>
                <c:pt idx="30">
                  <c:v>90.162635603027994</c:v>
                </c:pt>
                <c:pt idx="31">
                  <c:v>98.548780024481005</c:v>
                </c:pt>
                <c:pt idx="32">
                  <c:v>107.444579631769</c:v>
                </c:pt>
                <c:pt idx="33">
                  <c:v>113.745771020264</c:v>
                </c:pt>
                <c:pt idx="34">
                  <c:v>131.30570878673299</c:v>
                </c:pt>
                <c:pt idx="35">
                  <c:v>146.68802894100099</c:v>
                </c:pt>
                <c:pt idx="36">
                  <c:v>162.53367199148201</c:v>
                </c:pt>
                <c:pt idx="37">
                  <c:v>173.931415238319</c:v>
                </c:pt>
                <c:pt idx="38">
                  <c:v>202.14777961768399</c:v>
                </c:pt>
                <c:pt idx="39">
                  <c:v>211.831228148533</c:v>
                </c:pt>
                <c:pt idx="40">
                  <c:v>221.70000583786799</c:v>
                </c:pt>
                <c:pt idx="41">
                  <c:v>228.64984928106099</c:v>
                </c:pt>
                <c:pt idx="42">
                  <c:v>254.82759291708999</c:v>
                </c:pt>
                <c:pt idx="43">
                  <c:v>279.33737412675202</c:v>
                </c:pt>
                <c:pt idx="44">
                  <c:v>303.38383244020099</c:v>
                </c:pt>
                <c:pt idx="45">
                  <c:v>319.04414633219602</c:v>
                </c:pt>
                <c:pt idx="46">
                  <c:v>347.399507580425</c:v>
                </c:pt>
                <c:pt idx="47">
                  <c:v>360.92853614984199</c:v>
                </c:pt>
                <c:pt idx="48">
                  <c:v>385.62364651798902</c:v>
                </c:pt>
                <c:pt idx="49">
                  <c:v>410.55041833424201</c:v>
                </c:pt>
                <c:pt idx="50">
                  <c:v>448.54289582370001</c:v>
                </c:pt>
                <c:pt idx="51">
                  <c:v>482.18013808875497</c:v>
                </c:pt>
                <c:pt idx="52">
                  <c:v>516.558696987752</c:v>
                </c:pt>
                <c:pt idx="53">
                  <c:v>542.64377604453796</c:v>
                </c:pt>
                <c:pt idx="54">
                  <c:v>560.20371381100597</c:v>
                </c:pt>
                <c:pt idx="55">
                  <c:v>582.07255451225501</c:v>
                </c:pt>
                <c:pt idx="56">
                  <c:v>614.73681869526399</c:v>
                </c:pt>
                <c:pt idx="57">
                  <c:v>613.39318229624598</c:v>
                </c:pt>
                <c:pt idx="58">
                  <c:v>618.721395602695</c:v>
                </c:pt>
                <c:pt idx="59">
                  <c:v>625.71757133550898</c:v>
                </c:pt>
                <c:pt idx="60">
                  <c:v>629.93380969104703</c:v>
                </c:pt>
                <c:pt idx="61">
                  <c:v>627.10754002414797</c:v>
                </c:pt>
                <c:pt idx="62">
                  <c:v>629.47048679483396</c:v>
                </c:pt>
                <c:pt idx="63">
                  <c:v>616.68277485935801</c:v>
                </c:pt>
                <c:pt idx="64">
                  <c:v>644.76014236985895</c:v>
                </c:pt>
                <c:pt idx="65">
                  <c:v>662.59807387405499</c:v>
                </c:pt>
                <c:pt idx="66">
                  <c:v>658.84515841473103</c:v>
                </c:pt>
                <c:pt idx="67">
                  <c:v>639.84891967000203</c:v>
                </c:pt>
                <c:pt idx="68">
                  <c:v>620.76001634603097</c:v>
                </c:pt>
                <c:pt idx="69">
                  <c:v>593.47029775909198</c:v>
                </c:pt>
                <c:pt idx="70">
                  <c:v>575.21537564830396</c:v>
                </c:pt>
                <c:pt idx="71">
                  <c:v>542.08778856908202</c:v>
                </c:pt>
                <c:pt idx="72">
                  <c:v>506.272928691826</c:v>
                </c:pt>
                <c:pt idx="73">
                  <c:v>478.24189347094602</c:v>
                </c:pt>
                <c:pt idx="74">
                  <c:v>453.08346020658598</c:v>
                </c:pt>
                <c:pt idx="75">
                  <c:v>437.65480776269698</c:v>
                </c:pt>
                <c:pt idx="76">
                  <c:v>442.24170443520399</c:v>
                </c:pt>
                <c:pt idx="77">
                  <c:v>399.15267508740499</c:v>
                </c:pt>
                <c:pt idx="78">
                  <c:v>361.391859046055</c:v>
                </c:pt>
                <c:pt idx="79">
                  <c:v>340.54232871647503</c:v>
                </c:pt>
                <c:pt idx="80">
                  <c:v>315.52289232097797</c:v>
                </c:pt>
                <c:pt idx="81">
                  <c:v>304.21781365338398</c:v>
                </c:pt>
                <c:pt idx="82">
                  <c:v>302.874177254367</c:v>
                </c:pt>
                <c:pt idx="83">
                  <c:v>290.64245279434601</c:v>
                </c:pt>
                <c:pt idx="84">
                  <c:v>307.78539995422301</c:v>
                </c:pt>
                <c:pt idx="85">
                  <c:v>300.92822109027202</c:v>
                </c:pt>
                <c:pt idx="86">
                  <c:v>285.77756238411098</c:v>
                </c:pt>
                <c:pt idx="87">
                  <c:v>274.51881600613802</c:v>
                </c:pt>
                <c:pt idx="88">
                  <c:v>266.64232677051803</c:v>
                </c:pt>
                <c:pt idx="89">
                  <c:v>263.955053972484</c:v>
                </c:pt>
                <c:pt idx="90">
                  <c:v>254.966589785954</c:v>
                </c:pt>
                <c:pt idx="91">
                  <c:v>243.24452051176701</c:v>
                </c:pt>
                <c:pt idx="92">
                  <c:v>239.12094673547301</c:v>
                </c:pt>
                <c:pt idx="93">
                  <c:v>234.163391745995</c:v>
                </c:pt>
                <c:pt idx="94">
                  <c:v>234.487717773344</c:v>
                </c:pt>
                <c:pt idx="95">
                  <c:v>241.622890375022</c:v>
                </c:pt>
                <c:pt idx="96">
                  <c:v>240.37191855524799</c:v>
                </c:pt>
                <c:pt idx="97">
                  <c:v>241.57655808540099</c:v>
                </c:pt>
                <c:pt idx="98">
                  <c:v>247.59975573616899</c:v>
                </c:pt>
                <c:pt idx="99">
                  <c:v>258.67317295565698</c:v>
                </c:pt>
                <c:pt idx="100">
                  <c:v>266.59599448089699</c:v>
                </c:pt>
                <c:pt idx="101">
                  <c:v>272.80452129014998</c:v>
                </c:pt>
                <c:pt idx="102">
                  <c:v>271.229223443026</c:v>
                </c:pt>
                <c:pt idx="103">
                  <c:v>277.206088804172</c:v>
                </c:pt>
                <c:pt idx="104">
                  <c:v>284.15593224736602</c:v>
                </c:pt>
                <c:pt idx="105">
                  <c:v>290.41079134623999</c:v>
                </c:pt>
                <c:pt idx="106">
                  <c:v>299.39925553276998</c:v>
                </c:pt>
                <c:pt idx="107">
                  <c:v>307.18308018914598</c:v>
                </c:pt>
                <c:pt idx="108">
                  <c:v>323.16772010849098</c:v>
                </c:pt>
                <c:pt idx="109">
                  <c:v>330.44188957903401</c:v>
                </c:pt>
                <c:pt idx="110">
                  <c:v>338.87436629010801</c:v>
                </c:pt>
                <c:pt idx="111">
                  <c:v>355.97098116036398</c:v>
                </c:pt>
                <c:pt idx="112">
                  <c:v>379.83211031532801</c:v>
                </c:pt>
                <c:pt idx="113">
                  <c:v>415.55430561334202</c:v>
                </c:pt>
                <c:pt idx="114">
                  <c:v>391.461515010271</c:v>
                </c:pt>
                <c:pt idx="115">
                  <c:v>352.913050045359</c:v>
                </c:pt>
                <c:pt idx="116">
                  <c:v>345.68521286443797</c:v>
                </c:pt>
                <c:pt idx="117">
                  <c:v>352.218065701039</c:v>
                </c:pt>
                <c:pt idx="118">
                  <c:v>374.27223556077303</c:v>
                </c:pt>
                <c:pt idx="119">
                  <c:v>413.51568487000497</c:v>
                </c:pt>
                <c:pt idx="120">
                  <c:v>448.03324063786499</c:v>
                </c:pt>
                <c:pt idx="121">
                  <c:v>523.78653416867303</c:v>
                </c:pt>
                <c:pt idx="122">
                  <c:v>534.21129933346299</c:v>
                </c:pt>
                <c:pt idx="123">
                  <c:v>556.17280461395399</c:v>
                </c:pt>
                <c:pt idx="124">
                  <c:v>578.73662965952201</c:v>
                </c:pt>
                <c:pt idx="125">
                  <c:v>605.748354508734</c:v>
                </c:pt>
                <c:pt idx="126">
                  <c:v>633.50139599188606</c:v>
                </c:pt>
                <c:pt idx="127">
                  <c:v>648.88371614615403</c:v>
                </c:pt>
                <c:pt idx="128">
                  <c:v>679.78735332355404</c:v>
                </c:pt>
                <c:pt idx="129">
                  <c:v>768.37469107945799</c:v>
                </c:pt>
                <c:pt idx="130">
                  <c:v>795.20108677018504</c:v>
                </c:pt>
                <c:pt idx="131">
                  <c:v>778.93845311311202</c:v>
                </c:pt>
                <c:pt idx="132">
                  <c:v>753.45569382140297</c:v>
                </c:pt>
                <c:pt idx="133">
                  <c:v>701.887855472909</c:v>
                </c:pt>
                <c:pt idx="134">
                  <c:v>648.18873180183402</c:v>
                </c:pt>
                <c:pt idx="135">
                  <c:v>581.33123787831403</c:v>
                </c:pt>
                <c:pt idx="136">
                  <c:v>539.81750637763901</c:v>
                </c:pt>
                <c:pt idx="137">
                  <c:v>505.438947478643</c:v>
                </c:pt>
                <c:pt idx="138">
                  <c:v>491.261266854528</c:v>
                </c:pt>
                <c:pt idx="139">
                  <c:v>467.07581167221502</c:v>
                </c:pt>
                <c:pt idx="140">
                  <c:v>447.10659484543999</c:v>
                </c:pt>
                <c:pt idx="141">
                  <c:v>423.01380424236902</c:v>
                </c:pt>
                <c:pt idx="142">
                  <c:v>414.85932126902202</c:v>
                </c:pt>
                <c:pt idx="143">
                  <c:v>401.28396040998501</c:v>
                </c:pt>
                <c:pt idx="144">
                  <c:v>392.110167064969</c:v>
                </c:pt>
                <c:pt idx="145">
                  <c:v>387.75493184056802</c:v>
                </c:pt>
                <c:pt idx="146">
                  <c:v>383.029038299197</c:v>
                </c:pt>
                <c:pt idx="147">
                  <c:v>374.55022929850099</c:v>
                </c:pt>
                <c:pt idx="148">
                  <c:v>372.65060542402802</c:v>
                </c:pt>
                <c:pt idx="149">
                  <c:v>372.60427313440698</c:v>
                </c:pt>
                <c:pt idx="150">
                  <c:v>365.88609113932</c:v>
                </c:pt>
                <c:pt idx="151">
                  <c:v>363.198818341285</c:v>
                </c:pt>
                <c:pt idx="152">
                  <c:v>364.86678076765099</c:v>
                </c:pt>
                <c:pt idx="153">
                  <c:v>363.29148292052798</c:v>
                </c:pt>
                <c:pt idx="154">
                  <c:v>364.63511931954503</c:v>
                </c:pt>
                <c:pt idx="155">
                  <c:v>363.98646726484702</c:v>
                </c:pt>
                <c:pt idx="156">
                  <c:v>363.94013497522599</c:v>
                </c:pt>
                <c:pt idx="157">
                  <c:v>367.60038585530702</c:v>
                </c:pt>
                <c:pt idx="158">
                  <c:v>372.46527626554303</c:v>
                </c:pt>
                <c:pt idx="159">
                  <c:v>372.41894397592199</c:v>
                </c:pt>
                <c:pt idx="160">
                  <c:v>368.61969622697598</c:v>
                </c:pt>
                <c:pt idx="161">
                  <c:v>369.73167117788699</c:v>
                </c:pt>
                <c:pt idx="162">
                  <c:v>367.46138898644398</c:v>
                </c:pt>
                <c:pt idx="163">
                  <c:v>370.24132636372099</c:v>
                </c:pt>
                <c:pt idx="164">
                  <c:v>366.34941403553302</c:v>
                </c:pt>
                <c:pt idx="165">
                  <c:v>364.31079329219602</c:v>
                </c:pt>
                <c:pt idx="166">
                  <c:v>364.727783898788</c:v>
                </c:pt>
                <c:pt idx="167">
                  <c:v>373.06759603062</c:v>
                </c:pt>
                <c:pt idx="168">
                  <c:v>386.78195375852101</c:v>
                </c:pt>
                <c:pt idx="169">
                  <c:v>390.34954005935998</c:v>
                </c:pt>
                <c:pt idx="170">
                  <c:v>400.17198545907399</c:v>
                </c:pt>
                <c:pt idx="171">
                  <c:v>418.19524612175502</c:v>
                </c:pt>
                <c:pt idx="172">
                  <c:v>428.29568525919598</c:v>
                </c:pt>
                <c:pt idx="173">
                  <c:v>434.13355375147898</c:v>
                </c:pt>
                <c:pt idx="174">
                  <c:v>449.42320932650398</c:v>
                </c:pt>
                <c:pt idx="175">
                  <c:v>465.639510693955</c:v>
                </c:pt>
                <c:pt idx="176">
                  <c:v>487.13769307823299</c:v>
                </c:pt>
                <c:pt idx="177">
                  <c:v>505.99493495409803</c:v>
                </c:pt>
                <c:pt idx="178">
                  <c:v>523.46220814132403</c:v>
                </c:pt>
                <c:pt idx="179">
                  <c:v>528.46609542042302</c:v>
                </c:pt>
                <c:pt idx="180">
                  <c:v>531.848352562777</c:v>
                </c:pt>
                <c:pt idx="181">
                  <c:v>541.99512398983995</c:v>
                </c:pt>
                <c:pt idx="182">
                  <c:v>555.52415255925598</c:v>
                </c:pt>
                <c:pt idx="183">
                  <c:v>566.69023435798704</c:v>
                </c:pt>
                <c:pt idx="184">
                  <c:v>569.00684883905103</c:v>
                </c:pt>
                <c:pt idx="185">
                  <c:v>558.99907428085305</c:v>
                </c:pt>
                <c:pt idx="186">
                  <c:v>571.04546958238802</c:v>
                </c:pt>
                <c:pt idx="187">
                  <c:v>570.489482106933</c:v>
                </c:pt>
                <c:pt idx="188">
                  <c:v>556.21913690357599</c:v>
                </c:pt>
                <c:pt idx="189">
                  <c:v>536.85223984187701</c:v>
                </c:pt>
                <c:pt idx="190">
                  <c:v>530.08772555716803</c:v>
                </c:pt>
                <c:pt idx="191">
                  <c:v>510.257505599257</c:v>
                </c:pt>
                <c:pt idx="192">
                  <c:v>527.44678504875503</c:v>
                </c:pt>
                <c:pt idx="193">
                  <c:v>512.71311694918495</c:v>
                </c:pt>
                <c:pt idx="194">
                  <c:v>507.98722340781399</c:v>
                </c:pt>
                <c:pt idx="195">
                  <c:v>511.78647115675898</c:v>
                </c:pt>
                <c:pt idx="196">
                  <c:v>514.84440227176401</c:v>
                </c:pt>
                <c:pt idx="197">
                  <c:v>504.14164336924699</c:v>
                </c:pt>
                <c:pt idx="198">
                  <c:v>502.24201949477401</c:v>
                </c:pt>
                <c:pt idx="199">
                  <c:v>464.34220658455899</c:v>
                </c:pt>
                <c:pt idx="200">
                  <c:v>457.53136001023</c:v>
                </c:pt>
                <c:pt idx="201">
                  <c:v>452.80546646885801</c:v>
                </c:pt>
                <c:pt idx="202">
                  <c:v>433.53123398640201</c:v>
                </c:pt>
                <c:pt idx="203">
                  <c:v>413.70101402849002</c:v>
                </c:pt>
                <c:pt idx="204">
                  <c:v>392.01750248572699</c:v>
                </c:pt>
                <c:pt idx="205">
                  <c:v>378.164147888961</c:v>
                </c:pt>
                <c:pt idx="206">
                  <c:v>366.53474319401801</c:v>
                </c:pt>
                <c:pt idx="207">
                  <c:v>356.94395924241098</c:v>
                </c:pt>
                <c:pt idx="208">
                  <c:v>351.66207822558403</c:v>
                </c:pt>
                <c:pt idx="209">
                  <c:v>347.35317529080402</c:v>
                </c:pt>
                <c:pt idx="210">
                  <c:v>332.15618429502098</c:v>
                </c:pt>
                <c:pt idx="211">
                  <c:v>326.22565122349602</c:v>
                </c:pt>
                <c:pt idx="212">
                  <c:v>312.32596433711001</c:v>
                </c:pt>
                <c:pt idx="213">
                  <c:v>283.13662187569702</c:v>
                </c:pt>
                <c:pt idx="214">
                  <c:v>270.904897415677</c:v>
                </c:pt>
                <c:pt idx="215">
                  <c:v>270.95122970529798</c:v>
                </c:pt>
                <c:pt idx="216">
                  <c:v>232.72709076773501</c:v>
                </c:pt>
                <c:pt idx="217">
                  <c:v>210.48759174951601</c:v>
                </c:pt>
                <c:pt idx="218">
                  <c:v>200.665146349803</c:v>
                </c:pt>
                <c:pt idx="219">
                  <c:v>191.028030108575</c:v>
                </c:pt>
                <c:pt idx="220">
                  <c:v>198.71919018570901</c:v>
                </c:pt>
                <c:pt idx="221">
                  <c:v>198.16320271025299</c:v>
                </c:pt>
                <c:pt idx="222">
                  <c:v>192.41799879721299</c:v>
                </c:pt>
                <c:pt idx="223">
                  <c:v>205.71536591852299</c:v>
                </c:pt>
                <c:pt idx="224">
                  <c:v>199.97016200548299</c:v>
                </c:pt>
                <c:pt idx="225">
                  <c:v>181.437246156968</c:v>
                </c:pt>
                <c:pt idx="226">
                  <c:v>167.02790408474701</c:v>
                </c:pt>
                <c:pt idx="227">
                  <c:v>157.622449291625</c:v>
                </c:pt>
                <c:pt idx="228">
                  <c:v>152.06257453706999</c:v>
                </c:pt>
                <c:pt idx="229">
                  <c:v>149.32896944941399</c:v>
                </c:pt>
                <c:pt idx="230">
                  <c:v>144.23241759107299</c:v>
                </c:pt>
                <c:pt idx="231">
                  <c:v>134.919627377193</c:v>
                </c:pt>
                <c:pt idx="232">
                  <c:v>127.08947043119601</c:v>
                </c:pt>
                <c:pt idx="233">
                  <c:v>123.892542447327</c:v>
                </c:pt>
                <c:pt idx="234">
                  <c:v>115.691727184358</c:v>
                </c:pt>
                <c:pt idx="235">
                  <c:v>111.614485697685</c:v>
                </c:pt>
                <c:pt idx="236">
                  <c:v>110.50251074677401</c:v>
                </c:pt>
                <c:pt idx="237">
                  <c:v>105.961946363888</c:v>
                </c:pt>
                <c:pt idx="238">
                  <c:v>101.097055953652</c:v>
                </c:pt>
                <c:pt idx="239">
                  <c:v>97.344140494328002</c:v>
                </c:pt>
                <c:pt idx="240">
                  <c:v>92.757243821819998</c:v>
                </c:pt>
                <c:pt idx="241">
                  <c:v>91.228278264318007</c:v>
                </c:pt>
                <c:pt idx="242">
                  <c:v>91.923262608637003</c:v>
                </c:pt>
                <c:pt idx="243">
                  <c:v>90.347964761512998</c:v>
                </c:pt>
                <c:pt idx="244">
                  <c:v>87.012039908779997</c:v>
                </c:pt>
                <c:pt idx="245">
                  <c:v>83.537118187184007</c:v>
                </c:pt>
                <c:pt idx="246">
                  <c:v>79.830535017480997</c:v>
                </c:pt>
                <c:pt idx="247">
                  <c:v>76.170284137398994</c:v>
                </c:pt>
                <c:pt idx="248">
                  <c:v>70.471412513979999</c:v>
                </c:pt>
                <c:pt idx="249">
                  <c:v>66.718497054655998</c:v>
                </c:pt>
                <c:pt idx="250">
                  <c:v>65.235863786774999</c:v>
                </c:pt>
                <c:pt idx="251">
                  <c:v>61.297619168964999</c:v>
                </c:pt>
                <c:pt idx="252">
                  <c:v>55.459750676683001</c:v>
                </c:pt>
                <c:pt idx="253">
                  <c:v>49.992540501370001</c:v>
                </c:pt>
                <c:pt idx="254">
                  <c:v>46.841944807122999</c:v>
                </c:pt>
                <c:pt idx="255">
                  <c:v>44.617994905301003</c:v>
                </c:pt>
                <c:pt idx="256">
                  <c:v>43.645016823253997</c:v>
                </c:pt>
                <c:pt idx="257">
                  <c:v>42.486709582722</c:v>
                </c:pt>
                <c:pt idx="258">
                  <c:v>38.131474358319998</c:v>
                </c:pt>
                <c:pt idx="259">
                  <c:v>36.092853614984001</c:v>
                </c:pt>
                <c:pt idx="260">
                  <c:v>34.193229740511001</c:v>
                </c:pt>
                <c:pt idx="261">
                  <c:v>31.227963204748001</c:v>
                </c:pt>
                <c:pt idx="262">
                  <c:v>28.633354985956</c:v>
                </c:pt>
                <c:pt idx="263">
                  <c:v>26.872727980347001</c:v>
                </c:pt>
                <c:pt idx="264">
                  <c:v>26.455737373756001</c:v>
                </c:pt>
                <c:pt idx="265">
                  <c:v>24.000126023827001</c:v>
                </c:pt>
                <c:pt idx="266">
                  <c:v>21.173856356929001</c:v>
                </c:pt>
                <c:pt idx="267">
                  <c:v>19.644890799426001</c:v>
                </c:pt>
                <c:pt idx="268">
                  <c:v>17.652602345710999</c:v>
                </c:pt>
                <c:pt idx="269">
                  <c:v>16.911285711769999</c:v>
                </c:pt>
                <c:pt idx="270">
                  <c:v>16.308965946693</c:v>
                </c:pt>
                <c:pt idx="271">
                  <c:v>15.938307629723001</c:v>
                </c:pt>
                <c:pt idx="272">
                  <c:v>15.150658706161</c:v>
                </c:pt>
                <c:pt idx="273">
                  <c:v>13.436363990173</c:v>
                </c:pt>
                <c:pt idx="274">
                  <c:v>12.231724460020001</c:v>
                </c:pt>
                <c:pt idx="275">
                  <c:v>12.046395301535</c:v>
                </c:pt>
                <c:pt idx="276">
                  <c:v>10.702758902516999</c:v>
                </c:pt>
                <c:pt idx="277">
                  <c:v>10.239436006304</c:v>
                </c:pt>
                <c:pt idx="278">
                  <c:v>9.8687776893339993</c:v>
                </c:pt>
                <c:pt idx="279">
                  <c:v>8.8494673176660008</c:v>
                </c:pt>
                <c:pt idx="280">
                  <c:v>7.9691538148610004</c:v>
                </c:pt>
                <c:pt idx="281">
                  <c:v>7.4131663394059997</c:v>
                </c:pt>
                <c:pt idx="282">
                  <c:v>6.4401882573589999</c:v>
                </c:pt>
                <c:pt idx="283">
                  <c:v>5.4208778856900004</c:v>
                </c:pt>
                <c:pt idx="284">
                  <c:v>5.0502195687200002</c:v>
                </c:pt>
                <c:pt idx="285">
                  <c:v>5.2355487272049999</c:v>
                </c:pt>
                <c:pt idx="286">
                  <c:v>4.67956125175</c:v>
                </c:pt>
                <c:pt idx="287">
                  <c:v>4.4015675140220001</c:v>
                </c:pt>
                <c:pt idx="288">
                  <c:v>4.4015675140220001</c:v>
                </c:pt>
                <c:pt idx="289">
                  <c:v>3.7529154593239999</c:v>
                </c:pt>
                <c:pt idx="290">
                  <c:v>4.1235737762940001</c:v>
                </c:pt>
                <c:pt idx="291">
                  <c:v>4.2625706451580001</c:v>
                </c:pt>
                <c:pt idx="292">
                  <c:v>4.0772414866729996</c:v>
                </c:pt>
                <c:pt idx="293">
                  <c:v>3.8919123281879999</c:v>
                </c:pt>
                <c:pt idx="294">
                  <c:v>3.8455800385660002</c:v>
                </c:pt>
                <c:pt idx="295">
                  <c:v>3.196927983868</c:v>
                </c:pt>
                <c:pt idx="296">
                  <c:v>2.9189342461410002</c:v>
                </c:pt>
                <c:pt idx="297">
                  <c:v>2.270282191443</c:v>
                </c:pt>
                <c:pt idx="298">
                  <c:v>2.270282191443</c:v>
                </c:pt>
                <c:pt idx="299">
                  <c:v>2.0849530329579999</c:v>
                </c:pt>
                <c:pt idx="300">
                  <c:v>1.945956164094</c:v>
                </c:pt>
                <c:pt idx="301">
                  <c:v>1.4826332678809999</c:v>
                </c:pt>
                <c:pt idx="302">
                  <c:v>1.297304109396</c:v>
                </c:pt>
                <c:pt idx="303">
                  <c:v>1.4363009782589999</c:v>
                </c:pt>
                <c:pt idx="304">
                  <c:v>1.4826332678809999</c:v>
                </c:pt>
                <c:pt idx="305">
                  <c:v>1.528965557502</c:v>
                </c:pt>
                <c:pt idx="306">
                  <c:v>1.80695929523</c:v>
                </c:pt>
                <c:pt idx="307">
                  <c:v>1.4363009782589999</c:v>
                </c:pt>
                <c:pt idx="308">
                  <c:v>1.1583072405320001</c:v>
                </c:pt>
                <c:pt idx="309">
                  <c:v>1.5752978471229999</c:v>
                </c:pt>
                <c:pt idx="310">
                  <c:v>1.667962426366</c:v>
                </c:pt>
                <c:pt idx="311">
                  <c:v>1.80695929523</c:v>
                </c:pt>
                <c:pt idx="312">
                  <c:v>1.760627005608</c:v>
                </c:pt>
                <c:pt idx="313">
                  <c:v>1.6216301367449999</c:v>
                </c:pt>
                <c:pt idx="314">
                  <c:v>2.5946082187920001</c:v>
                </c:pt>
                <c:pt idx="315">
                  <c:v>3.1505956942469999</c:v>
                </c:pt>
                <c:pt idx="316">
                  <c:v>3.1505956942469999</c:v>
                </c:pt>
                <c:pt idx="317">
                  <c:v>3.0579311150050001</c:v>
                </c:pt>
                <c:pt idx="318">
                  <c:v>3.196927983868</c:v>
                </c:pt>
                <c:pt idx="319">
                  <c:v>3.3822571423540002</c:v>
                </c:pt>
                <c:pt idx="320">
                  <c:v>3.4285894319749999</c:v>
                </c:pt>
                <c:pt idx="321">
                  <c:v>2.7799373772770002</c:v>
                </c:pt>
                <c:pt idx="322">
                  <c:v>2.5946082187920001</c:v>
                </c:pt>
                <c:pt idx="323">
                  <c:v>2.5019436395489998</c:v>
                </c:pt>
                <c:pt idx="324">
                  <c:v>2.5019436395489998</c:v>
                </c:pt>
                <c:pt idx="325">
                  <c:v>2.5019436395489998</c:v>
                </c:pt>
                <c:pt idx="326">
                  <c:v>2.3629467706849998</c:v>
                </c:pt>
                <c:pt idx="327">
                  <c:v>2.2239499018209998</c:v>
                </c:pt>
                <c:pt idx="328">
                  <c:v>2.5946082187920001</c:v>
                </c:pt>
                <c:pt idx="329">
                  <c:v>2.5946082187920001</c:v>
                </c:pt>
                <c:pt idx="330">
                  <c:v>2.4556113499280001</c:v>
                </c:pt>
                <c:pt idx="331">
                  <c:v>2.7799373772770002</c:v>
                </c:pt>
                <c:pt idx="332">
                  <c:v>2.5482759291699999</c:v>
                </c:pt>
                <c:pt idx="333">
                  <c:v>2.4556113499280001</c:v>
                </c:pt>
                <c:pt idx="334">
                  <c:v>2.5482759291699999</c:v>
                </c:pt>
                <c:pt idx="335">
                  <c:v>2.3629467706849998</c:v>
                </c:pt>
                <c:pt idx="336">
                  <c:v>2.409279060307</c:v>
                </c:pt>
                <c:pt idx="337">
                  <c:v>2.4556113499280001</c:v>
                </c:pt>
                <c:pt idx="338">
                  <c:v>2.1312853225790001</c:v>
                </c:pt>
                <c:pt idx="339">
                  <c:v>2.4556113499280001</c:v>
                </c:pt>
                <c:pt idx="340">
                  <c:v>2.4556113499280001</c:v>
                </c:pt>
                <c:pt idx="341">
                  <c:v>2.4556113499280001</c:v>
                </c:pt>
                <c:pt idx="342">
                  <c:v>2.4556113499280001</c:v>
                </c:pt>
                <c:pt idx="343">
                  <c:v>2.409279060307</c:v>
                </c:pt>
                <c:pt idx="344">
                  <c:v>2.6409405084130002</c:v>
                </c:pt>
                <c:pt idx="345">
                  <c:v>2.6872727980339999</c:v>
                </c:pt>
                <c:pt idx="346">
                  <c:v>2.5946082187920001</c:v>
                </c:pt>
                <c:pt idx="347">
                  <c:v>2.6409405084130002</c:v>
                </c:pt>
                <c:pt idx="348">
                  <c:v>2.7336050876560001</c:v>
                </c:pt>
                <c:pt idx="349">
                  <c:v>2.7336050876560001</c:v>
                </c:pt>
                <c:pt idx="350">
                  <c:v>3.1505956942469999</c:v>
                </c:pt>
                <c:pt idx="351">
                  <c:v>3.1505956942469999</c:v>
                </c:pt>
                <c:pt idx="352">
                  <c:v>2.9652665357619998</c:v>
                </c:pt>
                <c:pt idx="353">
                  <c:v>2.9189342461410002</c:v>
                </c:pt>
                <c:pt idx="354">
                  <c:v>3.1042634046259998</c:v>
                </c:pt>
                <c:pt idx="355">
                  <c:v>3.1042634046259998</c:v>
                </c:pt>
                <c:pt idx="356">
                  <c:v>3.0579311150050001</c:v>
                </c:pt>
                <c:pt idx="357">
                  <c:v>3.1505956942469999</c:v>
                </c:pt>
                <c:pt idx="358">
                  <c:v>3.4285894319749999</c:v>
                </c:pt>
                <c:pt idx="359">
                  <c:v>3.7529154593239999</c:v>
                </c:pt>
                <c:pt idx="360">
                  <c:v>3.7992477489450001</c:v>
                </c:pt>
                <c:pt idx="361">
                  <c:v>3.7529154593239999</c:v>
                </c:pt>
                <c:pt idx="362">
                  <c:v>3.6602508800810001</c:v>
                </c:pt>
                <c:pt idx="363">
                  <c:v>3.7065831697029998</c:v>
                </c:pt>
                <c:pt idx="364">
                  <c:v>3.5212540112170001</c:v>
                </c:pt>
                <c:pt idx="365">
                  <c:v>3.8455800385660002</c:v>
                </c:pt>
                <c:pt idx="366">
                  <c:v>4.1699060659159999</c:v>
                </c:pt>
                <c:pt idx="367">
                  <c:v>5.1428841479629996</c:v>
                </c:pt>
                <c:pt idx="368">
                  <c:v>5.4672101753120002</c:v>
                </c:pt>
                <c:pt idx="369">
                  <c:v>5.7915362026609998</c:v>
                </c:pt>
                <c:pt idx="370">
                  <c:v>6.4865205469799996</c:v>
                </c:pt>
                <c:pt idx="371">
                  <c:v>7.4594986290270002</c:v>
                </c:pt>
                <c:pt idx="372">
                  <c:v>7.4131663394059997</c:v>
                </c:pt>
                <c:pt idx="373">
                  <c:v>7.6911600771330004</c:v>
                </c:pt>
                <c:pt idx="374">
                  <c:v>7.8764892356190002</c:v>
                </c:pt>
                <c:pt idx="375">
                  <c:v>7.7838246563759999</c:v>
                </c:pt>
                <c:pt idx="376">
                  <c:v>7.6448277875119999</c:v>
                </c:pt>
                <c:pt idx="377">
                  <c:v>8.3398121318319998</c:v>
                </c:pt>
                <c:pt idx="378">
                  <c:v>8.9884641865300008</c:v>
                </c:pt>
                <c:pt idx="379">
                  <c:v>9.2201256346360001</c:v>
                </c:pt>
                <c:pt idx="380">
                  <c:v>9.7297808204699994</c:v>
                </c:pt>
                <c:pt idx="381">
                  <c:v>10.378432875168</c:v>
                </c:pt>
                <c:pt idx="382">
                  <c:v>10.517429744032</c:v>
                </c:pt>
                <c:pt idx="383">
                  <c:v>11.027084929866</c:v>
                </c:pt>
                <c:pt idx="384">
                  <c:v>10.841755771381001</c:v>
                </c:pt>
                <c:pt idx="385">
                  <c:v>10.563762033652999</c:v>
                </c:pt>
                <c:pt idx="386">
                  <c:v>11.073417219488</c:v>
                </c:pt>
                <c:pt idx="387">
                  <c:v>10.656426612896</c:v>
                </c:pt>
                <c:pt idx="388">
                  <c:v>10.285768295925999</c:v>
                </c:pt>
                <c:pt idx="389">
                  <c:v>10.980752640245001</c:v>
                </c:pt>
                <c:pt idx="390">
                  <c:v>11.027084929866</c:v>
                </c:pt>
                <c:pt idx="391">
                  <c:v>11.907398432671</c:v>
                </c:pt>
                <c:pt idx="392">
                  <c:v>11.119749509109001</c:v>
                </c:pt>
                <c:pt idx="393">
                  <c:v>11.629404694943</c:v>
                </c:pt>
                <c:pt idx="394">
                  <c:v>13.853354596765</c:v>
                </c:pt>
                <c:pt idx="395">
                  <c:v>15.84564305048</c:v>
                </c:pt>
                <c:pt idx="396">
                  <c:v>16.772288842906001</c:v>
                </c:pt>
                <c:pt idx="397">
                  <c:v>17.28194402874</c:v>
                </c:pt>
                <c:pt idx="398">
                  <c:v>17.884263793816999</c:v>
                </c:pt>
                <c:pt idx="399">
                  <c:v>21.776176122005001</c:v>
                </c:pt>
                <c:pt idx="400">
                  <c:v>24.695110368146999</c:v>
                </c:pt>
                <c:pt idx="401">
                  <c:v>25.899749898300001</c:v>
                </c:pt>
                <c:pt idx="402">
                  <c:v>26.733731111482999</c:v>
                </c:pt>
                <c:pt idx="403">
                  <c:v>26.085079056784998</c:v>
                </c:pt>
                <c:pt idx="404">
                  <c:v>25.853417608678999</c:v>
                </c:pt>
                <c:pt idx="405">
                  <c:v>27.660376903909</c:v>
                </c:pt>
                <c:pt idx="406">
                  <c:v>27.845706062394001</c:v>
                </c:pt>
                <c:pt idx="407">
                  <c:v>28.633354985956</c:v>
                </c:pt>
                <c:pt idx="408">
                  <c:v>29.467336199139002</c:v>
                </c:pt>
                <c:pt idx="409">
                  <c:v>33.312916237705998</c:v>
                </c:pt>
                <c:pt idx="410">
                  <c:v>36.046521325362001</c:v>
                </c:pt>
                <c:pt idx="411">
                  <c:v>37.529154593244002</c:v>
                </c:pt>
                <c:pt idx="412">
                  <c:v>43.228026216662002</c:v>
                </c:pt>
                <c:pt idx="413">
                  <c:v>51.660502927736999</c:v>
                </c:pt>
                <c:pt idx="414">
                  <c:v>58.610346370930003</c:v>
                </c:pt>
                <c:pt idx="415">
                  <c:v>66.718497054655998</c:v>
                </c:pt>
                <c:pt idx="416">
                  <c:v>75.845958110050006</c:v>
                </c:pt>
                <c:pt idx="417">
                  <c:v>81.266835995741005</c:v>
                </c:pt>
                <c:pt idx="418">
                  <c:v>85.761068089006002</c:v>
                </c:pt>
                <c:pt idx="419">
                  <c:v>94.888529144399996</c:v>
                </c:pt>
                <c:pt idx="420">
                  <c:v>107.768905659118</c:v>
                </c:pt>
                <c:pt idx="421">
                  <c:v>117.91567708618</c:v>
                </c:pt>
                <c:pt idx="422">
                  <c:v>118.425332272015</c:v>
                </c:pt>
                <c:pt idx="423">
                  <c:v>129.63774636036601</c:v>
                </c:pt>
                <c:pt idx="424">
                  <c:v>138.71887512613901</c:v>
                </c:pt>
                <c:pt idx="425">
                  <c:v>144.88106964577099</c:v>
                </c:pt>
                <c:pt idx="426">
                  <c:v>165.26727707913801</c:v>
                </c:pt>
                <c:pt idx="427">
                  <c:v>180.88125868151201</c:v>
                </c:pt>
                <c:pt idx="428">
                  <c:v>204.41806180912701</c:v>
                </c:pt>
                <c:pt idx="429">
                  <c:v>236.01668333084601</c:v>
                </c:pt>
                <c:pt idx="430">
                  <c:v>255.19825123406</c:v>
                </c:pt>
                <c:pt idx="431">
                  <c:v>262.24075925649601</c:v>
                </c:pt>
                <c:pt idx="432">
                  <c:v>263.90872168286199</c:v>
                </c:pt>
                <c:pt idx="433">
                  <c:v>273.40684105522701</c:v>
                </c:pt>
                <c:pt idx="434">
                  <c:v>293.65405161973001</c:v>
                </c:pt>
                <c:pt idx="435">
                  <c:v>305.65411463164401</c:v>
                </c:pt>
                <c:pt idx="436">
                  <c:v>310.70433420036397</c:v>
                </c:pt>
                <c:pt idx="437">
                  <c:v>329.88590210357802</c:v>
                </c:pt>
                <c:pt idx="438">
                  <c:v>339.56935063442802</c:v>
                </c:pt>
                <c:pt idx="439">
                  <c:v>347.12151384269799</c:v>
                </c:pt>
                <c:pt idx="440">
                  <c:v>360.27988409514398</c:v>
                </c:pt>
                <c:pt idx="441">
                  <c:v>382.148724796392</c:v>
                </c:pt>
                <c:pt idx="442">
                  <c:v>372.74327000327099</c:v>
                </c:pt>
                <c:pt idx="443">
                  <c:v>383.95568409162303</c:v>
                </c:pt>
                <c:pt idx="444">
                  <c:v>418.936562755696</c:v>
                </c:pt>
                <c:pt idx="445">
                  <c:v>437.237817156105</c:v>
                </c:pt>
                <c:pt idx="446">
                  <c:v>444.28032517854098</c:v>
                </c:pt>
                <c:pt idx="447">
                  <c:v>452.20314670378099</c:v>
                </c:pt>
                <c:pt idx="448">
                  <c:v>461.23794317993298</c:v>
                </c:pt>
                <c:pt idx="449">
                  <c:v>486.99869620937</c:v>
                </c:pt>
                <c:pt idx="450">
                  <c:v>539.30785119180496</c:v>
                </c:pt>
                <c:pt idx="451">
                  <c:v>527.40045275913405</c:v>
                </c:pt>
                <c:pt idx="452">
                  <c:v>527.21512360064901</c:v>
                </c:pt>
                <c:pt idx="453">
                  <c:v>536.80590755225501</c:v>
                </c:pt>
                <c:pt idx="454">
                  <c:v>544.91405823598097</c:v>
                </c:pt>
                <c:pt idx="455">
                  <c:v>537.91788250316597</c:v>
                </c:pt>
                <c:pt idx="456">
                  <c:v>551.817569389553</c:v>
                </c:pt>
                <c:pt idx="457">
                  <c:v>524.48151851299201</c:v>
                </c:pt>
                <c:pt idx="458">
                  <c:v>519.47763123389302</c:v>
                </c:pt>
                <c:pt idx="459">
                  <c:v>513.77875961047505</c:v>
                </c:pt>
                <c:pt idx="460">
                  <c:v>498.81343006279798</c:v>
                </c:pt>
                <c:pt idx="461">
                  <c:v>491.817254329984</c:v>
                </c:pt>
                <c:pt idx="462">
                  <c:v>484.58941714906302</c:v>
                </c:pt>
                <c:pt idx="463">
                  <c:v>465.12985550812101</c:v>
                </c:pt>
                <c:pt idx="464">
                  <c:v>449.330544747261</c:v>
                </c:pt>
                <c:pt idx="465">
                  <c:v>426.58139054320901</c:v>
                </c:pt>
                <c:pt idx="466">
                  <c:v>414.21066921432401</c:v>
                </c:pt>
                <c:pt idx="467">
                  <c:v>408.69712674939097</c:v>
                </c:pt>
                <c:pt idx="468">
                  <c:v>391.60051187913501</c:v>
                </c:pt>
                <c:pt idx="469">
                  <c:v>379.60044886722102</c:v>
                </c:pt>
                <c:pt idx="470">
                  <c:v>361.71618507340401</c:v>
                </c:pt>
                <c:pt idx="471">
                  <c:v>337.85505591843997</c:v>
                </c:pt>
                <c:pt idx="472">
                  <c:v>317.09819016810201</c:v>
                </c:pt>
                <c:pt idx="473">
                  <c:v>304.86646570808199</c:v>
                </c:pt>
                <c:pt idx="474">
                  <c:v>299.95524300822501</c:v>
                </c:pt>
                <c:pt idx="475">
                  <c:v>283.78527393039502</c:v>
                </c:pt>
                <c:pt idx="476">
                  <c:v>264.14038313096898</c:v>
                </c:pt>
                <c:pt idx="477">
                  <c:v>250.19436395496101</c:v>
                </c:pt>
                <c:pt idx="478">
                  <c:v>232.958752215841</c:v>
                </c:pt>
                <c:pt idx="479">
                  <c:v>198.20953499987399</c:v>
                </c:pt>
                <c:pt idx="480">
                  <c:v>181.25191699848301</c:v>
                </c:pt>
                <c:pt idx="481">
                  <c:v>176.20169742976199</c:v>
                </c:pt>
                <c:pt idx="482">
                  <c:v>169.52984772429599</c:v>
                </c:pt>
                <c:pt idx="483">
                  <c:v>158.08577218783799</c:v>
                </c:pt>
                <c:pt idx="484">
                  <c:v>150.62627355881</c:v>
                </c:pt>
                <c:pt idx="485">
                  <c:v>149.189972580551</c:v>
                </c:pt>
                <c:pt idx="486">
                  <c:v>165.96226142345699</c:v>
                </c:pt>
                <c:pt idx="487">
                  <c:v>165.63793539610799</c:v>
                </c:pt>
                <c:pt idx="488">
                  <c:v>165.776932264972</c:v>
                </c:pt>
                <c:pt idx="489">
                  <c:v>171.24414244028401</c:v>
                </c:pt>
                <c:pt idx="490">
                  <c:v>175.22871934771501</c:v>
                </c:pt>
                <c:pt idx="491">
                  <c:v>173.282763183621</c:v>
                </c:pt>
                <c:pt idx="492">
                  <c:v>169.946838330888</c:v>
                </c:pt>
                <c:pt idx="493">
                  <c:v>169.99317062050901</c:v>
                </c:pt>
                <c:pt idx="494">
                  <c:v>176.71135261559601</c:v>
                </c:pt>
                <c:pt idx="495">
                  <c:v>176.15536514014099</c:v>
                </c:pt>
                <c:pt idx="496">
                  <c:v>157.34445555389701</c:v>
                </c:pt>
                <c:pt idx="497">
                  <c:v>143.02777806091899</c:v>
                </c:pt>
                <c:pt idx="498">
                  <c:v>138.579878257275</c:v>
                </c:pt>
                <c:pt idx="499">
                  <c:v>134.50263677060201</c:v>
                </c:pt>
                <c:pt idx="500">
                  <c:v>135.290285694164</c:v>
                </c:pt>
                <c:pt idx="501">
                  <c:v>139.274862601595</c:v>
                </c:pt>
                <c:pt idx="502">
                  <c:v>141.77680624114399</c:v>
                </c:pt>
                <c:pt idx="503">
                  <c:v>156.88113265768399</c:v>
                </c:pt>
                <c:pt idx="504">
                  <c:v>177.03567864294499</c:v>
                </c:pt>
                <c:pt idx="505">
                  <c:v>201.22113382525799</c:v>
                </c:pt>
                <c:pt idx="506">
                  <c:v>234.20972403561601</c:v>
                </c:pt>
                <c:pt idx="507">
                  <c:v>266.68865906014003</c:v>
                </c:pt>
                <c:pt idx="508">
                  <c:v>287.213863362371</c:v>
                </c:pt>
                <c:pt idx="509">
                  <c:v>301.57687314497002</c:v>
                </c:pt>
                <c:pt idx="510">
                  <c:v>331.461199950702</c:v>
                </c:pt>
                <c:pt idx="511">
                  <c:v>364.681451609166</c:v>
                </c:pt>
                <c:pt idx="512">
                  <c:v>427.18371030828501</c:v>
                </c:pt>
                <c:pt idx="513">
                  <c:v>456.92904024515298</c:v>
                </c:pt>
                <c:pt idx="514">
                  <c:v>521.84057800457902</c:v>
                </c:pt>
                <c:pt idx="515">
                  <c:v>531.01437134959394</c:v>
                </c:pt>
                <c:pt idx="516">
                  <c:v>564.23462300805897</c:v>
                </c:pt>
                <c:pt idx="517">
                  <c:v>587.44710010832398</c:v>
                </c:pt>
                <c:pt idx="518">
                  <c:v>646.42810479622506</c:v>
                </c:pt>
                <c:pt idx="519">
                  <c:v>662.22741555708501</c:v>
                </c:pt>
                <c:pt idx="520">
                  <c:v>700.21989304654198</c:v>
                </c:pt>
                <c:pt idx="521">
                  <c:v>683.67926565174196</c:v>
                </c:pt>
                <c:pt idx="522">
                  <c:v>720.32810674218194</c:v>
                </c:pt>
                <c:pt idx="523">
                  <c:v>698.36660146169095</c:v>
                </c:pt>
                <c:pt idx="524">
                  <c:v>720.97675879687995</c:v>
                </c:pt>
                <c:pt idx="525">
                  <c:v>706.98440733125005</c:v>
                </c:pt>
                <c:pt idx="526">
                  <c:v>699.57124099184398</c:v>
                </c:pt>
                <c:pt idx="527">
                  <c:v>684.04992396871205</c:v>
                </c:pt>
                <c:pt idx="528">
                  <c:v>684.65224373378896</c:v>
                </c:pt>
                <c:pt idx="529">
                  <c:v>652.77562847434206</c:v>
                </c:pt>
                <c:pt idx="530">
                  <c:v>649.99569109706499</c:v>
                </c:pt>
                <c:pt idx="531">
                  <c:v>636.55932710689103</c:v>
                </c:pt>
                <c:pt idx="532">
                  <c:v>628.86816702975705</c:v>
                </c:pt>
                <c:pt idx="533">
                  <c:v>602.04177133902999</c:v>
                </c:pt>
                <c:pt idx="534">
                  <c:v>583.36985862165102</c:v>
                </c:pt>
                <c:pt idx="535">
                  <c:v>553.67086097440495</c:v>
                </c:pt>
                <c:pt idx="536">
                  <c:v>545.42371342181502</c:v>
                </c:pt>
                <c:pt idx="537">
                  <c:v>535.74026489096605</c:v>
                </c:pt>
                <c:pt idx="538">
                  <c:v>521.56258426685099</c:v>
                </c:pt>
                <c:pt idx="539">
                  <c:v>484.58941714906302</c:v>
                </c:pt>
                <c:pt idx="540">
                  <c:v>459.33831930546</c:v>
                </c:pt>
                <c:pt idx="541">
                  <c:v>435.24552870239</c:v>
                </c:pt>
                <c:pt idx="542">
                  <c:v>420.00220541698502</c:v>
                </c:pt>
                <c:pt idx="543">
                  <c:v>376.91317606918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ripadu_7dni_100_000_65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-6.6201999999999997E-2</c:v>
                </c:pt>
                <c:pt idx="1">
                  <c:v>-2.0476999999999999E-2</c:v>
                </c:pt>
                <c:pt idx="2">
                  <c:v>-6.0975000000000001E-2</c:v>
                </c:pt>
                <c:pt idx="3">
                  <c:v>8.9402999999999996E-2</c:v>
                </c:pt>
                <c:pt idx="4">
                  <c:v>0.219081</c:v>
                </c:pt>
                <c:pt idx="5">
                  <c:v>0.26989600000000002</c:v>
                </c:pt>
                <c:pt idx="6">
                  <c:v>0.27096700000000001</c:v>
                </c:pt>
                <c:pt idx="7">
                  <c:v>0.37878699999999998</c:v>
                </c:pt>
                <c:pt idx="8">
                  <c:v>0.46838999999999997</c:v>
                </c:pt>
                <c:pt idx="9">
                  <c:v>0.462337</c:v>
                </c:pt>
                <c:pt idx="10">
                  <c:v>0.59689899999999996</c:v>
                </c:pt>
                <c:pt idx="11">
                  <c:v>0.960422</c:v>
                </c:pt>
                <c:pt idx="12">
                  <c:v>0.84705799999999998</c:v>
                </c:pt>
                <c:pt idx="13">
                  <c:v>0.62925799999999998</c:v>
                </c:pt>
                <c:pt idx="14">
                  <c:v>0.49912699999999999</c:v>
                </c:pt>
                <c:pt idx="15">
                  <c:v>0.493589</c:v>
                </c:pt>
                <c:pt idx="16">
                  <c:v>0.57122300000000004</c:v>
                </c:pt>
                <c:pt idx="17">
                  <c:v>0.42571700000000001</c:v>
                </c:pt>
                <c:pt idx="18">
                  <c:v>0.35286899999999999</c:v>
                </c:pt>
                <c:pt idx="19">
                  <c:v>0.296211</c:v>
                </c:pt>
                <c:pt idx="20">
                  <c:v>0.22199099999999999</c:v>
                </c:pt>
                <c:pt idx="21">
                  <c:v>0.204761</c:v>
                </c:pt>
                <c:pt idx="22">
                  <c:v>8.5476999999999997E-2</c:v>
                </c:pt>
                <c:pt idx="23">
                  <c:v>7.2997999999999993E-2</c:v>
                </c:pt>
                <c:pt idx="24">
                  <c:v>0.16886100000000001</c:v>
                </c:pt>
                <c:pt idx="25">
                  <c:v>0.28630699999999998</c:v>
                </c:pt>
                <c:pt idx="26">
                  <c:v>0.248417</c:v>
                </c:pt>
                <c:pt idx="27">
                  <c:v>0.14053599999999999</c:v>
                </c:pt>
                <c:pt idx="28">
                  <c:v>8.9391999999999999E-2</c:v>
                </c:pt>
                <c:pt idx="29">
                  <c:v>8.7803999999999993E-2</c:v>
                </c:pt>
                <c:pt idx="30">
                  <c:v>0.15079799999999999</c:v>
                </c:pt>
                <c:pt idx="31">
                  <c:v>0.25191200000000002</c:v>
                </c:pt>
                <c:pt idx="32">
                  <c:v>0.38447700000000001</c:v>
                </c:pt>
                <c:pt idx="33">
                  <c:v>0.40285700000000002</c:v>
                </c:pt>
                <c:pt idx="34">
                  <c:v>0.51469799999999999</c:v>
                </c:pt>
                <c:pt idx="35">
                  <c:v>0.56888000000000005</c:v>
                </c:pt>
                <c:pt idx="36">
                  <c:v>0.53994699999999995</c:v>
                </c:pt>
                <c:pt idx="37">
                  <c:v>0.53161899999999995</c:v>
                </c:pt>
                <c:pt idx="38">
                  <c:v>0.73893900000000001</c:v>
                </c:pt>
                <c:pt idx="39">
                  <c:v>0.77209300000000003</c:v>
                </c:pt>
                <c:pt idx="40">
                  <c:v>0.59181600000000001</c:v>
                </c:pt>
                <c:pt idx="41">
                  <c:v>0.442139</c:v>
                </c:pt>
                <c:pt idx="42">
                  <c:v>0.41279199999999999</c:v>
                </c:pt>
                <c:pt idx="43">
                  <c:v>0.41925600000000002</c:v>
                </c:pt>
                <c:pt idx="44">
                  <c:v>0.34510999999999997</c:v>
                </c:pt>
                <c:pt idx="45">
                  <c:v>0.38998699999999997</c:v>
                </c:pt>
                <c:pt idx="46">
                  <c:v>0.485929</c:v>
                </c:pt>
                <c:pt idx="47">
                  <c:v>0.41997800000000002</c:v>
                </c:pt>
                <c:pt idx="48">
                  <c:v>0.36711500000000002</c:v>
                </c:pt>
                <c:pt idx="49">
                  <c:v>0.31157400000000002</c:v>
                </c:pt>
                <c:pt idx="50">
                  <c:v>0.328347</c:v>
                </c:pt>
                <c:pt idx="51">
                  <c:v>0.30087399999999997</c:v>
                </c:pt>
                <c:pt idx="52">
                  <c:v>0.37829099999999999</c:v>
                </c:pt>
                <c:pt idx="53">
                  <c:v>0.41723100000000002</c:v>
                </c:pt>
                <c:pt idx="54">
                  <c:v>0.33987099999999998</c:v>
                </c:pt>
                <c:pt idx="55">
                  <c:v>0.25454300000000002</c:v>
                </c:pt>
                <c:pt idx="56">
                  <c:v>0.21312900000000001</c:v>
                </c:pt>
                <c:pt idx="57">
                  <c:v>0.13483600000000001</c:v>
                </c:pt>
                <c:pt idx="58">
                  <c:v>5.9756999999999998E-2</c:v>
                </c:pt>
                <c:pt idx="59">
                  <c:v>4.5683000000000001E-2</c:v>
                </c:pt>
                <c:pt idx="60">
                  <c:v>5.7478000000000001E-2</c:v>
                </c:pt>
                <c:pt idx="61">
                  <c:v>-1.8988999999999999E-2</c:v>
                </c:pt>
                <c:pt idx="62">
                  <c:v>-9.1784000000000004E-2</c:v>
                </c:pt>
                <c:pt idx="63">
                  <c:v>-0.13091700000000001</c:v>
                </c:pt>
                <c:pt idx="64">
                  <c:v>-9.2770000000000005E-2</c:v>
                </c:pt>
                <c:pt idx="65">
                  <c:v>-8.9050000000000004E-2</c:v>
                </c:pt>
                <c:pt idx="66">
                  <c:v>-7.4339000000000002E-2</c:v>
                </c:pt>
                <c:pt idx="67">
                  <c:v>-5.9263999999999997E-2</c:v>
                </c:pt>
                <c:pt idx="68">
                  <c:v>-0.12385500000000001</c:v>
                </c:pt>
                <c:pt idx="69">
                  <c:v>-0.184451</c:v>
                </c:pt>
                <c:pt idx="70">
                  <c:v>-0.22226299999999999</c:v>
                </c:pt>
                <c:pt idx="71">
                  <c:v>-0.28662799999999999</c:v>
                </c:pt>
                <c:pt idx="72">
                  <c:v>-0.34035599999999999</c:v>
                </c:pt>
                <c:pt idx="73">
                  <c:v>-0.34116200000000002</c:v>
                </c:pt>
                <c:pt idx="74">
                  <c:v>-0.32474700000000001</c:v>
                </c:pt>
                <c:pt idx="75">
                  <c:v>-0.35150300000000001</c:v>
                </c:pt>
                <c:pt idx="76">
                  <c:v>-0.34330899999999998</c:v>
                </c:pt>
                <c:pt idx="77">
                  <c:v>-0.39977699999999999</c:v>
                </c:pt>
                <c:pt idx="78">
                  <c:v>-0.418431</c:v>
                </c:pt>
                <c:pt idx="79">
                  <c:v>-0.41601700000000003</c:v>
                </c:pt>
                <c:pt idx="80">
                  <c:v>-0.393372</c:v>
                </c:pt>
                <c:pt idx="81">
                  <c:v>-0.35105700000000001</c:v>
                </c:pt>
                <c:pt idx="82">
                  <c:v>-0.38980599999999999</c:v>
                </c:pt>
                <c:pt idx="83">
                  <c:v>-0.39338499999999998</c:v>
                </c:pt>
                <c:pt idx="84">
                  <c:v>-0.31782700000000003</c:v>
                </c:pt>
                <c:pt idx="85">
                  <c:v>-0.28327000000000002</c:v>
                </c:pt>
                <c:pt idx="86">
                  <c:v>-0.27169599999999999</c:v>
                </c:pt>
                <c:pt idx="87">
                  <c:v>-0.20682700000000001</c:v>
                </c:pt>
                <c:pt idx="88">
                  <c:v>-0.16303000000000001</c:v>
                </c:pt>
                <c:pt idx="89">
                  <c:v>-0.24442900000000001</c:v>
                </c:pt>
                <c:pt idx="90">
                  <c:v>-0.26024999999999998</c:v>
                </c:pt>
                <c:pt idx="91">
                  <c:v>-0.31084200000000001</c:v>
                </c:pt>
                <c:pt idx="92">
                  <c:v>-0.30538300000000002</c:v>
                </c:pt>
                <c:pt idx="93">
                  <c:v>-0.28250900000000001</c:v>
                </c:pt>
                <c:pt idx="94">
                  <c:v>-0.211067</c:v>
                </c:pt>
                <c:pt idx="95">
                  <c:v>-0.13184599999999999</c:v>
                </c:pt>
                <c:pt idx="96">
                  <c:v>-0.20258200000000001</c:v>
                </c:pt>
                <c:pt idx="97">
                  <c:v>-0.18734400000000001</c:v>
                </c:pt>
                <c:pt idx="98">
                  <c:v>-0.12907399999999999</c:v>
                </c:pt>
                <c:pt idx="99">
                  <c:v>-6.7790000000000003E-2</c:v>
                </c:pt>
                <c:pt idx="100">
                  <c:v>-3.0823E-2</c:v>
                </c:pt>
                <c:pt idx="101">
                  <c:v>3.2077000000000001E-2</c:v>
                </c:pt>
                <c:pt idx="102">
                  <c:v>7.6102000000000003E-2</c:v>
                </c:pt>
                <c:pt idx="103">
                  <c:v>-6.6410000000000002E-3</c:v>
                </c:pt>
                <c:pt idx="104">
                  <c:v>-1.9817000000000001E-2</c:v>
                </c:pt>
                <c:pt idx="105">
                  <c:v>-3.1071000000000001E-2</c:v>
                </c:pt>
                <c:pt idx="106">
                  <c:v>-1.8231000000000001E-2</c:v>
                </c:pt>
                <c:pt idx="107">
                  <c:v>-2.0823999999999999E-2</c:v>
                </c:pt>
                <c:pt idx="108">
                  <c:v>7.3407E-2</c:v>
                </c:pt>
                <c:pt idx="109">
                  <c:v>0.14884</c:v>
                </c:pt>
                <c:pt idx="110">
                  <c:v>4.9654999999999998E-2</c:v>
                </c:pt>
                <c:pt idx="111">
                  <c:v>5.0881999999999997E-2</c:v>
                </c:pt>
                <c:pt idx="112">
                  <c:v>8.0532000000000006E-2</c:v>
                </c:pt>
                <c:pt idx="113">
                  <c:v>0.175645</c:v>
                </c:pt>
                <c:pt idx="114">
                  <c:v>5.7181999999999997E-2</c:v>
                </c:pt>
                <c:pt idx="115">
                  <c:v>-1.6145E-2</c:v>
                </c:pt>
                <c:pt idx="116">
                  <c:v>-2.6995000000000002E-2</c:v>
                </c:pt>
                <c:pt idx="117">
                  <c:v>-0.12298099999999999</c:v>
                </c:pt>
                <c:pt idx="118">
                  <c:v>-0.13843800000000001</c:v>
                </c:pt>
                <c:pt idx="119">
                  <c:v>-0.13248399999999999</c:v>
                </c:pt>
                <c:pt idx="120">
                  <c:v>5.6150000000000002E-3</c:v>
                </c:pt>
                <c:pt idx="121">
                  <c:v>0.259048</c:v>
                </c:pt>
                <c:pt idx="122">
                  <c:v>0.401312</c:v>
                </c:pt>
                <c:pt idx="123">
                  <c:v>0.47505500000000001</c:v>
                </c:pt>
                <c:pt idx="124">
                  <c:v>0.32432100000000003</c:v>
                </c:pt>
                <c:pt idx="125">
                  <c:v>0.23130500000000001</c:v>
                </c:pt>
                <c:pt idx="126">
                  <c:v>0.16267000000000001</c:v>
                </c:pt>
                <c:pt idx="127">
                  <c:v>0.17177000000000001</c:v>
                </c:pt>
                <c:pt idx="128">
                  <c:v>0.216583</c:v>
                </c:pt>
                <c:pt idx="129">
                  <c:v>0.31462499999999999</c:v>
                </c:pt>
                <c:pt idx="130">
                  <c:v>0.30338599999999999</c:v>
                </c:pt>
                <c:pt idx="131">
                  <c:v>0.12801899999999999</c:v>
                </c:pt>
                <c:pt idx="132">
                  <c:v>3.0219999999999999E-3</c:v>
                </c:pt>
                <c:pt idx="133">
                  <c:v>-0.100415</c:v>
                </c:pt>
                <c:pt idx="134">
                  <c:v>-0.17482500000000001</c:v>
                </c:pt>
                <c:pt idx="135">
                  <c:v>-0.27637099999999998</c:v>
                </c:pt>
                <c:pt idx="136">
                  <c:v>-0.36151899999999998</c:v>
                </c:pt>
                <c:pt idx="137">
                  <c:v>-0.39313500000000001</c:v>
                </c:pt>
                <c:pt idx="138">
                  <c:v>-0.43223499999999998</c:v>
                </c:pt>
                <c:pt idx="139">
                  <c:v>-0.448764</c:v>
                </c:pt>
                <c:pt idx="140">
                  <c:v>-0.43754700000000002</c:v>
                </c:pt>
                <c:pt idx="141">
                  <c:v>-0.41081499999999999</c:v>
                </c:pt>
                <c:pt idx="142">
                  <c:v>-0.37463299999999999</c:v>
                </c:pt>
                <c:pt idx="143">
                  <c:v>-0.31114199999999997</c:v>
                </c:pt>
                <c:pt idx="144">
                  <c:v>-0.25867200000000001</c:v>
                </c:pt>
                <c:pt idx="145">
                  <c:v>-0.299313</c:v>
                </c:pt>
                <c:pt idx="146">
                  <c:v>-0.291966</c:v>
                </c:pt>
                <c:pt idx="147">
                  <c:v>-0.274196</c:v>
                </c:pt>
                <c:pt idx="148">
                  <c:v>-0.23107</c:v>
                </c:pt>
                <c:pt idx="149">
                  <c:v>-0.229102</c:v>
                </c:pt>
                <c:pt idx="150">
                  <c:v>-0.15855</c:v>
                </c:pt>
                <c:pt idx="151">
                  <c:v>-0.116831</c:v>
                </c:pt>
                <c:pt idx="152">
                  <c:v>-0.18037</c:v>
                </c:pt>
                <c:pt idx="153">
                  <c:v>-0.18989500000000001</c:v>
                </c:pt>
                <c:pt idx="154">
                  <c:v>-0.17427300000000001</c:v>
                </c:pt>
                <c:pt idx="155">
                  <c:v>-0.16175800000000001</c:v>
                </c:pt>
                <c:pt idx="156">
                  <c:v>-0.162133</c:v>
                </c:pt>
                <c:pt idx="157">
                  <c:v>-7.3455000000000006E-2</c:v>
                </c:pt>
                <c:pt idx="158">
                  <c:v>-3.0043E-2</c:v>
                </c:pt>
                <c:pt idx="159">
                  <c:v>-0.114757</c:v>
                </c:pt>
                <c:pt idx="160">
                  <c:v>-0.14285700000000001</c:v>
                </c:pt>
                <c:pt idx="161">
                  <c:v>-0.14221200000000001</c:v>
                </c:pt>
                <c:pt idx="162">
                  <c:v>-0.136432</c:v>
                </c:pt>
                <c:pt idx="163">
                  <c:v>-0.13769200000000001</c:v>
                </c:pt>
                <c:pt idx="164">
                  <c:v>-9.1671000000000002E-2</c:v>
                </c:pt>
                <c:pt idx="165">
                  <c:v>-7.3524000000000006E-2</c:v>
                </c:pt>
                <c:pt idx="166">
                  <c:v>-0.140705</c:v>
                </c:pt>
                <c:pt idx="167">
                  <c:v>-0.145313</c:v>
                </c:pt>
                <c:pt idx="168">
                  <c:v>-0.1085</c:v>
                </c:pt>
                <c:pt idx="169">
                  <c:v>-9.5933000000000004E-2</c:v>
                </c:pt>
                <c:pt idx="170">
                  <c:v>-7.3182999999999998E-2</c:v>
                </c:pt>
                <c:pt idx="171">
                  <c:v>4.5400999999999997E-2</c:v>
                </c:pt>
                <c:pt idx="172">
                  <c:v>0.111057</c:v>
                </c:pt>
                <c:pt idx="173">
                  <c:v>2.1253000000000001E-2</c:v>
                </c:pt>
                <c:pt idx="174">
                  <c:v>-1.1514999999999999E-2</c:v>
                </c:pt>
                <c:pt idx="175">
                  <c:v>2.4569000000000001E-2</c:v>
                </c:pt>
                <c:pt idx="176">
                  <c:v>4.8778000000000002E-2</c:v>
                </c:pt>
                <c:pt idx="177">
                  <c:v>5.4760999999999997E-2</c:v>
                </c:pt>
                <c:pt idx="178">
                  <c:v>0.13308500000000001</c:v>
                </c:pt>
                <c:pt idx="179">
                  <c:v>0.16067899999999999</c:v>
                </c:pt>
                <c:pt idx="180">
                  <c:v>4.326E-2</c:v>
                </c:pt>
                <c:pt idx="181">
                  <c:v>-9.5670000000000009E-3</c:v>
                </c:pt>
                <c:pt idx="182">
                  <c:v>1.2520000000000001E-3</c:v>
                </c:pt>
                <c:pt idx="183">
                  <c:v>-2.3161000000000001E-2</c:v>
                </c:pt>
                <c:pt idx="184">
                  <c:v>-5.6396000000000002E-2</c:v>
                </c:pt>
                <c:pt idx="185">
                  <c:v>-2.3156E-2</c:v>
                </c:pt>
                <c:pt idx="186">
                  <c:v>2.1804E-2</c:v>
                </c:pt>
                <c:pt idx="187">
                  <c:v>-7.6363E-2</c:v>
                </c:pt>
                <c:pt idx="188">
                  <c:v>-0.148641</c:v>
                </c:pt>
                <c:pt idx="189">
                  <c:v>-0.181477</c:v>
                </c:pt>
                <c:pt idx="190">
                  <c:v>-0.19925799999999999</c:v>
                </c:pt>
                <c:pt idx="191">
                  <c:v>-0.22219</c:v>
                </c:pt>
                <c:pt idx="192">
                  <c:v>-0.14904999999999999</c:v>
                </c:pt>
                <c:pt idx="193">
                  <c:v>-0.146734</c:v>
                </c:pt>
                <c:pt idx="194">
                  <c:v>-0.20877499999999999</c:v>
                </c:pt>
                <c:pt idx="195">
                  <c:v>-0.21043600000000001</c:v>
                </c:pt>
                <c:pt idx="196">
                  <c:v>-0.183361</c:v>
                </c:pt>
                <c:pt idx="197">
                  <c:v>-0.16748199999999999</c:v>
                </c:pt>
                <c:pt idx="198">
                  <c:v>-0.18262700000000001</c:v>
                </c:pt>
                <c:pt idx="199">
                  <c:v>-0.19040299999999999</c:v>
                </c:pt>
                <c:pt idx="200">
                  <c:v>-0.14929300000000001</c:v>
                </c:pt>
                <c:pt idx="201">
                  <c:v>-0.223749</c:v>
                </c:pt>
                <c:pt idx="202">
                  <c:v>-0.28556100000000001</c:v>
                </c:pt>
                <c:pt idx="203">
                  <c:v>-0.30788300000000002</c:v>
                </c:pt>
                <c:pt idx="204">
                  <c:v>-0.32143699999999997</c:v>
                </c:pt>
                <c:pt idx="205">
                  <c:v>-0.33485399999999998</c:v>
                </c:pt>
                <c:pt idx="206">
                  <c:v>-0.27221699999999999</c:v>
                </c:pt>
                <c:pt idx="207">
                  <c:v>-0.25312600000000002</c:v>
                </c:pt>
                <c:pt idx="208">
                  <c:v>-0.30893100000000001</c:v>
                </c:pt>
                <c:pt idx="209">
                  <c:v>-0.31721300000000002</c:v>
                </c:pt>
                <c:pt idx="210">
                  <c:v>-0.30058499999999999</c:v>
                </c:pt>
                <c:pt idx="211">
                  <c:v>-0.27784599999999998</c:v>
                </c:pt>
                <c:pt idx="212">
                  <c:v>-0.27842</c:v>
                </c:pt>
                <c:pt idx="213">
                  <c:v>-0.28543000000000002</c:v>
                </c:pt>
                <c:pt idx="214">
                  <c:v>-0.27185500000000001</c:v>
                </c:pt>
                <c:pt idx="215">
                  <c:v>-0.32835599999999998</c:v>
                </c:pt>
                <c:pt idx="216">
                  <c:v>-0.42868499999999998</c:v>
                </c:pt>
                <c:pt idx="217">
                  <c:v>-0.456708</c:v>
                </c:pt>
                <c:pt idx="218">
                  <c:v>-0.46064699999999997</c:v>
                </c:pt>
                <c:pt idx="219">
                  <c:v>-0.43450800000000001</c:v>
                </c:pt>
                <c:pt idx="220">
                  <c:v>-0.33893299999999998</c:v>
                </c:pt>
                <c:pt idx="221">
                  <c:v>-0.30725599999999997</c:v>
                </c:pt>
                <c:pt idx="222">
                  <c:v>-0.32361499999999999</c:v>
                </c:pt>
                <c:pt idx="223">
                  <c:v>-0.23946500000000001</c:v>
                </c:pt>
                <c:pt idx="224">
                  <c:v>-0.21868199999999999</c:v>
                </c:pt>
                <c:pt idx="225">
                  <c:v>-0.233959</c:v>
                </c:pt>
                <c:pt idx="226">
                  <c:v>-0.25501099999999999</c:v>
                </c:pt>
                <c:pt idx="227">
                  <c:v>-0.269015</c:v>
                </c:pt>
                <c:pt idx="228">
                  <c:v>-0.26740999999999998</c:v>
                </c:pt>
                <c:pt idx="229">
                  <c:v>-0.31889200000000001</c:v>
                </c:pt>
                <c:pt idx="230">
                  <c:v>-0.39329500000000001</c:v>
                </c:pt>
                <c:pt idx="231">
                  <c:v>-0.40534999999999999</c:v>
                </c:pt>
                <c:pt idx="232">
                  <c:v>-0.37460100000000002</c:v>
                </c:pt>
                <c:pt idx="233">
                  <c:v>-0.35065499999999999</c:v>
                </c:pt>
                <c:pt idx="234">
                  <c:v>-0.31532700000000002</c:v>
                </c:pt>
                <c:pt idx="235">
                  <c:v>-0.29684700000000003</c:v>
                </c:pt>
                <c:pt idx="236">
                  <c:v>-0.35400799999999999</c:v>
                </c:pt>
                <c:pt idx="237">
                  <c:v>-0.36525099999999999</c:v>
                </c:pt>
                <c:pt idx="238">
                  <c:v>-0.34356100000000001</c:v>
                </c:pt>
                <c:pt idx="239">
                  <c:v>-0.33174300000000001</c:v>
                </c:pt>
                <c:pt idx="240">
                  <c:v>-0.33488299999999999</c:v>
                </c:pt>
                <c:pt idx="241">
                  <c:v>-0.2581</c:v>
                </c:pt>
                <c:pt idx="242">
                  <c:v>-0.2155</c:v>
                </c:pt>
                <c:pt idx="243">
                  <c:v>-0.29245199999999999</c:v>
                </c:pt>
                <c:pt idx="244">
                  <c:v>-0.297155</c:v>
                </c:pt>
                <c:pt idx="245">
                  <c:v>-0.28253</c:v>
                </c:pt>
                <c:pt idx="246">
                  <c:v>-0.28297899999999998</c:v>
                </c:pt>
                <c:pt idx="247">
                  <c:v>-0.28676699999999999</c:v>
                </c:pt>
                <c:pt idx="248">
                  <c:v>-0.28958400000000001</c:v>
                </c:pt>
                <c:pt idx="249">
                  <c:v>-0.30434699999999998</c:v>
                </c:pt>
                <c:pt idx="250">
                  <c:v>-0.37394300000000003</c:v>
                </c:pt>
                <c:pt idx="251">
                  <c:v>-0.39533800000000002</c:v>
                </c:pt>
                <c:pt idx="252">
                  <c:v>-0.41723399999999999</c:v>
                </c:pt>
                <c:pt idx="253">
                  <c:v>-0.44552900000000001</c:v>
                </c:pt>
                <c:pt idx="254">
                  <c:v>-0.44572299999999998</c:v>
                </c:pt>
                <c:pt idx="255">
                  <c:v>-0.40260499999999999</c:v>
                </c:pt>
                <c:pt idx="256">
                  <c:v>-0.369477</c:v>
                </c:pt>
                <c:pt idx="257">
                  <c:v>-0.43464799999999998</c:v>
                </c:pt>
                <c:pt idx="258">
                  <c:v>-0.45388099999999998</c:v>
                </c:pt>
                <c:pt idx="259">
                  <c:v>-0.41428500000000001</c:v>
                </c:pt>
                <c:pt idx="260">
                  <c:v>-0.40194400000000002</c:v>
                </c:pt>
                <c:pt idx="261">
                  <c:v>-0.41032299999999999</c:v>
                </c:pt>
                <c:pt idx="262">
                  <c:v>-0.40174199999999999</c:v>
                </c:pt>
                <c:pt idx="263">
                  <c:v>-0.40267700000000001</c:v>
                </c:pt>
                <c:pt idx="264">
                  <c:v>-0.44937300000000002</c:v>
                </c:pt>
                <c:pt idx="265">
                  <c:v>-0.46209699999999998</c:v>
                </c:pt>
                <c:pt idx="266">
                  <c:v>-0.47531499999999999</c:v>
                </c:pt>
                <c:pt idx="267">
                  <c:v>-0.48853999999999997</c:v>
                </c:pt>
                <c:pt idx="268">
                  <c:v>-0.49199900000000002</c:v>
                </c:pt>
                <c:pt idx="269">
                  <c:v>-0.43846099999999999</c:v>
                </c:pt>
                <c:pt idx="270">
                  <c:v>-0.41333300000000001</c:v>
                </c:pt>
                <c:pt idx="271">
                  <c:v>-0.46081499999999997</c:v>
                </c:pt>
                <c:pt idx="272">
                  <c:v>-0.45226100000000002</c:v>
                </c:pt>
                <c:pt idx="273">
                  <c:v>-0.43798399999999998</c:v>
                </c:pt>
                <c:pt idx="274">
                  <c:v>-0.44067699999999999</c:v>
                </c:pt>
                <c:pt idx="275">
                  <c:v>-0.41043000000000002</c:v>
                </c:pt>
                <c:pt idx="276">
                  <c:v>-0.39843699999999999</c:v>
                </c:pt>
                <c:pt idx="277">
                  <c:v>-0.39285700000000001</c:v>
                </c:pt>
                <c:pt idx="278">
                  <c:v>-0.45939000000000002</c:v>
                </c:pt>
                <c:pt idx="279">
                  <c:v>-0.48238399999999998</c:v>
                </c:pt>
                <c:pt idx="280">
                  <c:v>-0.46749200000000002</c:v>
                </c:pt>
                <c:pt idx="281">
                  <c:v>-0.48051899999999997</c:v>
                </c:pt>
                <c:pt idx="282">
                  <c:v>-0.52233600000000002</c:v>
                </c:pt>
                <c:pt idx="283">
                  <c:v>-0.51249999999999996</c:v>
                </c:pt>
                <c:pt idx="284">
                  <c:v>-0.51555499999999999</c:v>
                </c:pt>
                <c:pt idx="285">
                  <c:v>-0.53112000000000004</c:v>
                </c:pt>
                <c:pt idx="286">
                  <c:v>-0.52803699999999998</c:v>
                </c:pt>
                <c:pt idx="287">
                  <c:v>-0.507772</c:v>
                </c:pt>
                <c:pt idx="288">
                  <c:v>-0.48087400000000002</c:v>
                </c:pt>
                <c:pt idx="289">
                  <c:v>-0.45270199999999999</c:v>
                </c:pt>
                <c:pt idx="290">
                  <c:v>-0.24576200000000001</c:v>
                </c:pt>
                <c:pt idx="291">
                  <c:v>-0.213675</c:v>
                </c:pt>
                <c:pt idx="292">
                  <c:v>-0.31782899999999997</c:v>
                </c:pt>
                <c:pt idx="293">
                  <c:v>-0.28813499999999997</c:v>
                </c:pt>
                <c:pt idx="294">
                  <c:v>-0.28448200000000001</c:v>
                </c:pt>
                <c:pt idx="295">
                  <c:v>-0.336538</c:v>
                </c:pt>
                <c:pt idx="296">
                  <c:v>-0.35714200000000002</c:v>
                </c:pt>
                <c:pt idx="297">
                  <c:v>-0.47311799999999998</c:v>
                </c:pt>
                <c:pt idx="298">
                  <c:v>-0.48958299999999999</c:v>
                </c:pt>
                <c:pt idx="299">
                  <c:v>-0.54999900000000002</c:v>
                </c:pt>
                <c:pt idx="300">
                  <c:v>-0.57999900000000004</c:v>
                </c:pt>
                <c:pt idx="301">
                  <c:v>-0.64444400000000002</c:v>
                </c:pt>
                <c:pt idx="302">
                  <c:v>-0.61111099999999996</c:v>
                </c:pt>
                <c:pt idx="303">
                  <c:v>-0.53030299999999997</c:v>
                </c:pt>
                <c:pt idx="304">
                  <c:v>-0.39622600000000002</c:v>
                </c:pt>
                <c:pt idx="305">
                  <c:v>-0.32652999999999999</c:v>
                </c:pt>
                <c:pt idx="306">
                  <c:v>-0.277777</c:v>
                </c:pt>
                <c:pt idx="307">
                  <c:v>-0.35416599999999998</c:v>
                </c:pt>
                <c:pt idx="308">
                  <c:v>-0.28571400000000002</c:v>
                </c:pt>
                <c:pt idx="309">
                  <c:v>0</c:v>
                </c:pt>
                <c:pt idx="310">
                  <c:v>2.8570999999999999E-2</c:v>
                </c:pt>
                <c:pt idx="311">
                  <c:v>5.4053999999999998E-2</c:v>
                </c:pt>
                <c:pt idx="312">
                  <c:v>-2.5641000000000001E-2</c:v>
                </c:pt>
                <c:pt idx="313">
                  <c:v>-0.124999</c:v>
                </c:pt>
                <c:pt idx="314">
                  <c:v>0.80645100000000003</c:v>
                </c:pt>
                <c:pt idx="315">
                  <c:v>0.83783700000000005</c:v>
                </c:pt>
                <c:pt idx="316">
                  <c:v>0.61904700000000001</c:v>
                </c:pt>
                <c:pt idx="317">
                  <c:v>0.534883</c:v>
                </c:pt>
                <c:pt idx="318">
                  <c:v>0.60465100000000005</c:v>
                </c:pt>
                <c:pt idx="319">
                  <c:v>0.78048700000000004</c:v>
                </c:pt>
                <c:pt idx="320">
                  <c:v>0.29824499999999998</c:v>
                </c:pt>
                <c:pt idx="321">
                  <c:v>-0.117647</c:v>
                </c:pt>
                <c:pt idx="322">
                  <c:v>-0.3</c:v>
                </c:pt>
                <c:pt idx="323">
                  <c:v>-0.27027000000000001</c:v>
                </c:pt>
                <c:pt idx="324">
                  <c:v>-0.28947299999999998</c:v>
                </c:pt>
                <c:pt idx="325">
                  <c:v>-0.29870099999999999</c:v>
                </c:pt>
                <c:pt idx="326">
                  <c:v>-0.33766200000000002</c:v>
                </c:pt>
                <c:pt idx="327">
                  <c:v>-0.414634</c:v>
                </c:pt>
                <c:pt idx="328">
                  <c:v>-0.17646999999999999</c:v>
                </c:pt>
                <c:pt idx="329">
                  <c:v>-0.15151500000000001</c:v>
                </c:pt>
                <c:pt idx="330">
                  <c:v>-0.11666600000000001</c:v>
                </c:pt>
                <c:pt idx="331">
                  <c:v>-6.2498999999999999E-2</c:v>
                </c:pt>
                <c:pt idx="332">
                  <c:v>-6.7795999999999995E-2</c:v>
                </c:pt>
                <c:pt idx="333">
                  <c:v>1.9230000000000001E-2</c:v>
                </c:pt>
                <c:pt idx="334">
                  <c:v>-0.140625</c:v>
                </c:pt>
                <c:pt idx="335">
                  <c:v>-0.203125</c:v>
                </c:pt>
                <c:pt idx="336">
                  <c:v>-0.17460300000000001</c:v>
                </c:pt>
                <c:pt idx="337">
                  <c:v>-0.19696900000000001</c:v>
                </c:pt>
                <c:pt idx="338">
                  <c:v>-0.29230699999999998</c:v>
                </c:pt>
                <c:pt idx="339">
                  <c:v>-8.6206000000000005E-2</c:v>
                </c:pt>
                <c:pt idx="340">
                  <c:v>-5.3571000000000001E-2</c:v>
                </c:pt>
                <c:pt idx="341">
                  <c:v>-0.208955</c:v>
                </c:pt>
                <c:pt idx="342">
                  <c:v>-0.11666600000000001</c:v>
                </c:pt>
                <c:pt idx="343">
                  <c:v>-0.13333300000000001</c:v>
                </c:pt>
                <c:pt idx="344">
                  <c:v>-3.3897999999999998E-2</c:v>
                </c:pt>
                <c:pt idx="345">
                  <c:v>0</c:v>
                </c:pt>
                <c:pt idx="346">
                  <c:v>0</c:v>
                </c:pt>
                <c:pt idx="347">
                  <c:v>1.7857000000000001E-2</c:v>
                </c:pt>
                <c:pt idx="348">
                  <c:v>-9.2307E-2</c:v>
                </c:pt>
                <c:pt idx="349">
                  <c:v>-3.2786000000000003E-2</c:v>
                </c:pt>
                <c:pt idx="350">
                  <c:v>4.6153E-2</c:v>
                </c:pt>
                <c:pt idx="351">
                  <c:v>6.2498999999999999E-2</c:v>
                </c:pt>
                <c:pt idx="352">
                  <c:v>-5.8823E-2</c:v>
                </c:pt>
                <c:pt idx="353">
                  <c:v>0.05</c:v>
                </c:pt>
                <c:pt idx="354">
                  <c:v>8.0644999999999994E-2</c:v>
                </c:pt>
                <c:pt idx="355">
                  <c:v>-5.6337999999999999E-2</c:v>
                </c:pt>
                <c:pt idx="356">
                  <c:v>-0.131578</c:v>
                </c:pt>
                <c:pt idx="357">
                  <c:v>-0.160493</c:v>
                </c:pt>
                <c:pt idx="358">
                  <c:v>4.2252999999999999E-2</c:v>
                </c:pt>
                <c:pt idx="359">
                  <c:v>0.10958900000000001</c:v>
                </c:pt>
                <c:pt idx="360">
                  <c:v>0.15492900000000001</c:v>
                </c:pt>
                <c:pt idx="361">
                  <c:v>0.125</c:v>
                </c:pt>
                <c:pt idx="362">
                  <c:v>1.282E-2</c:v>
                </c:pt>
                <c:pt idx="363">
                  <c:v>-5.8823E-2</c:v>
                </c:pt>
                <c:pt idx="364">
                  <c:v>-0.12643599999999999</c:v>
                </c:pt>
                <c:pt idx="365">
                  <c:v>-1.1904E-2</c:v>
                </c:pt>
                <c:pt idx="366">
                  <c:v>-1.0989000000000001E-2</c:v>
                </c:pt>
                <c:pt idx="367">
                  <c:v>0.24719099999999999</c:v>
                </c:pt>
                <c:pt idx="368">
                  <c:v>0.40476099999999998</c:v>
                </c:pt>
                <c:pt idx="369">
                  <c:v>0.37362600000000001</c:v>
                </c:pt>
                <c:pt idx="370">
                  <c:v>0.47368399999999999</c:v>
                </c:pt>
                <c:pt idx="371">
                  <c:v>0.57843100000000003</c:v>
                </c:pt>
                <c:pt idx="372">
                  <c:v>0.6</c:v>
                </c:pt>
                <c:pt idx="373">
                  <c:v>0.37190000000000001</c:v>
                </c:pt>
                <c:pt idx="374">
                  <c:v>0.36</c:v>
                </c:pt>
                <c:pt idx="375">
                  <c:v>0.31249900000000003</c:v>
                </c:pt>
                <c:pt idx="376">
                  <c:v>8.5526000000000005E-2</c:v>
                </c:pt>
                <c:pt idx="377">
                  <c:v>2.2727000000000001E-2</c:v>
                </c:pt>
                <c:pt idx="378">
                  <c:v>4.301E-2</c:v>
                </c:pt>
                <c:pt idx="379">
                  <c:v>8.7430999999999995E-2</c:v>
                </c:pt>
                <c:pt idx="380">
                  <c:v>4.4776000000000003E-2</c:v>
                </c:pt>
                <c:pt idx="381">
                  <c:v>0.230769</c:v>
                </c:pt>
                <c:pt idx="382">
                  <c:v>0.29714200000000002</c:v>
                </c:pt>
                <c:pt idx="383">
                  <c:v>0.149758</c:v>
                </c:pt>
                <c:pt idx="384">
                  <c:v>1.7391E-2</c:v>
                </c:pt>
                <c:pt idx="385">
                  <c:v>1.7857000000000001E-2</c:v>
                </c:pt>
                <c:pt idx="386">
                  <c:v>2.5751E-2</c:v>
                </c:pt>
                <c:pt idx="387">
                  <c:v>-0.111969</c:v>
                </c:pt>
                <c:pt idx="388">
                  <c:v>-7.1128999999999998E-2</c:v>
                </c:pt>
                <c:pt idx="389">
                  <c:v>-3.2653000000000001E-2</c:v>
                </c:pt>
                <c:pt idx="390">
                  <c:v>-0.137681</c:v>
                </c:pt>
                <c:pt idx="391">
                  <c:v>-7.5538999999999995E-2</c:v>
                </c:pt>
                <c:pt idx="392">
                  <c:v>-0.107806</c:v>
                </c:pt>
                <c:pt idx="393">
                  <c:v>-4.9242000000000001E-2</c:v>
                </c:pt>
                <c:pt idx="394">
                  <c:v>0.103321</c:v>
                </c:pt>
                <c:pt idx="395">
                  <c:v>0.35714200000000002</c:v>
                </c:pt>
                <c:pt idx="396">
                  <c:v>0.41406199999999999</c:v>
                </c:pt>
                <c:pt idx="397">
                  <c:v>0.26440599999999997</c:v>
                </c:pt>
                <c:pt idx="398">
                  <c:v>0.35915399999999997</c:v>
                </c:pt>
                <c:pt idx="399">
                  <c:v>0.60958900000000005</c:v>
                </c:pt>
                <c:pt idx="400">
                  <c:v>0.645061</c:v>
                </c:pt>
                <c:pt idx="401">
                  <c:v>0.45952999999999999</c:v>
                </c:pt>
                <c:pt idx="402">
                  <c:v>0.47193800000000002</c:v>
                </c:pt>
                <c:pt idx="403">
                  <c:v>0.436224</c:v>
                </c:pt>
                <c:pt idx="404">
                  <c:v>0.25959300000000002</c:v>
                </c:pt>
                <c:pt idx="405">
                  <c:v>0.201207</c:v>
                </c:pt>
                <c:pt idx="406">
                  <c:v>2.7349999999999999E-2</c:v>
                </c:pt>
                <c:pt idx="407">
                  <c:v>-2.2151000000000001E-2</c:v>
                </c:pt>
                <c:pt idx="408">
                  <c:v>-3.7821E-2</c:v>
                </c:pt>
                <c:pt idx="409">
                  <c:v>0.17291999999999999</c:v>
                </c:pt>
                <c:pt idx="410">
                  <c:v>0.323129</c:v>
                </c:pt>
                <c:pt idx="411">
                  <c:v>0.214392</c:v>
                </c:pt>
                <c:pt idx="412">
                  <c:v>0.31039299999999997</c:v>
                </c:pt>
                <c:pt idx="413">
                  <c:v>0.52114499999999997</c:v>
                </c:pt>
                <c:pt idx="414">
                  <c:v>0.72108799999999995</c:v>
                </c:pt>
                <c:pt idx="415">
                  <c:v>0.75395800000000002</c:v>
                </c:pt>
                <c:pt idx="416">
                  <c:v>1.011056</c:v>
                </c:pt>
                <c:pt idx="417">
                  <c:v>1.100598</c:v>
                </c:pt>
                <c:pt idx="418">
                  <c:v>0.77639100000000005</c:v>
                </c:pt>
                <c:pt idx="419">
                  <c:v>0.66503999999999996</c:v>
                </c:pt>
                <c:pt idx="420">
                  <c:v>0.66499600000000003</c:v>
                </c:pt>
                <c:pt idx="421">
                  <c:v>0.63455300000000003</c:v>
                </c:pt>
                <c:pt idx="422">
                  <c:v>0.40285399999999999</c:v>
                </c:pt>
                <c:pt idx="423">
                  <c:v>0.51324999999999998</c:v>
                </c:pt>
                <c:pt idx="424">
                  <c:v>0.56918199999999997</c:v>
                </c:pt>
                <c:pt idx="425">
                  <c:v>0.37149100000000002</c:v>
                </c:pt>
                <c:pt idx="426">
                  <c:v>0.35989300000000002</c:v>
                </c:pt>
                <c:pt idx="427">
                  <c:v>0.380969</c:v>
                </c:pt>
                <c:pt idx="428">
                  <c:v>0.54915700000000001</c:v>
                </c:pt>
                <c:pt idx="429">
                  <c:v>0.60188600000000003</c:v>
                </c:pt>
                <c:pt idx="430">
                  <c:v>0.718028</c:v>
                </c:pt>
                <c:pt idx="431">
                  <c:v>0.72508300000000003</c:v>
                </c:pt>
                <c:pt idx="432">
                  <c:v>0.425425</c:v>
                </c:pt>
                <c:pt idx="433">
                  <c:v>0.31748100000000001</c:v>
                </c:pt>
                <c:pt idx="434">
                  <c:v>0.29004600000000003</c:v>
                </c:pt>
                <c:pt idx="435">
                  <c:v>0.22234499999999999</c:v>
                </c:pt>
                <c:pt idx="436">
                  <c:v>9.3606999999999996E-2</c:v>
                </c:pt>
                <c:pt idx="437">
                  <c:v>0.17336799999999999</c:v>
                </c:pt>
                <c:pt idx="438">
                  <c:v>0.22497</c:v>
                </c:pt>
                <c:pt idx="439">
                  <c:v>0.106646</c:v>
                </c:pt>
                <c:pt idx="440">
                  <c:v>7.2551000000000004E-2</c:v>
                </c:pt>
                <c:pt idx="441">
                  <c:v>8.4406999999999996E-2</c:v>
                </c:pt>
                <c:pt idx="442">
                  <c:v>4.6026999999999998E-2</c:v>
                </c:pt>
                <c:pt idx="443">
                  <c:v>1.5812E-2</c:v>
                </c:pt>
                <c:pt idx="444">
                  <c:v>0.146152</c:v>
                </c:pt>
                <c:pt idx="445">
                  <c:v>0.20754900000000001</c:v>
                </c:pt>
                <c:pt idx="446">
                  <c:v>8.3502000000000007E-2</c:v>
                </c:pt>
                <c:pt idx="447">
                  <c:v>1.6983999999999999E-2</c:v>
                </c:pt>
                <c:pt idx="448">
                  <c:v>6.8934999999999996E-2</c:v>
                </c:pt>
                <c:pt idx="449">
                  <c:v>0.12045599999999999</c:v>
                </c:pt>
                <c:pt idx="450">
                  <c:v>0.109205</c:v>
                </c:pt>
                <c:pt idx="451">
                  <c:v>0.115324</c:v>
                </c:pt>
                <c:pt idx="452">
                  <c:v>0.12942899999999999</c:v>
                </c:pt>
                <c:pt idx="453">
                  <c:v>4.2092999999999998E-2</c:v>
                </c:pt>
                <c:pt idx="454">
                  <c:v>-1.273E-3</c:v>
                </c:pt>
                <c:pt idx="455">
                  <c:v>2.9369999999999999E-3</c:v>
                </c:pt>
                <c:pt idx="456">
                  <c:v>-8.2151000000000002E-2</c:v>
                </c:pt>
                <c:pt idx="457">
                  <c:v>-0.16703399999999999</c:v>
                </c:pt>
                <c:pt idx="458">
                  <c:v>-0.106114</c:v>
                </c:pt>
                <c:pt idx="459">
                  <c:v>-9.2850000000000002E-2</c:v>
                </c:pt>
                <c:pt idx="460">
                  <c:v>-0.189917</c:v>
                </c:pt>
                <c:pt idx="461">
                  <c:v>-0.220974</c:v>
                </c:pt>
                <c:pt idx="462">
                  <c:v>-0.22703400000000001</c:v>
                </c:pt>
                <c:pt idx="463">
                  <c:v>-0.27174399999999999</c:v>
                </c:pt>
                <c:pt idx="464">
                  <c:v>-0.263181</c:v>
                </c:pt>
                <c:pt idx="465">
                  <c:v>-0.24834600000000001</c:v>
                </c:pt>
                <c:pt idx="466">
                  <c:v>-0.23003999999999999</c:v>
                </c:pt>
                <c:pt idx="467">
                  <c:v>-0.28395100000000001</c:v>
                </c:pt>
                <c:pt idx="468">
                  <c:v>-0.31418299999999999</c:v>
                </c:pt>
                <c:pt idx="469">
                  <c:v>-0.31496600000000002</c:v>
                </c:pt>
                <c:pt idx="470">
                  <c:v>-0.32541199999999998</c:v>
                </c:pt>
                <c:pt idx="471">
                  <c:v>-0.34003</c:v>
                </c:pt>
                <c:pt idx="472">
                  <c:v>-0.31402200000000002</c:v>
                </c:pt>
                <c:pt idx="473">
                  <c:v>-0.29572900000000002</c:v>
                </c:pt>
                <c:pt idx="474">
                  <c:v>-0.35292299999999999</c:v>
                </c:pt>
                <c:pt idx="475">
                  <c:v>-0.381438</c:v>
                </c:pt>
                <c:pt idx="476">
                  <c:v>-0.38751600000000003</c:v>
                </c:pt>
                <c:pt idx="477">
                  <c:v>-0.38817099999999999</c:v>
                </c:pt>
                <c:pt idx="478">
                  <c:v>-0.38645499999999999</c:v>
                </c:pt>
                <c:pt idx="479">
                  <c:v>-0.41795900000000002</c:v>
                </c:pt>
                <c:pt idx="480">
                  <c:v>-0.431147</c:v>
                </c:pt>
                <c:pt idx="481">
                  <c:v>-0.479682</c:v>
                </c:pt>
                <c:pt idx="482">
                  <c:v>-0.48832300000000001</c:v>
                </c:pt>
                <c:pt idx="483">
                  <c:v>-0.47628500000000001</c:v>
                </c:pt>
                <c:pt idx="484">
                  <c:v>-0.46237800000000001</c:v>
                </c:pt>
                <c:pt idx="485">
                  <c:v>-0.378498</c:v>
                </c:pt>
                <c:pt idx="486">
                  <c:v>-0.189225</c:v>
                </c:pt>
                <c:pt idx="487">
                  <c:v>-0.128048</c:v>
                </c:pt>
                <c:pt idx="488">
                  <c:v>-0.20382700000000001</c:v>
                </c:pt>
                <c:pt idx="489">
                  <c:v>-0.16719200000000001</c:v>
                </c:pt>
                <c:pt idx="490">
                  <c:v>-6.9617999999999999E-2</c:v>
                </c:pt>
                <c:pt idx="491">
                  <c:v>-3.2841000000000002E-2</c:v>
                </c:pt>
                <c:pt idx="492">
                  <c:v>-1.7937999999999999E-2</c:v>
                </c:pt>
                <c:pt idx="493">
                  <c:v>-1.2382000000000001E-2</c:v>
                </c:pt>
                <c:pt idx="494">
                  <c:v>1.2744999999999999E-2</c:v>
                </c:pt>
                <c:pt idx="495">
                  <c:v>-0.13334799999999999</c:v>
                </c:pt>
                <c:pt idx="496">
                  <c:v>-0.25542599999999999</c:v>
                </c:pt>
                <c:pt idx="497">
                  <c:v>-0.29729100000000003</c:v>
                </c:pt>
                <c:pt idx="498">
                  <c:v>-0.30181999999999998</c:v>
                </c:pt>
                <c:pt idx="499">
                  <c:v>-0.30616599999999999</c:v>
                </c:pt>
                <c:pt idx="500">
                  <c:v>-0.26019700000000001</c:v>
                </c:pt>
                <c:pt idx="501">
                  <c:v>-0.24718200000000001</c:v>
                </c:pt>
                <c:pt idx="502">
                  <c:v>-0.27229399999999998</c:v>
                </c:pt>
                <c:pt idx="503">
                  <c:v>-0.14321800000000001</c:v>
                </c:pt>
                <c:pt idx="504">
                  <c:v>6.0798999999999999E-2</c:v>
                </c:pt>
                <c:pt idx="505">
                  <c:v>0.259936</c:v>
                </c:pt>
                <c:pt idx="506">
                  <c:v>0.47118700000000002</c:v>
                </c:pt>
                <c:pt idx="507">
                  <c:v>0.75273999999999996</c:v>
                </c:pt>
                <c:pt idx="508">
                  <c:v>0.91386199999999995</c:v>
                </c:pt>
                <c:pt idx="509">
                  <c:v>0.71786700000000003</c:v>
                </c:pt>
                <c:pt idx="510">
                  <c:v>0.63445200000000002</c:v>
                </c:pt>
                <c:pt idx="511">
                  <c:v>0.62021400000000004</c:v>
                </c:pt>
                <c:pt idx="512">
                  <c:v>0.67301699999999998</c:v>
                </c:pt>
                <c:pt idx="513">
                  <c:v>0.56813400000000003</c:v>
                </c:pt>
                <c:pt idx="514">
                  <c:v>0.71613499999999997</c:v>
                </c:pt>
                <c:pt idx="515">
                  <c:v>0.69994000000000001</c:v>
                </c:pt>
                <c:pt idx="516">
                  <c:v>0.54484299999999997</c:v>
                </c:pt>
                <c:pt idx="517">
                  <c:v>0.43071500000000001</c:v>
                </c:pt>
                <c:pt idx="518">
                  <c:v>0.36024099999999998</c:v>
                </c:pt>
                <c:pt idx="519">
                  <c:v>0.29582900000000001</c:v>
                </c:pt>
                <c:pt idx="520">
                  <c:v>0.20932999999999999</c:v>
                </c:pt>
                <c:pt idx="521">
                  <c:v>0.20280400000000001</c:v>
                </c:pt>
                <c:pt idx="522">
                  <c:v>0.22215199999999999</c:v>
                </c:pt>
                <c:pt idx="523">
                  <c:v>7.2581999999999994E-2</c:v>
                </c:pt>
                <c:pt idx="524">
                  <c:v>-6.3210000000000002E-3</c:v>
                </c:pt>
                <c:pt idx="525">
                  <c:v>-8.5136000000000003E-2</c:v>
                </c:pt>
                <c:pt idx="526">
                  <c:v>-0.107782</c:v>
                </c:pt>
                <c:pt idx="527">
                  <c:v>-0.15105499999999999</c:v>
                </c:pt>
                <c:pt idx="528">
                  <c:v>-0.107237</c:v>
                </c:pt>
                <c:pt idx="529">
                  <c:v>-0.13739000000000001</c:v>
                </c:pt>
                <c:pt idx="530">
                  <c:v>-0.19539999999999999</c:v>
                </c:pt>
                <c:pt idx="531">
                  <c:v>-0.24676500000000001</c:v>
                </c:pt>
                <c:pt idx="532">
                  <c:v>-0.23858399999999999</c:v>
                </c:pt>
                <c:pt idx="533">
                  <c:v>-0.25296000000000002</c:v>
                </c:pt>
                <c:pt idx="534">
                  <c:v>-0.261741</c:v>
                </c:pt>
                <c:pt idx="535">
                  <c:v>-0.24771699999999999</c:v>
                </c:pt>
                <c:pt idx="536">
                  <c:v>-0.205399</c:v>
                </c:pt>
                <c:pt idx="537">
                  <c:v>-0.28188999999999997</c:v>
                </c:pt>
                <c:pt idx="538">
                  <c:v>-0.30734600000000001</c:v>
                </c:pt>
                <c:pt idx="539">
                  <c:v>-0.32786999999999999</c:v>
                </c:pt>
                <c:pt idx="540">
                  <c:v>-0.334005</c:v>
                </c:pt>
                <c:pt idx="541">
                  <c:v>-0.34035500000000002</c:v>
                </c:pt>
                <c:pt idx="542">
                  <c:v>-0.29619499999999999</c:v>
                </c:pt>
                <c:pt idx="543">
                  <c:v>-0.33802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Z_indik_testu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45</c:f>
              <c:numCache>
                <c:formatCode>m/d/yyyy</c:formatCode>
                <c:ptCount val="54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</c:numCache>
            </c:numRef>
          </c:cat>
          <c:val>
            <c:numRef>
              <c:f>Sheet1!$B$2:$B$545</c:f>
              <c:numCache>
                <c:formatCode>General</c:formatCode>
                <c:ptCount val="544"/>
                <c:pt idx="0">
                  <c:v>1.5022802468E-2</c:v>
                </c:pt>
                <c:pt idx="1">
                  <c:v>2.5889164597999999E-2</c:v>
                </c:pt>
                <c:pt idx="2">
                  <c:v>3.7424978019000001E-2</c:v>
                </c:pt>
                <c:pt idx="3">
                  <c:v>4.9611454885000003E-2</c:v>
                </c:pt>
                <c:pt idx="4">
                  <c:v>5.6178999342999997E-2</c:v>
                </c:pt>
                <c:pt idx="5">
                  <c:v>6.0824638506999998E-2</c:v>
                </c:pt>
                <c:pt idx="6">
                  <c:v>6.5567460061999996E-2</c:v>
                </c:pt>
                <c:pt idx="7">
                  <c:v>7.2201330632999994E-2</c:v>
                </c:pt>
                <c:pt idx="8">
                  <c:v>7.5971068845000003E-2</c:v>
                </c:pt>
                <c:pt idx="9">
                  <c:v>8.1471844468999993E-2</c:v>
                </c:pt>
                <c:pt idx="10">
                  <c:v>8.1204181668000003E-2</c:v>
                </c:pt>
                <c:pt idx="11">
                  <c:v>9.0824452279999995E-2</c:v>
                </c:pt>
                <c:pt idx="12">
                  <c:v>9.3122302158000006E-2</c:v>
                </c:pt>
                <c:pt idx="13">
                  <c:v>9.1892857142000003E-2</c:v>
                </c:pt>
                <c:pt idx="14">
                  <c:v>9.2083326315999997E-2</c:v>
                </c:pt>
                <c:pt idx="15">
                  <c:v>9.7263013184999997E-2</c:v>
                </c:pt>
                <c:pt idx="16">
                  <c:v>0.10959713079900001</c:v>
                </c:pt>
                <c:pt idx="17">
                  <c:v>0.116234484109</c:v>
                </c:pt>
                <c:pt idx="18">
                  <c:v>0.116295675816</c:v>
                </c:pt>
                <c:pt idx="19">
                  <c:v>0.114272797383</c:v>
                </c:pt>
                <c:pt idx="20">
                  <c:v>0.116024940541</c:v>
                </c:pt>
                <c:pt idx="21">
                  <c:v>0.121289196434</c:v>
                </c:pt>
                <c:pt idx="22">
                  <c:v>0.12199343913000001</c:v>
                </c:pt>
                <c:pt idx="23">
                  <c:v>0.11929929451100001</c:v>
                </c:pt>
                <c:pt idx="24">
                  <c:v>0.12441157467199999</c:v>
                </c:pt>
                <c:pt idx="25">
                  <c:v>0.12620905192000001</c:v>
                </c:pt>
                <c:pt idx="26">
                  <c:v>0.128987877079</c:v>
                </c:pt>
                <c:pt idx="27">
                  <c:v>0.13354784916500001</c:v>
                </c:pt>
                <c:pt idx="28">
                  <c:v>0.135131237381</c:v>
                </c:pt>
                <c:pt idx="29">
                  <c:v>0.142042858173</c:v>
                </c:pt>
                <c:pt idx="30">
                  <c:v>0.15018301958499999</c:v>
                </c:pt>
                <c:pt idx="31">
                  <c:v>0.15899735024100001</c:v>
                </c:pt>
                <c:pt idx="32">
                  <c:v>0.16599080193400001</c:v>
                </c:pt>
                <c:pt idx="33">
                  <c:v>0.17394656322999999</c:v>
                </c:pt>
                <c:pt idx="34">
                  <c:v>0.184498707268</c:v>
                </c:pt>
                <c:pt idx="35">
                  <c:v>0.197603419325</c:v>
                </c:pt>
                <c:pt idx="36">
                  <c:v>0.21360126916899999</c:v>
                </c:pt>
                <c:pt idx="37">
                  <c:v>0.226835369461</c:v>
                </c:pt>
                <c:pt idx="38">
                  <c:v>0.25859546816000001</c:v>
                </c:pt>
                <c:pt idx="39">
                  <c:v>0.26993359507499998</c:v>
                </c:pt>
                <c:pt idx="40">
                  <c:v>0.27335705454300002</c:v>
                </c:pt>
                <c:pt idx="41">
                  <c:v>0.27455574178800002</c:v>
                </c:pt>
                <c:pt idx="42">
                  <c:v>0.28687796338799998</c:v>
                </c:pt>
                <c:pt idx="43">
                  <c:v>0.297439264609</c:v>
                </c:pt>
                <c:pt idx="44">
                  <c:v>0.30682399243800001</c:v>
                </c:pt>
                <c:pt idx="45">
                  <c:v>0.30353349926599998</c:v>
                </c:pt>
                <c:pt idx="46">
                  <c:v>0.30776584339899998</c:v>
                </c:pt>
                <c:pt idx="47">
                  <c:v>0.30986259421000001</c:v>
                </c:pt>
                <c:pt idx="48">
                  <c:v>0.31625061890099998</c:v>
                </c:pt>
                <c:pt idx="49">
                  <c:v>0.32074645068800001</c:v>
                </c:pt>
                <c:pt idx="50">
                  <c:v>0.330599974199</c:v>
                </c:pt>
                <c:pt idx="51">
                  <c:v>0.33566075033999998</c:v>
                </c:pt>
                <c:pt idx="52">
                  <c:v>0.34231819612300002</c:v>
                </c:pt>
                <c:pt idx="53">
                  <c:v>0.34426506675899998</c:v>
                </c:pt>
                <c:pt idx="54">
                  <c:v>0.347320209376</c:v>
                </c:pt>
                <c:pt idx="55">
                  <c:v>0.34860594623500002</c:v>
                </c:pt>
                <c:pt idx="56">
                  <c:v>0.35198753201999999</c:v>
                </c:pt>
                <c:pt idx="57">
                  <c:v>0.34937505083600001</c:v>
                </c:pt>
                <c:pt idx="58">
                  <c:v>0.34678965949200002</c:v>
                </c:pt>
                <c:pt idx="59">
                  <c:v>0.33811054940899998</c:v>
                </c:pt>
                <c:pt idx="60">
                  <c:v>0.33744867244900001</c:v>
                </c:pt>
                <c:pt idx="61">
                  <c:v>0.335770598167</c:v>
                </c:pt>
                <c:pt idx="62">
                  <c:v>0.33564429099600002</c:v>
                </c:pt>
                <c:pt idx="63">
                  <c:v>0.32873132927999998</c:v>
                </c:pt>
                <c:pt idx="64">
                  <c:v>0.33275445902099998</c:v>
                </c:pt>
                <c:pt idx="65">
                  <c:v>0.33405857971000003</c:v>
                </c:pt>
                <c:pt idx="66">
                  <c:v>0.33486701776200001</c:v>
                </c:pt>
                <c:pt idx="67">
                  <c:v>0.33298112836600002</c:v>
                </c:pt>
                <c:pt idx="68">
                  <c:v>0.329257500594</c:v>
                </c:pt>
                <c:pt idx="69">
                  <c:v>0.31769593475199998</c:v>
                </c:pt>
                <c:pt idx="70">
                  <c:v>0.31142966141099998</c:v>
                </c:pt>
                <c:pt idx="71">
                  <c:v>0.29516942647200001</c:v>
                </c:pt>
                <c:pt idx="72">
                  <c:v>0.28418543816300001</c:v>
                </c:pt>
                <c:pt idx="73">
                  <c:v>0.27401845540699998</c:v>
                </c:pt>
                <c:pt idx="74">
                  <c:v>0.26833413499999997</c:v>
                </c:pt>
                <c:pt idx="75">
                  <c:v>0.26620955050900003</c:v>
                </c:pt>
                <c:pt idx="76">
                  <c:v>0.26401006262299997</c:v>
                </c:pt>
                <c:pt idx="77">
                  <c:v>0.26397108651399998</c:v>
                </c:pt>
                <c:pt idx="78">
                  <c:v>0.25492894635699997</c:v>
                </c:pt>
                <c:pt idx="79">
                  <c:v>0.25185343833399998</c:v>
                </c:pt>
                <c:pt idx="80">
                  <c:v>0.25025484636400003</c:v>
                </c:pt>
                <c:pt idx="81">
                  <c:v>0.245281381524</c:v>
                </c:pt>
                <c:pt idx="82">
                  <c:v>0.24445671416799999</c:v>
                </c:pt>
                <c:pt idx="83">
                  <c:v>0.23921450897900001</c:v>
                </c:pt>
                <c:pt idx="84">
                  <c:v>0.237663173915</c:v>
                </c:pt>
                <c:pt idx="85">
                  <c:v>0.23750904524700001</c:v>
                </c:pt>
                <c:pt idx="86">
                  <c:v>0.229851307438</c:v>
                </c:pt>
                <c:pt idx="87">
                  <c:v>0.224018093556</c:v>
                </c:pt>
                <c:pt idx="88">
                  <c:v>0.223496587302</c:v>
                </c:pt>
                <c:pt idx="89">
                  <c:v>0.22200817775699999</c:v>
                </c:pt>
                <c:pt idx="90">
                  <c:v>0.21655200053400001</c:v>
                </c:pt>
                <c:pt idx="91">
                  <c:v>0.21424358168499999</c:v>
                </c:pt>
                <c:pt idx="92">
                  <c:v>0.211368441283</c:v>
                </c:pt>
                <c:pt idx="93">
                  <c:v>0.214542488309</c:v>
                </c:pt>
                <c:pt idx="94">
                  <c:v>0.217546119171</c:v>
                </c:pt>
                <c:pt idx="95">
                  <c:v>0.22205699657399999</c:v>
                </c:pt>
                <c:pt idx="96">
                  <c:v>0.220832319754</c:v>
                </c:pt>
                <c:pt idx="97">
                  <c:v>0.22373462020099999</c:v>
                </c:pt>
                <c:pt idx="98">
                  <c:v>0.223378273199</c:v>
                </c:pt>
                <c:pt idx="99">
                  <c:v>0.231902810101</c:v>
                </c:pt>
                <c:pt idx="100">
                  <c:v>0.23313554158999999</c:v>
                </c:pt>
                <c:pt idx="101">
                  <c:v>0.23258834523899999</c:v>
                </c:pt>
                <c:pt idx="102">
                  <c:v>0.23070596086</c:v>
                </c:pt>
                <c:pt idx="103">
                  <c:v>0.234097842917</c:v>
                </c:pt>
                <c:pt idx="104">
                  <c:v>0.23504215801</c:v>
                </c:pt>
                <c:pt idx="105">
                  <c:v>0.23844501470500001</c:v>
                </c:pt>
                <c:pt idx="106">
                  <c:v>0.23740789826</c:v>
                </c:pt>
                <c:pt idx="107">
                  <c:v>0.23663172035899999</c:v>
                </c:pt>
                <c:pt idx="108">
                  <c:v>0.23985160560400001</c:v>
                </c:pt>
                <c:pt idx="109">
                  <c:v>0.23731436963300001</c:v>
                </c:pt>
                <c:pt idx="110">
                  <c:v>0.23778233104900001</c:v>
                </c:pt>
                <c:pt idx="111">
                  <c:v>0.23881821676699999</c:v>
                </c:pt>
                <c:pt idx="112">
                  <c:v>0.23737538458099999</c:v>
                </c:pt>
                <c:pt idx="113">
                  <c:v>0.24374037760299999</c:v>
                </c:pt>
                <c:pt idx="114">
                  <c:v>0.24885000250299999</c:v>
                </c:pt>
                <c:pt idx="115">
                  <c:v>0.250762122054</c:v>
                </c:pt>
                <c:pt idx="116">
                  <c:v>0.25401828353099998</c:v>
                </c:pt>
                <c:pt idx="117">
                  <c:v>0.25395024659299997</c:v>
                </c:pt>
                <c:pt idx="118">
                  <c:v>0.27128733054699999</c:v>
                </c:pt>
                <c:pt idx="119">
                  <c:v>0.305531978461</c:v>
                </c:pt>
                <c:pt idx="120">
                  <c:v>0.33360636059299997</c:v>
                </c:pt>
                <c:pt idx="121">
                  <c:v>0.34569684485500002</c:v>
                </c:pt>
                <c:pt idx="122">
                  <c:v>0.35132392519700001</c:v>
                </c:pt>
                <c:pt idx="123">
                  <c:v>0.34984582753499999</c:v>
                </c:pt>
                <c:pt idx="124">
                  <c:v>0.353387250752</c:v>
                </c:pt>
                <c:pt idx="125">
                  <c:v>0.34676018089100002</c:v>
                </c:pt>
                <c:pt idx="126">
                  <c:v>0.33619575150999997</c:v>
                </c:pt>
                <c:pt idx="127">
                  <c:v>0.33825480354600002</c:v>
                </c:pt>
                <c:pt idx="128">
                  <c:v>0.32838708662499999</c:v>
                </c:pt>
                <c:pt idx="129">
                  <c:v>0.31915276664999997</c:v>
                </c:pt>
                <c:pt idx="130">
                  <c:v>0.32484402257700001</c:v>
                </c:pt>
                <c:pt idx="131">
                  <c:v>0.32277249612999998</c:v>
                </c:pt>
                <c:pt idx="132">
                  <c:v>0.313108244072</c:v>
                </c:pt>
                <c:pt idx="133">
                  <c:v>0.299094597382</c:v>
                </c:pt>
                <c:pt idx="134">
                  <c:v>0.28024824380199997</c:v>
                </c:pt>
                <c:pt idx="135">
                  <c:v>0.26214895559200002</c:v>
                </c:pt>
                <c:pt idx="136">
                  <c:v>0.25520883292800001</c:v>
                </c:pt>
                <c:pt idx="137">
                  <c:v>0.24628248959900001</c:v>
                </c:pt>
                <c:pt idx="138">
                  <c:v>0.244450611885</c:v>
                </c:pt>
                <c:pt idx="139">
                  <c:v>0.244991172802</c:v>
                </c:pt>
                <c:pt idx="140">
                  <c:v>0.24838567449999999</c:v>
                </c:pt>
                <c:pt idx="141">
                  <c:v>0.24265880399600001</c:v>
                </c:pt>
                <c:pt idx="142">
                  <c:v>0.24788348230599999</c:v>
                </c:pt>
                <c:pt idx="143">
                  <c:v>0.24445778049700001</c:v>
                </c:pt>
                <c:pt idx="144">
                  <c:v>0.24295200724400001</c:v>
                </c:pt>
                <c:pt idx="145">
                  <c:v>0.24176628150900001</c:v>
                </c:pt>
                <c:pt idx="146">
                  <c:v>0.23860615902999999</c:v>
                </c:pt>
                <c:pt idx="147">
                  <c:v>0.23676327942399999</c:v>
                </c:pt>
                <c:pt idx="148">
                  <c:v>0.23394509218500001</c:v>
                </c:pt>
                <c:pt idx="149">
                  <c:v>0.23479218768599999</c:v>
                </c:pt>
                <c:pt idx="150">
                  <c:v>0.23313163942099999</c:v>
                </c:pt>
                <c:pt idx="151">
                  <c:v>0.231438696966</c:v>
                </c:pt>
                <c:pt idx="152">
                  <c:v>0.23181304407</c:v>
                </c:pt>
                <c:pt idx="153">
                  <c:v>0.23222132676000001</c:v>
                </c:pt>
                <c:pt idx="154">
                  <c:v>0.229342070619</c:v>
                </c:pt>
                <c:pt idx="155">
                  <c:v>0.233741517186</c:v>
                </c:pt>
                <c:pt idx="156">
                  <c:v>0.230127855193</c:v>
                </c:pt>
                <c:pt idx="157">
                  <c:v>0.230651634956</c:v>
                </c:pt>
                <c:pt idx="158">
                  <c:v>0.23320336103700001</c:v>
                </c:pt>
                <c:pt idx="159">
                  <c:v>0.23173380951200001</c:v>
                </c:pt>
                <c:pt idx="160">
                  <c:v>0.23460870860300001</c:v>
                </c:pt>
                <c:pt idx="161">
                  <c:v>0.23853767832299999</c:v>
                </c:pt>
                <c:pt idx="162">
                  <c:v>0.23810173422200001</c:v>
                </c:pt>
                <c:pt idx="163">
                  <c:v>0.24098855482699999</c:v>
                </c:pt>
                <c:pt idx="164">
                  <c:v>0.24151083926700001</c:v>
                </c:pt>
                <c:pt idx="165">
                  <c:v>0.24017266767000001</c:v>
                </c:pt>
                <c:pt idx="166">
                  <c:v>0.24104511416900001</c:v>
                </c:pt>
                <c:pt idx="167">
                  <c:v>0.241325828779</c:v>
                </c:pt>
                <c:pt idx="168">
                  <c:v>0.24645915191600001</c:v>
                </c:pt>
                <c:pt idx="169">
                  <c:v>0.24697721038100001</c:v>
                </c:pt>
                <c:pt idx="170">
                  <c:v>0.25007148254799999</c:v>
                </c:pt>
                <c:pt idx="171">
                  <c:v>0.25081994661700002</c:v>
                </c:pt>
                <c:pt idx="172">
                  <c:v>0.25420734496800002</c:v>
                </c:pt>
                <c:pt idx="173">
                  <c:v>0.25636856629999999</c:v>
                </c:pt>
                <c:pt idx="174">
                  <c:v>0.25784146193399998</c:v>
                </c:pt>
                <c:pt idx="175">
                  <c:v>0.26075820134900002</c:v>
                </c:pt>
                <c:pt idx="176">
                  <c:v>0.263068927457</c:v>
                </c:pt>
                <c:pt idx="177">
                  <c:v>0.26547502924100003</c:v>
                </c:pt>
                <c:pt idx="178">
                  <c:v>0.26912142786499998</c:v>
                </c:pt>
                <c:pt idx="179">
                  <c:v>0.26736708338199999</c:v>
                </c:pt>
                <c:pt idx="180">
                  <c:v>0.26623405270700001</c:v>
                </c:pt>
                <c:pt idx="181">
                  <c:v>0.265632364648</c:v>
                </c:pt>
                <c:pt idx="182">
                  <c:v>0.26316382293599999</c:v>
                </c:pt>
                <c:pt idx="183">
                  <c:v>0.26384711079599998</c:v>
                </c:pt>
                <c:pt idx="184">
                  <c:v>0.26081083137900002</c:v>
                </c:pt>
                <c:pt idx="185">
                  <c:v>0.25322293299999998</c:v>
                </c:pt>
                <c:pt idx="186">
                  <c:v>0.25788903852700001</c:v>
                </c:pt>
                <c:pt idx="187">
                  <c:v>0.25640870753599998</c:v>
                </c:pt>
                <c:pt idx="188">
                  <c:v>0.24768514223099999</c:v>
                </c:pt>
                <c:pt idx="189">
                  <c:v>0.23943213858599999</c:v>
                </c:pt>
                <c:pt idx="190">
                  <c:v>0.23106190150399999</c:v>
                </c:pt>
                <c:pt idx="191">
                  <c:v>0.21770762707300001</c:v>
                </c:pt>
                <c:pt idx="192">
                  <c:v>0.22089445913</c:v>
                </c:pt>
                <c:pt idx="193">
                  <c:v>0.21603709201900001</c:v>
                </c:pt>
                <c:pt idx="194">
                  <c:v>0.21510768264399999</c:v>
                </c:pt>
                <c:pt idx="195">
                  <c:v>0.210956485616</c:v>
                </c:pt>
                <c:pt idx="196">
                  <c:v>0.20711984168899999</c:v>
                </c:pt>
                <c:pt idx="197">
                  <c:v>0.202589356576</c:v>
                </c:pt>
                <c:pt idx="198">
                  <c:v>0.20349392898800001</c:v>
                </c:pt>
                <c:pt idx="199">
                  <c:v>0.19358045732099999</c:v>
                </c:pt>
                <c:pt idx="200">
                  <c:v>0.191187989078</c:v>
                </c:pt>
                <c:pt idx="201">
                  <c:v>0.189573668286</c:v>
                </c:pt>
                <c:pt idx="202">
                  <c:v>0.183421770742</c:v>
                </c:pt>
                <c:pt idx="203">
                  <c:v>0.17638734646400001</c:v>
                </c:pt>
                <c:pt idx="204">
                  <c:v>0.16956479025400001</c:v>
                </c:pt>
                <c:pt idx="205">
                  <c:v>0.16208844581699999</c:v>
                </c:pt>
                <c:pt idx="206">
                  <c:v>0.15905133639800001</c:v>
                </c:pt>
                <c:pt idx="207">
                  <c:v>0.15695178335500001</c:v>
                </c:pt>
                <c:pt idx="208">
                  <c:v>0.15571644566199999</c:v>
                </c:pt>
                <c:pt idx="209">
                  <c:v>0.15297028723</c:v>
                </c:pt>
                <c:pt idx="210">
                  <c:v>0.147020667982</c:v>
                </c:pt>
                <c:pt idx="211">
                  <c:v>0.14221355104799999</c:v>
                </c:pt>
                <c:pt idx="212">
                  <c:v>0.13629610594</c:v>
                </c:pt>
                <c:pt idx="213">
                  <c:v>0.13529005891400001</c:v>
                </c:pt>
                <c:pt idx="214">
                  <c:v>0.13195678681799999</c:v>
                </c:pt>
                <c:pt idx="215">
                  <c:v>0.13327476826699999</c:v>
                </c:pt>
                <c:pt idx="216">
                  <c:v>0.13674386717600001</c:v>
                </c:pt>
                <c:pt idx="217">
                  <c:v>0.113240302815</c:v>
                </c:pt>
                <c:pt idx="218">
                  <c:v>0.11018129028699999</c:v>
                </c:pt>
                <c:pt idx="219">
                  <c:v>0.109622361898</c:v>
                </c:pt>
                <c:pt idx="220">
                  <c:v>0.105411969915</c:v>
                </c:pt>
                <c:pt idx="221">
                  <c:v>0.10432800341700001</c:v>
                </c:pt>
                <c:pt idx="222">
                  <c:v>0.101369482099</c:v>
                </c:pt>
                <c:pt idx="223">
                  <c:v>9.4607196961999998E-2</c:v>
                </c:pt>
                <c:pt idx="224">
                  <c:v>9.9941441384000004E-2</c:v>
                </c:pt>
                <c:pt idx="225">
                  <c:v>9.1534241185000004E-2</c:v>
                </c:pt>
                <c:pt idx="226">
                  <c:v>8.5482600886000001E-2</c:v>
                </c:pt>
                <c:pt idx="227">
                  <c:v>8.1319918066999994E-2</c:v>
                </c:pt>
                <c:pt idx="228">
                  <c:v>7.9412750613000002E-2</c:v>
                </c:pt>
                <c:pt idx="229">
                  <c:v>7.8819650182000003E-2</c:v>
                </c:pt>
                <c:pt idx="230">
                  <c:v>7.7271633468999998E-2</c:v>
                </c:pt>
                <c:pt idx="231">
                  <c:v>7.2773595299000002E-2</c:v>
                </c:pt>
                <c:pt idx="232">
                  <c:v>7.0523089459000002E-2</c:v>
                </c:pt>
                <c:pt idx="233">
                  <c:v>6.8161198340000007E-2</c:v>
                </c:pt>
                <c:pt idx="234">
                  <c:v>6.5767066488000001E-2</c:v>
                </c:pt>
                <c:pt idx="235">
                  <c:v>6.4913539665000006E-2</c:v>
                </c:pt>
                <c:pt idx="236">
                  <c:v>6.5245991567000006E-2</c:v>
                </c:pt>
                <c:pt idx="237">
                  <c:v>6.2465124065000002E-2</c:v>
                </c:pt>
                <c:pt idx="238">
                  <c:v>6.0824867863000003E-2</c:v>
                </c:pt>
                <c:pt idx="239">
                  <c:v>5.8987005949999997E-2</c:v>
                </c:pt>
                <c:pt idx="240">
                  <c:v>5.7146572180000001E-2</c:v>
                </c:pt>
                <c:pt idx="241">
                  <c:v>5.5241931757999997E-2</c:v>
                </c:pt>
                <c:pt idx="242">
                  <c:v>5.5511770868999999E-2</c:v>
                </c:pt>
                <c:pt idx="243">
                  <c:v>5.4075938184999998E-2</c:v>
                </c:pt>
                <c:pt idx="244">
                  <c:v>5.1193333634999998E-2</c:v>
                </c:pt>
                <c:pt idx="245">
                  <c:v>4.8335002896999997E-2</c:v>
                </c:pt>
                <c:pt idx="246">
                  <c:v>4.6150518640999998E-2</c:v>
                </c:pt>
                <c:pt idx="247">
                  <c:v>4.4134579642000002E-2</c:v>
                </c:pt>
                <c:pt idx="248">
                  <c:v>4.2506409262E-2</c:v>
                </c:pt>
                <c:pt idx="249">
                  <c:v>4.0532602309999999E-2</c:v>
                </c:pt>
                <c:pt idx="250">
                  <c:v>4.0122865149E-2</c:v>
                </c:pt>
                <c:pt idx="251">
                  <c:v>3.7893994466000003E-2</c:v>
                </c:pt>
                <c:pt idx="252">
                  <c:v>3.5153622656999998E-2</c:v>
                </c:pt>
                <c:pt idx="253">
                  <c:v>3.2801021889999997E-2</c:v>
                </c:pt>
                <c:pt idx="254">
                  <c:v>3.1328767059E-2</c:v>
                </c:pt>
                <c:pt idx="255">
                  <c:v>2.9029751332E-2</c:v>
                </c:pt>
                <c:pt idx="256">
                  <c:v>2.8398830609E-2</c:v>
                </c:pt>
                <c:pt idx="257">
                  <c:v>2.7858458895E-2</c:v>
                </c:pt>
                <c:pt idx="258">
                  <c:v>2.4980297354000001E-2</c:v>
                </c:pt>
                <c:pt idx="259">
                  <c:v>2.2784250110000001E-2</c:v>
                </c:pt>
                <c:pt idx="260">
                  <c:v>2.0929648988999999E-2</c:v>
                </c:pt>
                <c:pt idx="261">
                  <c:v>1.9015622374999999E-2</c:v>
                </c:pt>
                <c:pt idx="262">
                  <c:v>1.7171704813999999E-2</c:v>
                </c:pt>
                <c:pt idx="263">
                  <c:v>1.6333678976E-2</c:v>
                </c:pt>
                <c:pt idx="264">
                  <c:v>1.6226849395E-2</c:v>
                </c:pt>
                <c:pt idx="265">
                  <c:v>1.5337667617999999E-2</c:v>
                </c:pt>
                <c:pt idx="266">
                  <c:v>1.3836773986000001E-2</c:v>
                </c:pt>
                <c:pt idx="267">
                  <c:v>1.3418411267E-2</c:v>
                </c:pt>
                <c:pt idx="268">
                  <c:v>1.3051429712E-2</c:v>
                </c:pt>
                <c:pt idx="269">
                  <c:v>1.2500289786999999E-2</c:v>
                </c:pt>
                <c:pt idx="270">
                  <c:v>1.2257248835E-2</c:v>
                </c:pt>
                <c:pt idx="271">
                  <c:v>1.2024450494E-2</c:v>
                </c:pt>
                <c:pt idx="272">
                  <c:v>1.1595670306E-2</c:v>
                </c:pt>
                <c:pt idx="273">
                  <c:v>1.1236513203000001E-2</c:v>
                </c:pt>
                <c:pt idx="274">
                  <c:v>1.0501224391E-2</c:v>
                </c:pt>
                <c:pt idx="275">
                  <c:v>9.7332063119999999E-3</c:v>
                </c:pt>
                <c:pt idx="276">
                  <c:v>9.1480759069999997E-3</c:v>
                </c:pt>
                <c:pt idx="277">
                  <c:v>8.7824942070000005E-3</c:v>
                </c:pt>
                <c:pt idx="278">
                  <c:v>8.7224823390000001E-3</c:v>
                </c:pt>
                <c:pt idx="279">
                  <c:v>7.9395672049999994E-3</c:v>
                </c:pt>
                <c:pt idx="280">
                  <c:v>7.4400946920000002E-3</c:v>
                </c:pt>
                <c:pt idx="281">
                  <c:v>7.1001098760000003E-3</c:v>
                </c:pt>
                <c:pt idx="282">
                  <c:v>6.6727906130000002E-3</c:v>
                </c:pt>
                <c:pt idx="283">
                  <c:v>6.141573866E-3</c:v>
                </c:pt>
                <c:pt idx="284">
                  <c:v>5.8461284850000001E-3</c:v>
                </c:pt>
                <c:pt idx="285">
                  <c:v>5.6365322909999998E-3</c:v>
                </c:pt>
                <c:pt idx="286">
                  <c:v>5.3637873849999998E-3</c:v>
                </c:pt>
                <c:pt idx="287">
                  <c:v>4.5995092170000003E-3</c:v>
                </c:pt>
                <c:pt idx="288">
                  <c:v>4.0891906480000004E-3</c:v>
                </c:pt>
                <c:pt idx="289">
                  <c:v>3.700106082E-3</c:v>
                </c:pt>
                <c:pt idx="290">
                  <c:v>3.4033262690000001E-3</c:v>
                </c:pt>
                <c:pt idx="291">
                  <c:v>3.28930462E-3</c:v>
                </c:pt>
                <c:pt idx="292">
                  <c:v>3.3455379929999999E-3</c:v>
                </c:pt>
                <c:pt idx="293">
                  <c:v>3.080014276E-3</c:v>
                </c:pt>
                <c:pt idx="294">
                  <c:v>2.7396701509999999E-3</c:v>
                </c:pt>
                <c:pt idx="295">
                  <c:v>2.7603809040000001E-3</c:v>
                </c:pt>
                <c:pt idx="296">
                  <c:v>2.691732229E-3</c:v>
                </c:pt>
                <c:pt idx="297">
                  <c:v>2.8170058189999998E-3</c:v>
                </c:pt>
                <c:pt idx="298">
                  <c:v>2.7865420339999998E-3</c:v>
                </c:pt>
                <c:pt idx="299">
                  <c:v>2.7451386619999998E-3</c:v>
                </c:pt>
                <c:pt idx="300">
                  <c:v>2.832560011E-3</c:v>
                </c:pt>
                <c:pt idx="301">
                  <c:v>3.0253753349999998E-3</c:v>
                </c:pt>
                <c:pt idx="302">
                  <c:v>2.9945947560000002E-3</c:v>
                </c:pt>
                <c:pt idx="303">
                  <c:v>3.284035059E-3</c:v>
                </c:pt>
                <c:pt idx="304">
                  <c:v>3.3141943449999998E-3</c:v>
                </c:pt>
                <c:pt idx="305">
                  <c:v>3.4785302849999998E-3</c:v>
                </c:pt>
                <c:pt idx="306">
                  <c:v>3.5902163129999999E-3</c:v>
                </c:pt>
                <c:pt idx="307">
                  <c:v>4.1944258930000002E-3</c:v>
                </c:pt>
                <c:pt idx="308">
                  <c:v>4.5196354089999998E-3</c:v>
                </c:pt>
                <c:pt idx="309">
                  <c:v>5.342558287E-3</c:v>
                </c:pt>
                <c:pt idx="310">
                  <c:v>5.9622355669999997E-3</c:v>
                </c:pt>
                <c:pt idx="311">
                  <c:v>6.7239698310000004E-3</c:v>
                </c:pt>
                <c:pt idx="312">
                  <c:v>6.9077427569999997E-3</c:v>
                </c:pt>
                <c:pt idx="313">
                  <c:v>6.8597395250000002E-3</c:v>
                </c:pt>
                <c:pt idx="314">
                  <c:v>6.5280487220000004E-3</c:v>
                </c:pt>
                <c:pt idx="315">
                  <c:v>7.0121102440000001E-3</c:v>
                </c:pt>
                <c:pt idx="316">
                  <c:v>7.135970801E-3</c:v>
                </c:pt>
                <c:pt idx="317">
                  <c:v>7.0326431849999996E-3</c:v>
                </c:pt>
                <c:pt idx="318">
                  <c:v>6.4454041110000001E-3</c:v>
                </c:pt>
                <c:pt idx="319">
                  <c:v>6.4893802909999996E-3</c:v>
                </c:pt>
                <c:pt idx="320">
                  <c:v>6.422709431E-3</c:v>
                </c:pt>
                <c:pt idx="321">
                  <c:v>6.4948569049999997E-3</c:v>
                </c:pt>
                <c:pt idx="322">
                  <c:v>6.4682007080000001E-3</c:v>
                </c:pt>
                <c:pt idx="323">
                  <c:v>6.4943509710000003E-3</c:v>
                </c:pt>
                <c:pt idx="324">
                  <c:v>6.2954661310000003E-3</c:v>
                </c:pt>
                <c:pt idx="325">
                  <c:v>6.2108803030000003E-3</c:v>
                </c:pt>
                <c:pt idx="326">
                  <c:v>5.8379723410000002E-3</c:v>
                </c:pt>
                <c:pt idx="327">
                  <c:v>5.6110469969999997E-3</c:v>
                </c:pt>
                <c:pt idx="328">
                  <c:v>5.47086547E-3</c:v>
                </c:pt>
                <c:pt idx="329">
                  <c:v>5.2244897950000004E-3</c:v>
                </c:pt>
                <c:pt idx="330">
                  <c:v>4.8799950889999999E-3</c:v>
                </c:pt>
                <c:pt idx="331">
                  <c:v>4.9562592879999999E-3</c:v>
                </c:pt>
                <c:pt idx="332">
                  <c:v>4.8305492170000004E-3</c:v>
                </c:pt>
                <c:pt idx="333">
                  <c:v>4.7998530179999997E-3</c:v>
                </c:pt>
                <c:pt idx="334">
                  <c:v>4.8926525980000002E-3</c:v>
                </c:pt>
                <c:pt idx="335">
                  <c:v>4.5773826099999998E-3</c:v>
                </c:pt>
                <c:pt idx="336">
                  <c:v>4.5548936679999999E-3</c:v>
                </c:pt>
                <c:pt idx="337">
                  <c:v>4.8821987520000004E-3</c:v>
                </c:pt>
                <c:pt idx="338">
                  <c:v>4.6897068340000002E-3</c:v>
                </c:pt>
                <c:pt idx="339">
                  <c:v>4.8172286759999997E-3</c:v>
                </c:pt>
                <c:pt idx="340">
                  <c:v>4.9977391179999997E-3</c:v>
                </c:pt>
                <c:pt idx="341">
                  <c:v>5.1254063540000002E-3</c:v>
                </c:pt>
                <c:pt idx="342">
                  <c:v>5.382625722E-3</c:v>
                </c:pt>
                <c:pt idx="343">
                  <c:v>5.3959304340000002E-3</c:v>
                </c:pt>
                <c:pt idx="344">
                  <c:v>5.3488015610000002E-3</c:v>
                </c:pt>
                <c:pt idx="345">
                  <c:v>5.5527430219999997E-3</c:v>
                </c:pt>
                <c:pt idx="346">
                  <c:v>5.5885045570000002E-3</c:v>
                </c:pt>
                <c:pt idx="347">
                  <c:v>5.5070485509999996E-3</c:v>
                </c:pt>
                <c:pt idx="348">
                  <c:v>5.2786383770000002E-3</c:v>
                </c:pt>
                <c:pt idx="349">
                  <c:v>5.4054905909999996E-3</c:v>
                </c:pt>
                <c:pt idx="350">
                  <c:v>5.708189699E-3</c:v>
                </c:pt>
                <c:pt idx="351">
                  <c:v>5.6062790320000003E-3</c:v>
                </c:pt>
                <c:pt idx="352">
                  <c:v>5.5099105240000003E-3</c:v>
                </c:pt>
                <c:pt idx="353">
                  <c:v>5.4809081690000002E-3</c:v>
                </c:pt>
                <c:pt idx="354">
                  <c:v>5.5022392830000001E-3</c:v>
                </c:pt>
                <c:pt idx="355">
                  <c:v>5.5695508370000001E-3</c:v>
                </c:pt>
                <c:pt idx="356">
                  <c:v>5.6449508560000002E-3</c:v>
                </c:pt>
                <c:pt idx="357">
                  <c:v>5.4531154410000001E-3</c:v>
                </c:pt>
                <c:pt idx="358">
                  <c:v>5.629906344E-3</c:v>
                </c:pt>
                <c:pt idx="359">
                  <c:v>5.9644805819999997E-3</c:v>
                </c:pt>
                <c:pt idx="360">
                  <c:v>6.3220388339999996E-3</c:v>
                </c:pt>
                <c:pt idx="361">
                  <c:v>6.7382007920000001E-3</c:v>
                </c:pt>
                <c:pt idx="362">
                  <c:v>7.0551801219999998E-3</c:v>
                </c:pt>
                <c:pt idx="363">
                  <c:v>7.5233920589999996E-3</c:v>
                </c:pt>
                <c:pt idx="364">
                  <c:v>7.3893370850000003E-3</c:v>
                </c:pt>
                <c:pt idx="365">
                  <c:v>7.2991306000000002E-3</c:v>
                </c:pt>
                <c:pt idx="366">
                  <c:v>7.6511587219999996E-3</c:v>
                </c:pt>
                <c:pt idx="367">
                  <c:v>8.7673171239999997E-3</c:v>
                </c:pt>
                <c:pt idx="368">
                  <c:v>9.3143371149999998E-3</c:v>
                </c:pt>
                <c:pt idx="369">
                  <c:v>9.7102584180000003E-3</c:v>
                </c:pt>
                <c:pt idx="370">
                  <c:v>1.0264656115E-2</c:v>
                </c:pt>
                <c:pt idx="371">
                  <c:v>1.2045539415999999E-2</c:v>
                </c:pt>
                <c:pt idx="372">
                  <c:v>1.3282447334999999E-2</c:v>
                </c:pt>
                <c:pt idx="373">
                  <c:v>1.4353673697E-2</c:v>
                </c:pt>
                <c:pt idx="374">
                  <c:v>1.4705443994999999E-2</c:v>
                </c:pt>
                <c:pt idx="375">
                  <c:v>1.4786267646999999E-2</c:v>
                </c:pt>
                <c:pt idx="376">
                  <c:v>1.4717084318E-2</c:v>
                </c:pt>
                <c:pt idx="377">
                  <c:v>1.6039885165999999E-2</c:v>
                </c:pt>
                <c:pt idx="378">
                  <c:v>1.671391698E-2</c:v>
                </c:pt>
                <c:pt idx="379">
                  <c:v>1.7694183943E-2</c:v>
                </c:pt>
                <c:pt idx="380">
                  <c:v>1.8455464572000001E-2</c:v>
                </c:pt>
                <c:pt idx="381">
                  <c:v>1.7872986454000001E-2</c:v>
                </c:pt>
                <c:pt idx="382">
                  <c:v>1.7760365026000001E-2</c:v>
                </c:pt>
                <c:pt idx="383">
                  <c:v>1.7803786049000001E-2</c:v>
                </c:pt>
                <c:pt idx="384">
                  <c:v>1.8226089082000001E-2</c:v>
                </c:pt>
                <c:pt idx="385">
                  <c:v>1.8200072838999999E-2</c:v>
                </c:pt>
                <c:pt idx="386">
                  <c:v>1.81678259E-2</c:v>
                </c:pt>
                <c:pt idx="387">
                  <c:v>1.7678848622999999E-2</c:v>
                </c:pt>
                <c:pt idx="388">
                  <c:v>1.7440822424E-2</c:v>
                </c:pt>
                <c:pt idx="389">
                  <c:v>1.7997412870999999E-2</c:v>
                </c:pt>
                <c:pt idx="390">
                  <c:v>1.8298993320000002E-2</c:v>
                </c:pt>
                <c:pt idx="391">
                  <c:v>1.8760873176E-2</c:v>
                </c:pt>
                <c:pt idx="392">
                  <c:v>1.8870024015999999E-2</c:v>
                </c:pt>
                <c:pt idx="393">
                  <c:v>1.9454223746000001E-2</c:v>
                </c:pt>
                <c:pt idx="394">
                  <c:v>2.2043613366000001E-2</c:v>
                </c:pt>
                <c:pt idx="395">
                  <c:v>2.4408756420999999E-2</c:v>
                </c:pt>
                <c:pt idx="396">
                  <c:v>2.5578747628000002E-2</c:v>
                </c:pt>
                <c:pt idx="397">
                  <c:v>2.6183016063000001E-2</c:v>
                </c:pt>
                <c:pt idx="398">
                  <c:v>2.6898031321E-2</c:v>
                </c:pt>
                <c:pt idx="399">
                  <c:v>2.9272461805999999E-2</c:v>
                </c:pt>
                <c:pt idx="400">
                  <c:v>3.1509180473999997E-2</c:v>
                </c:pt>
                <c:pt idx="401">
                  <c:v>3.1776587933999997E-2</c:v>
                </c:pt>
                <c:pt idx="402">
                  <c:v>3.240480045E-2</c:v>
                </c:pt>
                <c:pt idx="403">
                  <c:v>3.2673754760999998E-2</c:v>
                </c:pt>
                <c:pt idx="404">
                  <c:v>3.2606825844000001E-2</c:v>
                </c:pt>
                <c:pt idx="405">
                  <c:v>3.5315844063E-2</c:v>
                </c:pt>
                <c:pt idx="406">
                  <c:v>3.6884976138999999E-2</c:v>
                </c:pt>
                <c:pt idx="407">
                  <c:v>3.8200252887999997E-2</c:v>
                </c:pt>
                <c:pt idx="408">
                  <c:v>4.0436002951E-2</c:v>
                </c:pt>
                <c:pt idx="409">
                  <c:v>4.2579349778999999E-2</c:v>
                </c:pt>
                <c:pt idx="410">
                  <c:v>4.3549990481999999E-2</c:v>
                </c:pt>
                <c:pt idx="411">
                  <c:v>4.4552225878999999E-2</c:v>
                </c:pt>
                <c:pt idx="412">
                  <c:v>4.8277653105999997E-2</c:v>
                </c:pt>
                <c:pt idx="413">
                  <c:v>5.3530737209E-2</c:v>
                </c:pt>
                <c:pt idx="414">
                  <c:v>5.8869547005000002E-2</c:v>
                </c:pt>
                <c:pt idx="415">
                  <c:v>6.3217755862E-2</c:v>
                </c:pt>
                <c:pt idx="416">
                  <c:v>6.8317812778000003E-2</c:v>
                </c:pt>
                <c:pt idx="417">
                  <c:v>7.0333814374000006E-2</c:v>
                </c:pt>
                <c:pt idx="418">
                  <c:v>7.1324067300000002E-2</c:v>
                </c:pt>
                <c:pt idx="419">
                  <c:v>7.3313797360999994E-2</c:v>
                </c:pt>
                <c:pt idx="420">
                  <c:v>7.5345505403000002E-2</c:v>
                </c:pt>
                <c:pt idx="421">
                  <c:v>7.5149066580999999E-2</c:v>
                </c:pt>
                <c:pt idx="422">
                  <c:v>7.8004042571999999E-2</c:v>
                </c:pt>
                <c:pt idx="423">
                  <c:v>8.1702066830999995E-2</c:v>
                </c:pt>
                <c:pt idx="424">
                  <c:v>8.6221981500999995E-2</c:v>
                </c:pt>
                <c:pt idx="425">
                  <c:v>8.6033779182999995E-2</c:v>
                </c:pt>
                <c:pt idx="426">
                  <c:v>9.1481738776999999E-2</c:v>
                </c:pt>
                <c:pt idx="427">
                  <c:v>0.103317995612</c:v>
                </c:pt>
                <c:pt idx="428">
                  <c:v>0.122138712757</c:v>
                </c:pt>
                <c:pt idx="429">
                  <c:v>0.131898103603</c:v>
                </c:pt>
                <c:pt idx="430">
                  <c:v>0.142618880655</c:v>
                </c:pt>
                <c:pt idx="431">
                  <c:v>0.14386165869100001</c:v>
                </c:pt>
                <c:pt idx="432">
                  <c:v>0.147004966032</c:v>
                </c:pt>
                <c:pt idx="433">
                  <c:v>0.15280739685700001</c:v>
                </c:pt>
                <c:pt idx="434">
                  <c:v>0.15955482287</c:v>
                </c:pt>
                <c:pt idx="435">
                  <c:v>0.161132335525</c:v>
                </c:pt>
                <c:pt idx="436">
                  <c:v>0.15735839613200001</c:v>
                </c:pt>
                <c:pt idx="437">
                  <c:v>0.15813985693900001</c:v>
                </c:pt>
                <c:pt idx="438">
                  <c:v>0.16111579083700001</c:v>
                </c:pt>
                <c:pt idx="439">
                  <c:v>0.16315638832099999</c:v>
                </c:pt>
                <c:pt idx="440">
                  <c:v>0.161869801226</c:v>
                </c:pt>
                <c:pt idx="441">
                  <c:v>0.16650784207300001</c:v>
                </c:pt>
                <c:pt idx="442">
                  <c:v>0.16864421121600001</c:v>
                </c:pt>
                <c:pt idx="443">
                  <c:v>0.172162744324</c:v>
                </c:pt>
                <c:pt idx="444">
                  <c:v>0.182844522377</c:v>
                </c:pt>
                <c:pt idx="445">
                  <c:v>0.187558817525</c:v>
                </c:pt>
                <c:pt idx="446">
                  <c:v>0.18919861140399999</c:v>
                </c:pt>
                <c:pt idx="447">
                  <c:v>0.19262764717600001</c:v>
                </c:pt>
                <c:pt idx="448">
                  <c:v>0.19895545872000001</c:v>
                </c:pt>
                <c:pt idx="449">
                  <c:v>0.192938822708</c:v>
                </c:pt>
                <c:pt idx="450">
                  <c:v>0.20271315602100001</c:v>
                </c:pt>
                <c:pt idx="451">
                  <c:v>0.20293839076299999</c:v>
                </c:pt>
                <c:pt idx="452">
                  <c:v>0.20142537430900001</c:v>
                </c:pt>
                <c:pt idx="453">
                  <c:v>0.20145449586899999</c:v>
                </c:pt>
                <c:pt idx="454">
                  <c:v>0.20474369885999999</c:v>
                </c:pt>
                <c:pt idx="455">
                  <c:v>0.19929587218399999</c:v>
                </c:pt>
                <c:pt idx="456">
                  <c:v>0.20680879928400001</c:v>
                </c:pt>
                <c:pt idx="457">
                  <c:v>0.20041218548699999</c:v>
                </c:pt>
                <c:pt idx="458">
                  <c:v>0.19730014152399999</c:v>
                </c:pt>
                <c:pt idx="459">
                  <c:v>0.19581976965</c:v>
                </c:pt>
                <c:pt idx="460">
                  <c:v>0.19442575972500001</c:v>
                </c:pt>
                <c:pt idx="461">
                  <c:v>0.19137776463299999</c:v>
                </c:pt>
                <c:pt idx="462">
                  <c:v>0.189560735117</c:v>
                </c:pt>
                <c:pt idx="463">
                  <c:v>0.185424855932</c:v>
                </c:pt>
                <c:pt idx="464">
                  <c:v>0.18169329907500001</c:v>
                </c:pt>
                <c:pt idx="465">
                  <c:v>0.176423856942</c:v>
                </c:pt>
                <c:pt idx="466">
                  <c:v>0.17505771801200001</c:v>
                </c:pt>
                <c:pt idx="467">
                  <c:v>0.17469854694699999</c:v>
                </c:pt>
                <c:pt idx="468">
                  <c:v>0.17011385051399999</c:v>
                </c:pt>
                <c:pt idx="469">
                  <c:v>0.16718587473099999</c:v>
                </c:pt>
                <c:pt idx="470">
                  <c:v>0.16260919453100001</c:v>
                </c:pt>
                <c:pt idx="471">
                  <c:v>0.15652433496199999</c:v>
                </c:pt>
                <c:pt idx="472">
                  <c:v>0.15287231454200001</c:v>
                </c:pt>
                <c:pt idx="473">
                  <c:v>0.15041284523099999</c:v>
                </c:pt>
                <c:pt idx="474">
                  <c:v>0.14972750270999999</c:v>
                </c:pt>
                <c:pt idx="475">
                  <c:v>0.14691101342499999</c:v>
                </c:pt>
                <c:pt idx="476">
                  <c:v>0.141523662637</c:v>
                </c:pt>
                <c:pt idx="477">
                  <c:v>0.134556912517</c:v>
                </c:pt>
                <c:pt idx="478">
                  <c:v>0.13065857114900001</c:v>
                </c:pt>
                <c:pt idx="479">
                  <c:v>0.12991853390399999</c:v>
                </c:pt>
                <c:pt idx="480">
                  <c:v>0.12789033119000001</c:v>
                </c:pt>
                <c:pt idx="481">
                  <c:v>0.126174340478</c:v>
                </c:pt>
                <c:pt idx="482">
                  <c:v>0.12717997964800001</c:v>
                </c:pt>
                <c:pt idx="483">
                  <c:v>0.124955969998</c:v>
                </c:pt>
                <c:pt idx="484">
                  <c:v>0.129876019004</c:v>
                </c:pt>
                <c:pt idx="485">
                  <c:v>0.140380089432</c:v>
                </c:pt>
                <c:pt idx="486">
                  <c:v>0.144159604089</c:v>
                </c:pt>
                <c:pt idx="487">
                  <c:v>0.14618603659599999</c:v>
                </c:pt>
                <c:pt idx="488">
                  <c:v>0.14566457741899999</c:v>
                </c:pt>
                <c:pt idx="489">
                  <c:v>0.14080755745599999</c:v>
                </c:pt>
                <c:pt idx="490">
                  <c:v>0.138309063728</c:v>
                </c:pt>
                <c:pt idx="491">
                  <c:v>0.137645895347</c:v>
                </c:pt>
                <c:pt idx="492">
                  <c:v>0.13073481075000001</c:v>
                </c:pt>
                <c:pt idx="493">
                  <c:v>0.122335530406</c:v>
                </c:pt>
                <c:pt idx="494">
                  <c:v>0.120415816678</c:v>
                </c:pt>
                <c:pt idx="495">
                  <c:v>0.121107581605</c:v>
                </c:pt>
                <c:pt idx="496">
                  <c:v>0.116439261977</c:v>
                </c:pt>
                <c:pt idx="497">
                  <c:v>0.118580074199</c:v>
                </c:pt>
                <c:pt idx="498">
                  <c:v>0.123483802295</c:v>
                </c:pt>
                <c:pt idx="499">
                  <c:v>0.131363504273</c:v>
                </c:pt>
                <c:pt idx="500">
                  <c:v>0.14202790482399999</c:v>
                </c:pt>
                <c:pt idx="501">
                  <c:v>0.14749532474900001</c:v>
                </c:pt>
                <c:pt idx="502">
                  <c:v>0.15321468365099999</c:v>
                </c:pt>
                <c:pt idx="503">
                  <c:v>0.16899683583</c:v>
                </c:pt>
                <c:pt idx="504">
                  <c:v>0.18814724144700001</c:v>
                </c:pt>
                <c:pt idx="505">
                  <c:v>0.202924499387</c:v>
                </c:pt>
                <c:pt idx="506">
                  <c:v>0.213901421659</c:v>
                </c:pt>
                <c:pt idx="507">
                  <c:v>0.21997022118500001</c:v>
                </c:pt>
                <c:pt idx="508">
                  <c:v>0.224564391231</c:v>
                </c:pt>
                <c:pt idx="509">
                  <c:v>0.22607143688799999</c:v>
                </c:pt>
                <c:pt idx="510">
                  <c:v>0.23156214833700001</c:v>
                </c:pt>
                <c:pt idx="511">
                  <c:v>0.23401605824899999</c:v>
                </c:pt>
                <c:pt idx="512">
                  <c:v>0.25151238306700002</c:v>
                </c:pt>
                <c:pt idx="513">
                  <c:v>0.25093051396799998</c:v>
                </c:pt>
                <c:pt idx="514">
                  <c:v>0.26178943209</c:v>
                </c:pt>
                <c:pt idx="515">
                  <c:v>0.25671482578499999</c:v>
                </c:pt>
                <c:pt idx="516">
                  <c:v>0.26579124108899999</c:v>
                </c:pt>
                <c:pt idx="517">
                  <c:v>0.26572301296299999</c:v>
                </c:pt>
                <c:pt idx="518">
                  <c:v>0.28282940868200002</c:v>
                </c:pt>
                <c:pt idx="519">
                  <c:v>0.27771861477600002</c:v>
                </c:pt>
                <c:pt idx="520">
                  <c:v>0.28385409137000001</c:v>
                </c:pt>
                <c:pt idx="521">
                  <c:v>0.277426355485</c:v>
                </c:pt>
                <c:pt idx="522">
                  <c:v>0.29448240437200002</c:v>
                </c:pt>
                <c:pt idx="523">
                  <c:v>0.284916413373</c:v>
                </c:pt>
                <c:pt idx="524">
                  <c:v>0.29204409994399999</c:v>
                </c:pt>
                <c:pt idx="525">
                  <c:v>0.28341836945600002</c:v>
                </c:pt>
                <c:pt idx="526">
                  <c:v>0.28171016239399999</c:v>
                </c:pt>
                <c:pt idx="527">
                  <c:v>0.27976031385400002</c:v>
                </c:pt>
                <c:pt idx="528">
                  <c:v>0.28704172787100002</c:v>
                </c:pt>
                <c:pt idx="529">
                  <c:v>0.27775841101400001</c:v>
                </c:pt>
                <c:pt idx="530">
                  <c:v>0.28033390994500001</c:v>
                </c:pt>
                <c:pt idx="531">
                  <c:v>0.27624138176099999</c:v>
                </c:pt>
                <c:pt idx="532">
                  <c:v>0.273918144882</c:v>
                </c:pt>
                <c:pt idx="533">
                  <c:v>0.26519459064799999</c:v>
                </c:pt>
                <c:pt idx="534">
                  <c:v>0.26512091308300001</c:v>
                </c:pt>
                <c:pt idx="535">
                  <c:v>0.26120630224300001</c:v>
                </c:pt>
                <c:pt idx="536">
                  <c:v>0.26259427460700002</c:v>
                </c:pt>
                <c:pt idx="537">
                  <c:v>0.26171250640799998</c:v>
                </c:pt>
                <c:pt idx="538">
                  <c:v>0.27273370426900001</c:v>
                </c:pt>
                <c:pt idx="539">
                  <c:v>0.26450163588999998</c:v>
                </c:pt>
                <c:pt idx="540">
                  <c:v>0.265130506732</c:v>
                </c:pt>
                <c:pt idx="541">
                  <c:v>0.268998820084</c:v>
                </c:pt>
                <c:pt idx="542">
                  <c:v>0.27817021863899999</c:v>
                </c:pt>
                <c:pt idx="543">
                  <c:v>0.281214565551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6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698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sv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2435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7187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725249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7534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6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266457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42618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0651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08424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72368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523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7236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83227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95568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6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786320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6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00101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6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6.02.2022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6.02.2022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6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6.02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8366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958437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chart" Target="../charts/chart1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3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chart" Target="../charts/chart20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chart" Target="../charts/chart19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4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chart" Target="../charts/chart2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chart" Target="../charts/chart21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chart" Target="../charts/chart2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chart" Target="../charts/chart23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chart" Target="../charts/chart26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chart" Target="../charts/chart25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5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chart" Target="../charts/chart2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chart" Target="../charts/chart27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5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chart" Target="../charts/chart30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chart" Target="../charts/chart29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6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chart" Target="../charts/chart3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chart" Target="../charts/chart31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6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chart" Target="../charts/chart3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chart" Target="../charts/chart33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7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chart" Target="../charts/chart36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chart" Target="../charts/chart35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7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chart" Target="../charts/char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chart" Target="../charts/chart3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chart" Target="../charts/chart37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7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chart" Target="../charts/chart40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chart" Target="../charts/chart39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8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chart" Target="../charts/chart4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chart" Target="../charts/chart41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8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chart" Target="../charts/chart44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chart" Target="../charts/chart43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9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chart" Target="../charts/chart46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chart" Target="../charts/chart45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9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4" Type="http://schemas.openxmlformats.org/officeDocument/2006/relationships/notesSlide" Target="../notesSlides/notesSlide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0.xml"/><Relationship Id="rId1" Type="http://schemas.openxmlformats.org/officeDocument/2006/relationships/tags" Target="../tags/tag9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chart" Target="../charts/chart3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chart" Target="../charts/chart6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chart" Target="../charts/chart5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chart" Target="../charts/chart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chart" Target="../charts/chart7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chart" Target="../charts/chart10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chart" Target="../charts/chart9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chart" Target="../charts/chart1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chart" Target="../charts/chart11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chart" Target="../charts/chart1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chart" Target="../charts/chart13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chart" Target="../charts/chart16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chart" Target="../charts/chart15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Časové trendy ve vývoji hodnot klíčových ukazatelů stavu epidemie</a:t>
            </a:r>
          </a:p>
        </p:txBody>
      </p:sp>
    </p:spTree>
    <p:extLst>
      <p:ext uri="{BB962C8B-B14F-4D97-AF65-F5344CB8AC3E}">
        <p14:creationId xmlns:p14="http://schemas.microsoft.com/office/powerpoint/2010/main" val="4991122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nových příjmů do nemocnic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343FD679-6410-4453-94EF-7E2EFD91FB8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3432970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nových příjmů na JIP (včetně překladů) / 100 tisíc obyv.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746FB2D5-6186-4AFB-85CB-FA82DE72497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31226906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nových hospitalizací na JIP / 7denní počet všech nových hospitalizací (v %)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29EA93F3-B5FC-4A87-B8FF-AF153AB62DA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34571128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550" dirty="0"/>
              <a:t>7denní počet případů, hospitalizovaných do 3 dnů od pozitivity / 100 tisíc obyvatel</a:t>
            </a:r>
            <a:endParaRPr lang="cs-CZ" sz="155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B59398FE-6B15-42A1-BC12-8BC1F93CC1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8381775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do 3 dnů od pozitivity v % v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8A8BA027-29BC-4E55-8541-70D627DF327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21347357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966957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do 3 dnů od pozitivity v % v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B59398FE-6B15-42A1-BC12-8BC1F93CC1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54898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550" dirty="0"/>
              <a:t>7denní počet případů, hospitalizovaných do 7 dnů od pozitivity / 100 tisíc obyvatel</a:t>
            </a:r>
            <a:endParaRPr lang="cs-CZ" sz="155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146017EF-249F-4785-BC94-FA2D6618D8C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26465505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do 7 dnů od pozitivity v % v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E3638910-5E49-4ABE-9257-15EEC8A39D2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36276707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968490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do 7 dnů od pozitivity v % v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E3638910-5E49-4ABE-9257-15EEC8A39D2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15413532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/ 100 tisíc obyvatel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73A03D-02FD-4EE0-99B7-A9E50F88E666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14">
            <a:extLst>
              <a:ext uri="{FF2B5EF4-FFF2-40B4-BE49-F238E27FC236}">
                <a16:creationId xmlns:a16="http://schemas.microsoft.com/office/drawing/2014/main" id="{0A249515-A4ED-4845-A0D5-7D35224904F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CAFC2DD2-8D68-4E25-A239-1B7D8358EB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C777C83A-7EC6-4EBF-AC56-192E23081836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TextBox 6">
            <a:extLst>
              <a:ext uri="{FF2B5EF4-FFF2-40B4-BE49-F238E27FC236}">
                <a16:creationId xmlns:a16="http://schemas.microsoft.com/office/drawing/2014/main" id="{31DCCF15-8D32-4CC1-9851-768A37455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40801586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CR testů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BDC6912-09FD-4720-9C5F-9FE68543F4D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41093474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</a:t>
            </a:r>
            <a:r>
              <a:rPr lang="en-US" sz="1400" dirty="0"/>
              <a:t>v % v</a:t>
            </a:r>
            <a:r>
              <a:rPr lang="cs-CZ" sz="1400" dirty="0"/>
              <a:t>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EFF09343-7E49-4458-99BA-C44FF4F43320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726029F8-CC8A-4D5B-8F49-AFDD0647854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23458BF9-1721-4D26-9635-BE6F3CA1E0F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C8F7EE91-E4A8-4247-B90D-2D742A7A43C4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0428A041-0109-4D33-97BF-31945ED868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40220852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8099085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</a:t>
            </a:r>
            <a:r>
              <a:rPr lang="en-US" sz="1400" dirty="0"/>
              <a:t>v % </a:t>
            </a:r>
            <a:r>
              <a:rPr lang="en-US" sz="1400" dirty="0" err="1"/>
              <a:t>nov</a:t>
            </a:r>
            <a:r>
              <a:rPr lang="cs-CZ" sz="1400" dirty="0"/>
              <a:t>ě hospitalizovaný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EC96C70C-DBB7-4707-853F-7AA1D3F773E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AF539B6B-A616-482B-B9C4-F9977BEF13B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7B606699-D057-482F-9C65-5A670BDA89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C2ACFA3B-19D3-47D0-817F-13FCE1A7004B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11DF5743-3F99-4687-8F32-CC3D9811F0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11744862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65+ </a:t>
            </a:r>
            <a:r>
              <a:rPr lang="en-US" sz="1400" dirty="0"/>
              <a:t>v den </a:t>
            </a:r>
            <a:r>
              <a:rPr lang="cs-CZ" sz="1400" dirty="0"/>
              <a:t>pozitivity / 100 tisíc obyvatel 65+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73A03D-02FD-4EE0-99B7-A9E50F88E666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14">
            <a:extLst>
              <a:ext uri="{FF2B5EF4-FFF2-40B4-BE49-F238E27FC236}">
                <a16:creationId xmlns:a16="http://schemas.microsoft.com/office/drawing/2014/main" id="{0A249515-A4ED-4845-A0D5-7D35224904F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CAFC2DD2-8D68-4E25-A239-1B7D8358EB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C777C83A-7EC6-4EBF-AC56-192E23081836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TextBox 6">
            <a:extLst>
              <a:ext uri="{FF2B5EF4-FFF2-40B4-BE49-F238E27FC236}">
                <a16:creationId xmlns:a16="http://schemas.microsoft.com/office/drawing/2014/main" id="{31DCCF15-8D32-4CC1-9851-768A37455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39364136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8155233" cy="576000"/>
          </a:xfrm>
        </p:spPr>
        <p:txBody>
          <a:bodyPr/>
          <a:lstStyle/>
          <a:p>
            <a:r>
              <a:rPr lang="cs-CZ" sz="1200" dirty="0"/>
              <a:t>7denní počet případů, hospitalizovaných na JIP 65+ </a:t>
            </a:r>
            <a:r>
              <a:rPr lang="en-US" sz="1200" dirty="0"/>
              <a:t>v den </a:t>
            </a:r>
            <a:r>
              <a:rPr lang="cs-CZ" sz="1200" dirty="0"/>
              <a:t>pozitivity </a:t>
            </a:r>
            <a:r>
              <a:rPr lang="en-US" sz="1200" dirty="0"/>
              <a:t>v % v</a:t>
            </a:r>
            <a:r>
              <a:rPr lang="cs-CZ" sz="1200" dirty="0"/>
              <a:t>šech pozitivních 65+</a:t>
            </a:r>
            <a:endParaRPr lang="cs-CZ" sz="12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A047779F-852E-47CC-BC05-47DB9006DB02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C07DA664-CD93-4EA2-9EE0-4090288697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F1425992-2F5D-433F-89A0-C14043B1B19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04ADAFAF-93A6-4FE8-B9FF-B4555D3F2FBF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B784D182-2403-4EA1-81A8-7EDC8E33CEE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24588975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8288087" cy="576000"/>
          </a:xfrm>
        </p:spPr>
        <p:txBody>
          <a:bodyPr/>
          <a:lstStyle/>
          <a:p>
            <a:r>
              <a:rPr lang="cs-CZ" sz="1200" dirty="0"/>
              <a:t>7denní počet případů, hospitalizovaných na JIP 65+ </a:t>
            </a:r>
            <a:r>
              <a:rPr lang="en-US" sz="1200" dirty="0"/>
              <a:t>v den </a:t>
            </a:r>
            <a:r>
              <a:rPr lang="cs-CZ" sz="1200" dirty="0"/>
              <a:t>pozitivity </a:t>
            </a:r>
            <a:r>
              <a:rPr lang="en-US" sz="1200" dirty="0"/>
              <a:t>v % </a:t>
            </a:r>
            <a:r>
              <a:rPr lang="en-US" sz="1200" dirty="0" err="1"/>
              <a:t>nov</a:t>
            </a:r>
            <a:r>
              <a:rPr lang="cs-CZ" sz="1200" dirty="0"/>
              <a:t>ě hospitalizovaných 65+</a:t>
            </a:r>
            <a:endParaRPr lang="cs-CZ" sz="12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EA16D82E-B380-4531-AF74-BCB14842E0D3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29821344-76C7-4D0A-BB2F-84C34962B7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32BDC606-CD94-4B15-843C-072615A764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6282E557-4D16-4C2F-91D9-909C7BCA2FCE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6CD9FA0D-C083-4C2B-B6B6-6E4A88268FC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5896497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 fontScale="92500" lnSpcReduction="10000"/>
          </a:bodyPr>
          <a:lstStyle/>
          <a:p>
            <a:r>
              <a:rPr lang="cs-CZ" sz="5200" b="1" i="1" dirty="0"/>
              <a:t>Rizikové faktory: </a:t>
            </a:r>
          </a:p>
          <a:p>
            <a:r>
              <a:rPr lang="cs-CZ" sz="5200" b="1" i="1" dirty="0"/>
              <a:t>prediktory rizikového vývoje </a:t>
            </a:r>
          </a:p>
          <a:p>
            <a:r>
              <a:rPr lang="cs-CZ" sz="5200" b="1" i="1" dirty="0"/>
              <a:t>Data k 26.2.2022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3958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61569" y="1993102"/>
            <a:ext cx="33261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K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C4938461-0B83-4D40-9212-EBDAB161A591}"/>
              </a:ext>
            </a:extLst>
          </p:cNvPr>
          <p:cNvSpPr/>
          <p:nvPr/>
        </p:nvSpPr>
        <p:spPr>
          <a:xfrm>
            <a:off x="74302" y="2733486"/>
            <a:ext cx="3168013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kriminační PCR (% z pozitivních, 7 denní průmě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ané případy (%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řešené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y z pozitivních do 24h (%; za 7 dní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7denní průměrný počet hlášených kontak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ončené základní očkování (%): celá populace, populace 16+, 65+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ilující dávka (% osob, které mají nárok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CR t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ů 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klinicky a diagnosticky indikovaných testů /100 tis. obyv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DA0BCFD0-73F7-4008-9028-D76EFC152194}"/>
              </a:ext>
            </a:extLst>
          </p:cNvPr>
          <p:cNvSpPr/>
          <p:nvPr/>
        </p:nvSpPr>
        <p:spPr>
          <a:xfrm>
            <a:off x="3617601" y="629222"/>
            <a:ext cx="2983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UKAZATEL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E52BFD5-049A-490E-8DCA-E22F6FB8CE24}"/>
              </a:ext>
            </a:extLst>
          </p:cNvPr>
          <p:cNvSpPr/>
          <p:nvPr/>
        </p:nvSpPr>
        <p:spPr>
          <a:xfrm>
            <a:off x="3617601" y="3631240"/>
            <a:ext cx="37833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DOPAD COVID-19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4E30E596-1F26-4643-B6BC-D3AB0BB31AD9}"/>
              </a:ext>
            </a:extLst>
          </p:cNvPr>
          <p:cNvSpPr/>
          <p:nvPr/>
        </p:nvSpPr>
        <p:spPr>
          <a:xfrm>
            <a:off x="3674751" y="964859"/>
            <a:ext cx="32213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hodnota R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enní 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688E0A35-C432-490F-ABAD-E5A2CA43294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693799" y="3966877"/>
            <a:ext cx="417706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               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funkční kapacita JIP (% celkové kapacity)*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celkem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na UPV/ECMO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ložno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IP pacienty s COVID-19 v % aktuální celkové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acity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EF139F39-ED57-4C2F-A850-CD97352824B3}"/>
              </a:ext>
            </a:extLst>
          </p:cNvPr>
          <p:cNvSpPr/>
          <p:nvPr/>
        </p:nvSpPr>
        <p:spPr>
          <a:xfrm>
            <a:off x="8145182" y="993434"/>
            <a:ext cx="388940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S DOKONČENÝM OČKOVÁNÍ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&gt; 14 dní po 2. dávce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CE776797-17C7-4A17-BD5F-FFD4924A80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116606" y="1727875"/>
            <a:ext cx="388940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/ 100tis. obyv. v celé populaci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 / 100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 s dokončeným očkování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Šipka: doprava 50">
            <a:extLst>
              <a:ext uri="{FF2B5EF4-FFF2-40B4-BE49-F238E27FC236}">
                <a16:creationId xmlns:a16="http://schemas.microsoft.com/office/drawing/2014/main" id="{7669635F-69F6-40FC-9E0D-B498AEC34BE3}"/>
              </a:ext>
            </a:extLst>
          </p:cNvPr>
          <p:cNvSpPr/>
          <p:nvPr/>
        </p:nvSpPr>
        <p:spPr>
          <a:xfrm rot="19361708">
            <a:off x="2800956" y="14950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Šipka: doprava 51">
            <a:extLst>
              <a:ext uri="{FF2B5EF4-FFF2-40B4-BE49-F238E27FC236}">
                <a16:creationId xmlns:a16="http://schemas.microsoft.com/office/drawing/2014/main" id="{DAD487BE-DFC0-415D-96AC-68FD38AFA819}"/>
              </a:ext>
            </a:extLst>
          </p:cNvPr>
          <p:cNvSpPr/>
          <p:nvPr/>
        </p:nvSpPr>
        <p:spPr>
          <a:xfrm rot="5400000">
            <a:off x="4489525" y="30546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Šipka: doprava 52">
            <a:extLst>
              <a:ext uri="{FF2B5EF4-FFF2-40B4-BE49-F238E27FC236}">
                <a16:creationId xmlns:a16="http://schemas.microsoft.com/office/drawing/2014/main" id="{A9FC6995-CE9C-48B3-A8FE-4FF6F9A79A48}"/>
              </a:ext>
            </a:extLst>
          </p:cNvPr>
          <p:cNvSpPr/>
          <p:nvPr/>
        </p:nvSpPr>
        <p:spPr>
          <a:xfrm>
            <a:off x="7400926" y="406435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Šipka: doprava 53">
            <a:extLst>
              <a:ext uri="{FF2B5EF4-FFF2-40B4-BE49-F238E27FC236}">
                <a16:creationId xmlns:a16="http://schemas.microsoft.com/office/drawing/2014/main" id="{ACC5C1B8-6468-4BF5-AE22-6DF507618EAD}"/>
              </a:ext>
            </a:extLst>
          </p:cNvPr>
          <p:cNvSpPr/>
          <p:nvPr/>
        </p:nvSpPr>
        <p:spPr>
          <a:xfrm>
            <a:off x="7288833" y="1663904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53F66A3-BC4D-419E-B8C1-775BBDE263FB}"/>
              </a:ext>
            </a:extLst>
          </p:cNvPr>
          <p:cNvSpPr txBox="1"/>
          <p:nvPr/>
        </p:nvSpPr>
        <p:spPr>
          <a:xfrm>
            <a:off x="8272582" y="6211669"/>
            <a:ext cx="3781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Dostupná (plně funkční) kapacita lůžek JIP dle Národního dispečinku lůžkové péče;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Celková kapacita lůžkového fondu (smluvní počet lůžek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0739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/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106705"/>
              </p:ext>
            </p:extLst>
          </p:nvPr>
        </p:nvGraphicFramePr>
        <p:xfrm>
          <a:off x="4067174" y="1570309"/>
          <a:ext cx="3886200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8473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40322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0819"/>
              </p:ext>
            </p:extLst>
          </p:nvPr>
        </p:nvGraphicFramePr>
        <p:xfrm>
          <a:off x="8175960" y="1570311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207821" y="989225"/>
            <a:ext cx="11782055" cy="375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ají pouze dvě rizikové hladiny hodnot, některé žádnou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76200" y="5741127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846608-7229-4ED5-A2FC-9D0F2682C675}"/>
              </a:ext>
            </a:extLst>
          </p:cNvPr>
          <p:cNvSpPr txBox="1"/>
          <p:nvPr/>
        </p:nvSpPr>
        <p:spPr>
          <a:xfrm>
            <a:off x="4635201" y="5245926"/>
            <a:ext cx="644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Stejné hranice jsou aplikovány při hodnocení situace odděleně v populaci neočkovaných osob, osob s nedokončeným očkováním a v populaci osob s dokončeným očkováním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408307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716956"/>
              </p:ext>
            </p:extLst>
          </p:nvPr>
        </p:nvGraphicFramePr>
        <p:xfrm>
          <a:off x="107354" y="1313136"/>
          <a:ext cx="3771899" cy="3850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34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40753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▼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.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7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9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6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6840"/>
              </p:ext>
            </p:extLst>
          </p:nvPr>
        </p:nvGraphicFramePr>
        <p:xfrm>
          <a:off x="4027940" y="1313135"/>
          <a:ext cx="3886199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384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905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8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48215293"/>
              </p:ext>
            </p:extLst>
          </p:nvPr>
        </p:nvGraphicFramePr>
        <p:xfrm>
          <a:off x="8083409" y="1313136"/>
          <a:ext cx="3886199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13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4619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286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 JIP pacienty s COVID-19 v % aktuální celkové kapacit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125629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25.2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2022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897995-A06E-40E8-A552-6EE985458E1A}"/>
              </a:ext>
            </a:extLst>
          </p:cNvPr>
          <p:cNvSpPr txBox="1"/>
          <p:nvPr/>
        </p:nvSpPr>
        <p:spPr>
          <a:xfrm>
            <a:off x="3077692" y="5842996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027ACE-6FAB-434A-9D34-20AFEAFDDE19}"/>
              </a:ext>
            </a:extLst>
          </p:cNvPr>
          <p:cNvSpPr txBox="1"/>
          <p:nvPr/>
        </p:nvSpPr>
        <p:spPr>
          <a:xfrm>
            <a:off x="3290554" y="5861102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2B42D4-E40E-4ED7-AF7E-22E986ED9DD5}"/>
              </a:ext>
            </a:extLst>
          </p:cNvPr>
          <p:cNvSpPr txBox="1"/>
          <p:nvPr/>
        </p:nvSpPr>
        <p:spPr>
          <a:xfrm>
            <a:off x="3085124" y="617878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6485298" y="5869832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6423677" y="6284534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-53410" y="581859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49953" y="5208753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-40872" y="616735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9341185" y="5869832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9279432" y="6289211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>
            <p:custDataLst>
              <p:tags r:id="rId1"/>
            </p:custDataLst>
          </p:nvPr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84238"/>
              </p:ext>
            </p:extLst>
          </p:nvPr>
        </p:nvGraphicFramePr>
        <p:xfrm>
          <a:off x="4143456" y="1082564"/>
          <a:ext cx="3924545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63087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9022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71235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 BEZ POSILUJÍCÍ DÁVKY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0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2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5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2328" y="647308"/>
            <a:ext cx="1125629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25.2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2022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4335141"/>
              </p:ext>
            </p:extLst>
          </p:nvPr>
        </p:nvGraphicFramePr>
        <p:xfrm>
          <a:off x="84946" y="1087466"/>
          <a:ext cx="3924545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63087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9022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71235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bez dokončeného očkování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8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0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9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92037"/>
                  </a:ext>
                </a:extLst>
              </a:tr>
            </a:tbl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96424B97-D860-4633-A02F-75BD15683942}"/>
              </a:ext>
            </a:extLst>
          </p:cNvPr>
          <p:cNvSpPr txBox="1"/>
          <p:nvPr/>
        </p:nvSpPr>
        <p:spPr>
          <a:xfrm>
            <a:off x="3144367" y="5909671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80B8081-94BB-4423-81C0-D0F83BEBCD5D}"/>
              </a:ext>
            </a:extLst>
          </p:cNvPr>
          <p:cNvSpPr txBox="1"/>
          <p:nvPr/>
        </p:nvSpPr>
        <p:spPr>
          <a:xfrm>
            <a:off x="3357229" y="5927777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8216448-CF52-4CE8-AD3F-6590D1166279}"/>
              </a:ext>
            </a:extLst>
          </p:cNvPr>
          <p:cNvSpPr txBox="1"/>
          <p:nvPr/>
        </p:nvSpPr>
        <p:spPr>
          <a:xfrm>
            <a:off x="3151799" y="627403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63105EB-4C01-4594-A3F4-69A24C384C1B}"/>
              </a:ext>
            </a:extLst>
          </p:cNvPr>
          <p:cNvSpPr txBox="1"/>
          <p:nvPr/>
        </p:nvSpPr>
        <p:spPr>
          <a:xfrm>
            <a:off x="6551973" y="5936507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96435E0-ECE2-408A-A7D2-45948EC8DD07}"/>
              </a:ext>
            </a:extLst>
          </p:cNvPr>
          <p:cNvSpPr txBox="1"/>
          <p:nvPr/>
        </p:nvSpPr>
        <p:spPr>
          <a:xfrm>
            <a:off x="6490352" y="6351209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8F8A2D-C998-45E8-A477-0FE54924F4DB}"/>
              </a:ext>
            </a:extLst>
          </p:cNvPr>
          <p:cNvSpPr txBox="1"/>
          <p:nvPr/>
        </p:nvSpPr>
        <p:spPr>
          <a:xfrm>
            <a:off x="13265" y="5885272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3ADE43F-080A-43CA-B30C-B11E6EA69940}"/>
              </a:ext>
            </a:extLst>
          </p:cNvPr>
          <p:cNvSpPr txBox="1"/>
          <p:nvPr/>
        </p:nvSpPr>
        <p:spPr>
          <a:xfrm>
            <a:off x="25803" y="626260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7AD9E94C-366A-428C-8246-1D6C4A93B413}"/>
              </a:ext>
            </a:extLst>
          </p:cNvPr>
          <p:cNvSpPr txBox="1"/>
          <p:nvPr/>
        </p:nvSpPr>
        <p:spPr>
          <a:xfrm>
            <a:off x="9407860" y="5936507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E75A587-2B96-4490-A547-155091FE77FA}"/>
              </a:ext>
            </a:extLst>
          </p:cNvPr>
          <p:cNvSpPr txBox="1"/>
          <p:nvPr/>
        </p:nvSpPr>
        <p:spPr>
          <a:xfrm>
            <a:off x="9346107" y="6355886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875F9F4B-87C3-45A7-AFFC-DD3BF85AD83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86778156"/>
              </p:ext>
            </p:extLst>
          </p:nvPr>
        </p:nvGraphicFramePr>
        <p:xfrm>
          <a:off x="8192238" y="1085793"/>
          <a:ext cx="3924544" cy="47994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6308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9022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71235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3585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 S POSILUJÍCÍ DÁVKOU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43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2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40183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40183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40183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40183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6555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43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555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6555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57304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5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  <p:sp>
        <p:nvSpPr>
          <p:cNvPr id="16" name="TextovéPole 15">
            <a:extLst>
              <a:ext uri="{FF2B5EF4-FFF2-40B4-BE49-F238E27FC236}">
                <a16:creationId xmlns:a16="http://schemas.microsoft.com/office/drawing/2014/main" id="{D82241C5-2D1D-4944-9E29-843470A38DEB}"/>
              </a:ext>
            </a:extLst>
          </p:cNvPr>
          <p:cNvSpPr txBox="1"/>
          <p:nvPr/>
        </p:nvSpPr>
        <p:spPr>
          <a:xfrm>
            <a:off x="8798625" y="615176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řípadů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AFFAFF64-A785-495C-B462-DC7070FFC89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1723705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CR testů 65+ / 100 tisíc obyvatel 65+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4FDE1173-935E-4D59-8013-AA8833C8DD4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77395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2971010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řípadů 65+ / 100 tisíc obyvatel 65+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AD279D53-D36B-44B4-9133-EAF0609CEE7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12952914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relativní pozitivita (dg. + </a:t>
            </a:r>
            <a:r>
              <a:rPr lang="cs-CZ" sz="1800" dirty="0" err="1"/>
              <a:t>epi</a:t>
            </a:r>
            <a:r>
              <a:rPr lang="cs-CZ" sz="1800" dirty="0"/>
              <a:t>.) indikovaných testů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C862A99A-A450-4C8A-B76E-1FFA4247D3F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41551911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relativní pozitivita (dg. + </a:t>
            </a:r>
            <a:r>
              <a:rPr lang="cs-CZ" sz="1800" dirty="0" err="1"/>
              <a:t>epi</a:t>
            </a:r>
            <a:r>
              <a:rPr lang="cs-CZ" sz="1800" dirty="0"/>
              <a:t>.) indikovaných testů 65+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ABDE640E-E280-456B-B841-9FE667CF66C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31618278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symptomatických případů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52BF5836-F8A0-4759-A341-F660C6A91C8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20317277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hodnota R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/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37A159AA-3119-48B8-A208-C4EB3CF884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3848592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počet srovnává hodnotu indikátoru v daný den s obdobnou hodnotou před týdnem, rozdíl je vyjádřen v % hodnoty před týdnem.</a:t>
            </a:r>
          </a:p>
        </p:txBody>
      </p:sp>
    </p:spTree>
    <p:extLst>
      <p:ext uri="{BB962C8B-B14F-4D97-AF65-F5344CB8AC3E}">
        <p14:creationId xmlns:p14="http://schemas.microsoft.com/office/powerpoint/2010/main" val="3363193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4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087</TotalTime>
  <Words>2831</Words>
  <Application>Microsoft Office PowerPoint</Application>
  <PresentationFormat>Širokoúhlá obrazovka</PresentationFormat>
  <Paragraphs>451</Paragraphs>
  <Slides>29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29</vt:i4>
      </vt:variant>
    </vt:vector>
  </HeadingPairs>
  <TitlesOfParts>
    <vt:vector size="38" baseType="lpstr">
      <vt:lpstr>Arial</vt:lpstr>
      <vt:lpstr>Arial Black</vt:lpstr>
      <vt:lpstr>Calibri</vt:lpstr>
      <vt:lpstr>Calibri Light</vt:lpstr>
      <vt:lpstr>Wingdings</vt:lpstr>
      <vt:lpstr>Motiv Office</vt:lpstr>
      <vt:lpstr>1_Motiv systému Office</vt:lpstr>
      <vt:lpstr>KKIP03</vt:lpstr>
      <vt:lpstr>8_Motiv Office</vt:lpstr>
      <vt:lpstr>Epidemie COVID-19 v ČR</vt:lpstr>
      <vt:lpstr>7denní počet (suma) PCR testů / 100 tisíc obyvatel</vt:lpstr>
      <vt:lpstr>7denní počet (suma) případů / 100 tisíc obyvatel</vt:lpstr>
      <vt:lpstr>7denní počet (suma) PCR testů 65+ / 100 tisíc obyvatel 65+</vt:lpstr>
      <vt:lpstr>7denní počet (suma) případů 65+ / 100 tisíc obyvatel 65+</vt:lpstr>
      <vt:lpstr>7denní relativní pozitivita (dg. + epi.) indikovaných testů</vt:lpstr>
      <vt:lpstr>7denní relativní pozitivita (dg. + epi.) indikovaných testů 65+</vt:lpstr>
      <vt:lpstr>7denní počet (suma) symptomatických případů / 100 tisíc obyvatel</vt:lpstr>
      <vt:lpstr>7denní hodnota R</vt:lpstr>
      <vt:lpstr>7denní počet nových příjmů do nemocnic / 100 tisíc obyvatel</vt:lpstr>
      <vt:lpstr>7denní počet nových příjmů na JIP (včetně překladů) / 100 tisíc obyv.</vt:lpstr>
      <vt:lpstr>7denní počet nových hospitalizací na JIP / 7denní počet všech nových hospitalizací (v %)</vt:lpstr>
      <vt:lpstr>7denní počet případů, hospitalizovaných do 3 dnů od pozitivity / 100 tisíc obyvatel</vt:lpstr>
      <vt:lpstr>7denní počet případů, hospitalizovaných do 3 dnů od pozitivity v % všech pozitivních</vt:lpstr>
      <vt:lpstr>7denní počet případů, hospitalizovaných na JIP do 3 dnů od pozitivity v % všech pozitivních</vt:lpstr>
      <vt:lpstr>7denní počet případů, hospitalizovaných do 7 dnů od pozitivity / 100 tisíc obyvatel</vt:lpstr>
      <vt:lpstr>7denní počet případů, hospitalizovaných do 7 dnů od pozitivity v % všech pozitivních</vt:lpstr>
      <vt:lpstr>7denní počet případů, hospitalizovaných na JIP do 7 dnů od pozitivity v % všech pozitivních</vt:lpstr>
      <vt:lpstr>7denní počet případů, hospitalizovaných na JIP v den pozitivity / 100 tisíc obyvatel</vt:lpstr>
      <vt:lpstr>7denní počet případů, hospitalizovaných na JIP v den pozitivity v % všech pozitivních</vt:lpstr>
      <vt:lpstr>7denní počet případů, hospitalizovaných na JIP v den pozitivity v % nově hospitalizovaných</vt:lpstr>
      <vt:lpstr>7denní počet případů, hospitalizovaných na JIP 65+ v den pozitivity / 100 tisíc obyvatel 65+</vt:lpstr>
      <vt:lpstr>7denní počet případů, hospitalizovaných na JIP 65+ v den pozitivity v % všech pozitivních 65+</vt:lpstr>
      <vt:lpstr>7denní počet případů, hospitalizovaných na JIP 65+ v den pozitivity v % nově hospitalizovaných 65+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;Ladislav Dušek</dc:creator>
  <cp:lastModifiedBy>Dušek Ladislav prof. RNDr. Ph.D.</cp:lastModifiedBy>
  <cp:revision>2409</cp:revision>
  <dcterms:created xsi:type="dcterms:W3CDTF">2020-03-16T10:06:11Z</dcterms:created>
  <dcterms:modified xsi:type="dcterms:W3CDTF">2022-02-26T07:42:05Z</dcterms:modified>
</cp:coreProperties>
</file>